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4" r:id="rId4"/>
    <p:sldMasterId id="2147484263" r:id="rId5"/>
    <p:sldMasterId id="2147485807" r:id="rId6"/>
  </p:sldMasterIdLst>
  <p:notesMasterIdLst>
    <p:notesMasterId r:id="rId62"/>
  </p:notesMasterIdLst>
  <p:sldIdLst>
    <p:sldId id="278" r:id="rId7"/>
    <p:sldId id="277" r:id="rId8"/>
    <p:sldId id="276" r:id="rId9"/>
    <p:sldId id="275" r:id="rId10"/>
    <p:sldId id="274" r:id="rId11"/>
    <p:sldId id="287" r:id="rId12"/>
    <p:sldId id="2145707175" r:id="rId13"/>
    <p:sldId id="286" r:id="rId14"/>
    <p:sldId id="283" r:id="rId15"/>
    <p:sldId id="293" r:id="rId16"/>
    <p:sldId id="312" r:id="rId17"/>
    <p:sldId id="279" r:id="rId18"/>
    <p:sldId id="294" r:id="rId19"/>
    <p:sldId id="269" r:id="rId20"/>
    <p:sldId id="282" r:id="rId21"/>
    <p:sldId id="281" r:id="rId22"/>
    <p:sldId id="280" r:id="rId23"/>
    <p:sldId id="285" r:id="rId24"/>
    <p:sldId id="292" r:id="rId25"/>
    <p:sldId id="291" r:id="rId26"/>
    <p:sldId id="290" r:id="rId27"/>
    <p:sldId id="289" r:id="rId28"/>
    <p:sldId id="268" r:id="rId29"/>
    <p:sldId id="309" r:id="rId30"/>
    <p:sldId id="311" r:id="rId31"/>
    <p:sldId id="265" r:id="rId32"/>
    <p:sldId id="2147470236" r:id="rId33"/>
    <p:sldId id="2147470237" r:id="rId34"/>
    <p:sldId id="2147470239" r:id="rId35"/>
    <p:sldId id="264" r:id="rId36"/>
    <p:sldId id="302" r:id="rId37"/>
    <p:sldId id="301" r:id="rId38"/>
    <p:sldId id="300" r:id="rId39"/>
    <p:sldId id="299" r:id="rId40"/>
    <p:sldId id="298" r:id="rId41"/>
    <p:sldId id="297" r:id="rId42"/>
    <p:sldId id="303" r:id="rId43"/>
    <p:sldId id="296" r:id="rId44"/>
    <p:sldId id="263" r:id="rId45"/>
    <p:sldId id="262" r:id="rId46"/>
    <p:sldId id="304" r:id="rId47"/>
    <p:sldId id="305" r:id="rId48"/>
    <p:sldId id="306" r:id="rId49"/>
    <p:sldId id="308" r:id="rId50"/>
    <p:sldId id="307" r:id="rId51"/>
    <p:sldId id="2147470240" r:id="rId52"/>
    <p:sldId id="2147470242" r:id="rId53"/>
    <p:sldId id="310" r:id="rId54"/>
    <p:sldId id="266" r:id="rId55"/>
    <p:sldId id="267" r:id="rId56"/>
    <p:sldId id="260" r:id="rId57"/>
    <p:sldId id="2147470241" r:id="rId58"/>
    <p:sldId id="258" r:id="rId59"/>
    <p:sldId id="261" r:id="rId60"/>
    <p:sldId id="257" r:id="rId6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733DD3-935A-FBBA-692D-91E9481281E1}" v="821" dt="2021-09-17T15:39:10.942"/>
    <p1510:client id="{2F181AB3-E970-99A8-18CF-6AC6B42CE100}" v="319" dt="2021-09-17T00:53:46.885"/>
    <p1510:client id="{34FDC3AB-757C-88BF-6DF2-BF93F63D725A}" v="14" dt="2021-09-17T15:42:50.227"/>
    <p1510:client id="{3DFC5C78-5AF4-BBDD-E90A-BCC9E4E5C775}" v="568" dt="2021-09-16T20:30:20.695"/>
    <p1510:client id="{4358B549-4F49-47AC-843E-4F4BD324D403}" v="96" dt="2021-09-17T01:17:40.949"/>
    <p1510:client id="{590B82D0-8FEF-4DCD-9FB6-71A387F5238F}" v="330" dt="2021-09-17T05:03:58.373"/>
    <p1510:client id="{5E484936-A912-8005-A615-2B223EFFB1E1}" v="757" dt="2021-09-17T04:39:23.739"/>
    <p1510:client id="{6169B24A-A76D-41F3-8D97-60CDE12F848F}" v="1" dt="2021-09-16T21:57:35.499"/>
    <p1510:client id="{7521B35F-869A-DE70-FEEA-D6B086E5D1F7}" v="481" dt="2021-09-17T00:02:29.998"/>
    <p1510:client id="{7DD3708C-2080-DC46-B163-C1A7E5A7CABB}" v="1269" dt="2021-09-17T15:32:38.860"/>
    <p1510:client id="{81A6122F-72A5-ADD9-1D3B-DBCB5B4B707A}" v="45" dt="2021-09-16T17:15:17.525"/>
    <p1510:client id="{CDF57CE6-8192-349B-91FD-C00FC410B2B9}" v="218" dt="2021-09-17T05:01:33.305"/>
    <p1510:client id="{D4E19378-A038-1510-C99D-ACE1C18CD1F8}" v="5" dt="2021-09-17T15:30:52.496"/>
    <p1510:client id="{FF1C152F-C880-EC8E-3366-7932044EB9E0}" v="13" dt="2021-09-17T14:35:55.860"/>
    <p1510:client id="{FF3500E4-C18C-45E9-8635-585A2D4400D8}" v="104" dt="2021-09-17T15:39:09.881"/>
    <p1510:client id="{FFB60B46-0F2E-65E7-0170-98E522D1E9EF}" v="6" dt="2021-09-17T14:27:36.84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presProps" Target="presProps.xml"/><Relationship Id="rId68"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tableStyles" Target="tableStyles.xml"/><Relationship Id="rId5" Type="http://schemas.openxmlformats.org/officeDocument/2006/relationships/slideMaster" Target="slideMasters/slideMaster2.xml"/><Relationship Id="rId61" Type="http://schemas.openxmlformats.org/officeDocument/2006/relationships/slide" Target="slides/slide55.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viewProps" Target="viewProps.xml"/><Relationship Id="rId8" Type="http://schemas.openxmlformats.org/officeDocument/2006/relationships/slide" Target="slides/slide2.xml"/><Relationship Id="rId51" Type="http://schemas.openxmlformats.org/officeDocument/2006/relationships/slide" Target="slides/slide45.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microsoft.com/office/2016/11/relationships/changesInfo" Target="changesInfos/changesInfo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acobs, Rachel@CDPH" userId="S::rachel.jacobs@cdph.ca.gov::11f79f16-4ce4-49ae-a2fc-a68ca0b1a9e0" providerId="AD" clId="Web-{FF1C152F-C880-EC8E-3366-7932044EB9E0}"/>
    <pc:docChg chg="modSld">
      <pc:chgData name="Jacobs, Rachel@CDPH" userId="S::rachel.jacobs@cdph.ca.gov::11f79f16-4ce4-49ae-a2fc-a68ca0b1a9e0" providerId="AD" clId="Web-{FF1C152F-C880-EC8E-3366-7932044EB9E0}" dt="2021-09-17T14:35:55.860" v="10" actId="1076"/>
      <pc:docMkLst>
        <pc:docMk/>
      </pc:docMkLst>
      <pc:sldChg chg="modSp">
        <pc:chgData name="Jacobs, Rachel@CDPH" userId="S::rachel.jacobs@cdph.ca.gov::11f79f16-4ce4-49ae-a2fc-a68ca0b1a9e0" providerId="AD" clId="Web-{FF1C152F-C880-EC8E-3366-7932044EB9E0}" dt="2021-09-17T14:35:55.860" v="10" actId="1076"/>
        <pc:sldMkLst>
          <pc:docMk/>
          <pc:sldMk cId="4230052771" sldId="312"/>
        </pc:sldMkLst>
        <pc:spChg chg="mod">
          <ac:chgData name="Jacobs, Rachel@CDPH" userId="S::rachel.jacobs@cdph.ca.gov::11f79f16-4ce4-49ae-a2fc-a68ca0b1a9e0" providerId="AD" clId="Web-{FF1C152F-C880-EC8E-3366-7932044EB9E0}" dt="2021-09-17T14:35:55.860" v="10" actId="1076"/>
          <ac:spMkLst>
            <pc:docMk/>
            <pc:sldMk cId="4230052771" sldId="312"/>
            <ac:spMk id="2" creationId="{251E0386-D9D4-40D4-BA06-C9264E72C9CD}"/>
          </ac:spMkLst>
        </pc:spChg>
        <pc:spChg chg="mod">
          <ac:chgData name="Jacobs, Rachel@CDPH" userId="S::rachel.jacobs@cdph.ca.gov::11f79f16-4ce4-49ae-a2fc-a68ca0b1a9e0" providerId="AD" clId="Web-{FF1C152F-C880-EC8E-3366-7932044EB9E0}" dt="2021-09-17T14:35:45.016" v="9" actId="20577"/>
          <ac:spMkLst>
            <pc:docMk/>
            <pc:sldMk cId="4230052771" sldId="312"/>
            <ac:spMk id="3" creationId="{EF8D29C2-9601-4FA0-85A1-A59DC14D5369}"/>
          </ac:spMkLst>
        </pc:spChg>
      </pc:sldChg>
    </pc:docChg>
  </pc:docChgLst>
  <pc:docChgLst>
    <pc:chgData name="Jacobs, Rachel@CDPH" userId="11f79f16-4ce4-49ae-a2fc-a68ca0b1a9e0" providerId="ADAL" clId="{590B82D0-8FEF-4DCD-9FB6-71A387F5238F}"/>
    <pc:docChg chg="custSel addSld modSld sldOrd">
      <pc:chgData name="Jacobs, Rachel@CDPH" userId="11f79f16-4ce4-49ae-a2fc-a68ca0b1a9e0" providerId="ADAL" clId="{590B82D0-8FEF-4DCD-9FB6-71A387F5238F}" dt="2021-09-17T05:03:58.373" v="325" actId="207"/>
      <pc:docMkLst>
        <pc:docMk/>
      </pc:docMkLst>
      <pc:sldChg chg="addSp delSp modSp mod">
        <pc:chgData name="Jacobs, Rachel@CDPH" userId="11f79f16-4ce4-49ae-a2fc-a68ca0b1a9e0" providerId="ADAL" clId="{590B82D0-8FEF-4DCD-9FB6-71A387F5238F}" dt="2021-09-17T04:50:50.228" v="322" actId="1076"/>
        <pc:sldMkLst>
          <pc:docMk/>
          <pc:sldMk cId="1106844182" sldId="286"/>
        </pc:sldMkLst>
        <pc:spChg chg="mod">
          <ac:chgData name="Jacobs, Rachel@CDPH" userId="11f79f16-4ce4-49ae-a2fc-a68ca0b1a9e0" providerId="ADAL" clId="{590B82D0-8FEF-4DCD-9FB6-71A387F5238F}" dt="2021-09-16T23:19:46.868" v="320" actId="20577"/>
          <ac:spMkLst>
            <pc:docMk/>
            <pc:sldMk cId="1106844182" sldId="286"/>
            <ac:spMk id="6" creationId="{2897A85A-F416-4D58-8A07-6CD3CA52E078}"/>
          </ac:spMkLst>
        </pc:spChg>
        <pc:picChg chg="mod">
          <ac:chgData name="Jacobs, Rachel@CDPH" userId="11f79f16-4ce4-49ae-a2fc-a68ca0b1a9e0" providerId="ADAL" clId="{590B82D0-8FEF-4DCD-9FB6-71A387F5238F}" dt="2021-09-17T04:50:48.693" v="321" actId="1076"/>
          <ac:picMkLst>
            <pc:docMk/>
            <pc:sldMk cId="1106844182" sldId="286"/>
            <ac:picMk id="3" creationId="{C110A03D-267E-4127-8F3D-2CCEFED93B6D}"/>
          </ac:picMkLst>
        </pc:picChg>
        <pc:picChg chg="del mod">
          <ac:chgData name="Jacobs, Rachel@CDPH" userId="11f79f16-4ce4-49ae-a2fc-a68ca0b1a9e0" providerId="ADAL" clId="{590B82D0-8FEF-4DCD-9FB6-71A387F5238F}" dt="2021-09-16T22:38:32.442" v="12" actId="478"/>
          <ac:picMkLst>
            <pc:docMk/>
            <pc:sldMk cId="1106844182" sldId="286"/>
            <ac:picMk id="3" creationId="{CC3E8C7B-87B5-401C-8E2D-BAEEF631FBD2}"/>
          </ac:picMkLst>
        </pc:picChg>
        <pc:picChg chg="add mod">
          <ac:chgData name="Jacobs, Rachel@CDPH" userId="11f79f16-4ce4-49ae-a2fc-a68ca0b1a9e0" providerId="ADAL" clId="{590B82D0-8FEF-4DCD-9FB6-71A387F5238F}" dt="2021-09-17T04:50:50.228" v="322" actId="1076"/>
          <ac:picMkLst>
            <pc:docMk/>
            <pc:sldMk cId="1106844182" sldId="286"/>
            <ac:picMk id="7" creationId="{21485061-8166-4A64-A19B-56BA75D80124}"/>
          </ac:picMkLst>
        </pc:picChg>
        <pc:picChg chg="add mod">
          <ac:chgData name="Jacobs, Rachel@CDPH" userId="11f79f16-4ce4-49ae-a2fc-a68ca0b1a9e0" providerId="ADAL" clId="{590B82D0-8FEF-4DCD-9FB6-71A387F5238F}" dt="2021-09-16T22:37:14.269" v="8" actId="1076"/>
          <ac:picMkLst>
            <pc:docMk/>
            <pc:sldMk cId="1106844182" sldId="286"/>
            <ac:picMk id="10" creationId="{4796C736-3E49-4101-806D-7C2A5C1EB8FD}"/>
          </ac:picMkLst>
        </pc:picChg>
        <pc:picChg chg="add del mod">
          <ac:chgData name="Jacobs, Rachel@CDPH" userId="11f79f16-4ce4-49ae-a2fc-a68ca0b1a9e0" providerId="ADAL" clId="{590B82D0-8FEF-4DCD-9FB6-71A387F5238F}" dt="2021-09-16T22:39:15.989" v="16" actId="478"/>
          <ac:picMkLst>
            <pc:docMk/>
            <pc:sldMk cId="1106844182" sldId="286"/>
            <ac:picMk id="12" creationId="{949749EF-E5AB-44FD-8443-ACBC1126EA53}"/>
          </ac:picMkLst>
        </pc:picChg>
        <pc:picChg chg="add del mod">
          <ac:chgData name="Jacobs, Rachel@CDPH" userId="11f79f16-4ce4-49ae-a2fc-a68ca0b1a9e0" providerId="ADAL" clId="{590B82D0-8FEF-4DCD-9FB6-71A387F5238F}" dt="2021-09-16T22:40:28.852" v="22" actId="478"/>
          <ac:picMkLst>
            <pc:docMk/>
            <pc:sldMk cId="1106844182" sldId="286"/>
            <ac:picMk id="14" creationId="{9FCD6B34-D9B6-4A56-97AB-D757E5F2CDFF}"/>
          </ac:picMkLst>
        </pc:picChg>
        <pc:picChg chg="add mod">
          <ac:chgData name="Jacobs, Rachel@CDPH" userId="11f79f16-4ce4-49ae-a2fc-a68ca0b1a9e0" providerId="ADAL" clId="{590B82D0-8FEF-4DCD-9FB6-71A387F5238F}" dt="2021-09-16T22:40:33.339" v="25" actId="14100"/>
          <ac:picMkLst>
            <pc:docMk/>
            <pc:sldMk cId="1106844182" sldId="286"/>
            <ac:picMk id="16" creationId="{F7F7FFA9-C076-4878-AA6C-B67D6D357D9D}"/>
          </ac:picMkLst>
        </pc:picChg>
      </pc:sldChg>
      <pc:sldChg chg="addSp modSp new mod ord">
        <pc:chgData name="Jacobs, Rachel@CDPH" userId="11f79f16-4ce4-49ae-a2fc-a68ca0b1a9e0" providerId="ADAL" clId="{590B82D0-8FEF-4DCD-9FB6-71A387F5238F}" dt="2021-09-17T05:03:58.373" v="325" actId="207"/>
        <pc:sldMkLst>
          <pc:docMk/>
          <pc:sldMk cId="4230052771" sldId="312"/>
        </pc:sldMkLst>
        <pc:spChg chg="mod">
          <ac:chgData name="Jacobs, Rachel@CDPH" userId="11f79f16-4ce4-49ae-a2fc-a68ca0b1a9e0" providerId="ADAL" clId="{590B82D0-8FEF-4DCD-9FB6-71A387F5238F}" dt="2021-09-16T23:17:04.427" v="293" actId="1076"/>
          <ac:spMkLst>
            <pc:docMk/>
            <pc:sldMk cId="4230052771" sldId="312"/>
            <ac:spMk id="2" creationId="{251E0386-D9D4-40D4-BA06-C9264E72C9CD}"/>
          </ac:spMkLst>
        </pc:spChg>
        <pc:spChg chg="mod">
          <ac:chgData name="Jacobs, Rachel@CDPH" userId="11f79f16-4ce4-49ae-a2fc-a68ca0b1a9e0" providerId="ADAL" clId="{590B82D0-8FEF-4DCD-9FB6-71A387F5238F}" dt="2021-09-17T05:03:58.373" v="325" actId="207"/>
          <ac:spMkLst>
            <pc:docMk/>
            <pc:sldMk cId="4230052771" sldId="312"/>
            <ac:spMk id="3" creationId="{EF8D29C2-9601-4FA0-85A1-A59DC14D5369}"/>
          </ac:spMkLst>
        </pc:spChg>
        <pc:picChg chg="add mod">
          <ac:chgData name="Jacobs, Rachel@CDPH" userId="11f79f16-4ce4-49ae-a2fc-a68ca0b1a9e0" providerId="ADAL" clId="{590B82D0-8FEF-4DCD-9FB6-71A387F5238F}" dt="2021-09-16T23:16:35.925" v="290" actId="1076"/>
          <ac:picMkLst>
            <pc:docMk/>
            <pc:sldMk cId="4230052771" sldId="312"/>
            <ac:picMk id="6" creationId="{638B7254-43CD-4075-A5FA-3D0F9B65F7F8}"/>
          </ac:picMkLst>
        </pc:picChg>
      </pc:sldChg>
    </pc:docChg>
  </pc:docChgLst>
  <pc:docChgLst>
    <pc:chgData name="Aguiluz, Claudia@CDPH" userId="S::claudia.aguiluz@cdph.ca.gov::a9f4ff23-d8ee-4379-ab0e-78acc28b6e49" providerId="AD" clId="Web-{02733DD3-935A-FBBA-692D-91E9481281E1}"/>
    <pc:docChg chg="addSld modSld sldOrd">
      <pc:chgData name="Aguiluz, Claudia@CDPH" userId="S::claudia.aguiluz@cdph.ca.gov::a9f4ff23-d8ee-4379-ab0e-78acc28b6e49" providerId="AD" clId="Web-{02733DD3-935A-FBBA-692D-91E9481281E1}" dt="2021-09-17T15:39:10.942" v="506" actId="20577"/>
      <pc:docMkLst>
        <pc:docMk/>
      </pc:docMkLst>
      <pc:sldChg chg="modSp">
        <pc:chgData name="Aguiluz, Claudia@CDPH" userId="S::claudia.aguiluz@cdph.ca.gov::a9f4ff23-d8ee-4379-ab0e-78acc28b6e49" providerId="AD" clId="Web-{02733DD3-935A-FBBA-692D-91E9481281E1}" dt="2021-09-17T15:39:10.942" v="506" actId="20577"/>
        <pc:sldMkLst>
          <pc:docMk/>
          <pc:sldMk cId="54525121" sldId="304"/>
        </pc:sldMkLst>
        <pc:spChg chg="mod">
          <ac:chgData name="Aguiluz, Claudia@CDPH" userId="S::claudia.aguiluz@cdph.ca.gov::a9f4ff23-d8ee-4379-ab0e-78acc28b6e49" providerId="AD" clId="Web-{02733DD3-935A-FBBA-692D-91E9481281E1}" dt="2021-09-17T15:39:10.942" v="506" actId="20577"/>
          <ac:spMkLst>
            <pc:docMk/>
            <pc:sldMk cId="54525121" sldId="304"/>
            <ac:spMk id="6" creationId="{4F8539F2-3AFE-40CB-BC81-6D7E3A6983B7}"/>
          </ac:spMkLst>
        </pc:spChg>
      </pc:sldChg>
      <pc:sldChg chg="modSp">
        <pc:chgData name="Aguiluz, Claudia@CDPH" userId="S::claudia.aguiluz@cdph.ca.gov::a9f4ff23-d8ee-4379-ab0e-78acc28b6e49" providerId="AD" clId="Web-{02733DD3-935A-FBBA-692D-91E9481281E1}" dt="2021-09-17T15:24:05.966" v="253" actId="20577"/>
        <pc:sldMkLst>
          <pc:docMk/>
          <pc:sldMk cId="4140930092" sldId="307"/>
        </pc:sldMkLst>
        <pc:spChg chg="mod">
          <ac:chgData name="Aguiluz, Claudia@CDPH" userId="S::claudia.aguiluz@cdph.ca.gov::a9f4ff23-d8ee-4379-ab0e-78acc28b6e49" providerId="AD" clId="Web-{02733DD3-935A-FBBA-692D-91E9481281E1}" dt="2021-09-17T15:24:05.966" v="253" actId="20577"/>
          <ac:spMkLst>
            <pc:docMk/>
            <pc:sldMk cId="4140930092" sldId="307"/>
            <ac:spMk id="3" creationId="{2605F0A0-4330-4571-AF9D-3A4E1A2E129D}"/>
          </ac:spMkLst>
        </pc:spChg>
      </pc:sldChg>
      <pc:sldChg chg="ord">
        <pc:chgData name="Aguiluz, Claudia@CDPH" userId="S::claudia.aguiluz@cdph.ca.gov::a9f4ff23-d8ee-4379-ab0e-78acc28b6e49" providerId="AD" clId="Web-{02733DD3-935A-FBBA-692D-91E9481281E1}" dt="2021-09-17T15:24:46.969" v="254"/>
        <pc:sldMkLst>
          <pc:docMk/>
          <pc:sldMk cId="1569367784" sldId="308"/>
        </pc:sldMkLst>
      </pc:sldChg>
      <pc:sldChg chg="addSp delSp modSp new mod modClrScheme chgLayout">
        <pc:chgData name="Aguiluz, Claudia@CDPH" userId="S::claudia.aguiluz@cdph.ca.gov::a9f4ff23-d8ee-4379-ab0e-78acc28b6e49" providerId="AD" clId="Web-{02733DD3-935A-FBBA-692D-91E9481281E1}" dt="2021-09-17T15:33:01.492" v="465" actId="20577"/>
        <pc:sldMkLst>
          <pc:docMk/>
          <pc:sldMk cId="2344511547" sldId="2147470240"/>
        </pc:sldMkLst>
        <pc:spChg chg="mod ord">
          <ac:chgData name="Aguiluz, Claudia@CDPH" userId="S::claudia.aguiluz@cdph.ca.gov::a9f4ff23-d8ee-4379-ab0e-78acc28b6e49" providerId="AD" clId="Web-{02733DD3-935A-FBBA-692D-91E9481281E1}" dt="2021-09-17T15:26:43.760" v="272"/>
          <ac:spMkLst>
            <pc:docMk/>
            <pc:sldMk cId="2344511547" sldId="2147470240"/>
            <ac:spMk id="2" creationId="{7782CDBB-1E91-4DFA-A7CE-2F4C21C32947}"/>
          </ac:spMkLst>
        </pc:spChg>
        <pc:spChg chg="del mod ord">
          <ac:chgData name="Aguiluz, Claudia@CDPH" userId="S::claudia.aguiluz@cdph.ca.gov::a9f4ff23-d8ee-4379-ab0e-78acc28b6e49" providerId="AD" clId="Web-{02733DD3-935A-FBBA-692D-91E9481281E1}" dt="2021-09-17T15:26:22.789" v="265"/>
          <ac:spMkLst>
            <pc:docMk/>
            <pc:sldMk cId="2344511547" sldId="2147470240"/>
            <ac:spMk id="3" creationId="{E63090C5-0A4B-492E-AEB5-0F30BA280BC6}"/>
          </ac:spMkLst>
        </pc:spChg>
        <pc:spChg chg="mod ord">
          <ac:chgData name="Aguiluz, Claudia@CDPH" userId="S::claudia.aguiluz@cdph.ca.gov::a9f4ff23-d8ee-4379-ab0e-78acc28b6e49" providerId="AD" clId="Web-{02733DD3-935A-FBBA-692D-91E9481281E1}" dt="2021-09-17T15:26:43.760" v="272"/>
          <ac:spMkLst>
            <pc:docMk/>
            <pc:sldMk cId="2344511547" sldId="2147470240"/>
            <ac:spMk id="4" creationId="{0054EC65-19B7-4E96-A1E5-0E3A0E0A610F}"/>
          </ac:spMkLst>
        </pc:spChg>
        <pc:spChg chg="add mod ord">
          <ac:chgData name="Aguiluz, Claudia@CDPH" userId="S::claudia.aguiluz@cdph.ca.gov::a9f4ff23-d8ee-4379-ab0e-78acc28b6e49" providerId="AD" clId="Web-{02733DD3-935A-FBBA-692D-91E9481281E1}" dt="2021-09-17T15:33:01.492" v="465" actId="20577"/>
          <ac:spMkLst>
            <pc:docMk/>
            <pc:sldMk cId="2344511547" sldId="2147470240"/>
            <ac:spMk id="6" creationId="{FEDD5A5B-7DC5-40BA-8253-3D45827CFAA8}"/>
          </ac:spMkLst>
        </pc:spChg>
        <pc:picChg chg="add mod ord">
          <ac:chgData name="Aguiluz, Claudia@CDPH" userId="S::claudia.aguiluz@cdph.ca.gov::a9f4ff23-d8ee-4379-ab0e-78acc28b6e49" providerId="AD" clId="Web-{02733DD3-935A-FBBA-692D-91E9481281E1}" dt="2021-09-17T15:26:48.088" v="273" actId="1076"/>
          <ac:picMkLst>
            <pc:docMk/>
            <pc:sldMk cId="2344511547" sldId="2147470240"/>
            <ac:picMk id="5" creationId="{3FE41F8A-5470-4888-A6F5-05DE2C902D93}"/>
          </ac:picMkLst>
        </pc:picChg>
      </pc:sldChg>
      <pc:sldChg chg="addSp delSp modSp new mod modClrScheme chgLayout">
        <pc:chgData name="Aguiluz, Claudia@CDPH" userId="S::claudia.aguiluz@cdph.ca.gov::a9f4ff23-d8ee-4379-ab0e-78acc28b6e49" providerId="AD" clId="Web-{02733DD3-935A-FBBA-692D-91E9481281E1}" dt="2021-09-17T15:38:37.783" v="499" actId="14100"/>
        <pc:sldMkLst>
          <pc:docMk/>
          <pc:sldMk cId="3417190952" sldId="2147470242"/>
        </pc:sldMkLst>
        <pc:spChg chg="del mod">
          <ac:chgData name="Aguiluz, Claudia@CDPH" userId="S::claudia.aguiluz@cdph.ca.gov::a9f4ff23-d8ee-4379-ab0e-78acc28b6e49" providerId="AD" clId="Web-{02733DD3-935A-FBBA-692D-91E9481281E1}" dt="2021-09-17T15:38:11.515" v="491"/>
          <ac:spMkLst>
            <pc:docMk/>
            <pc:sldMk cId="3417190952" sldId="2147470242"/>
            <ac:spMk id="2" creationId="{9D54D546-6C74-400F-8829-29F24BDDDD91}"/>
          </ac:spMkLst>
        </pc:spChg>
        <pc:spChg chg="del">
          <ac:chgData name="Aguiluz, Claudia@CDPH" userId="S::claudia.aguiluz@cdph.ca.gov::a9f4ff23-d8ee-4379-ab0e-78acc28b6e49" providerId="AD" clId="Web-{02733DD3-935A-FBBA-692D-91E9481281E1}" dt="2021-09-17T15:35:35.910" v="469"/>
          <ac:spMkLst>
            <pc:docMk/>
            <pc:sldMk cId="3417190952" sldId="2147470242"/>
            <ac:spMk id="3" creationId="{4269001E-6E3C-4CBC-B2A6-78AA1364FDD9}"/>
          </ac:spMkLst>
        </pc:spChg>
        <pc:spChg chg="add del mod">
          <ac:chgData name="Aguiluz, Claudia@CDPH" userId="S::claudia.aguiluz@cdph.ca.gov::a9f4ff23-d8ee-4379-ab0e-78acc28b6e49" providerId="AD" clId="Web-{02733DD3-935A-FBBA-692D-91E9481281E1}" dt="2021-09-17T15:38:10.640" v="490"/>
          <ac:spMkLst>
            <pc:docMk/>
            <pc:sldMk cId="3417190952" sldId="2147470242"/>
            <ac:spMk id="4" creationId="{81285EBA-F26E-49DB-815B-3FC8D9F408A1}"/>
          </ac:spMkLst>
        </pc:spChg>
        <pc:spChg chg="mod ord">
          <ac:chgData name="Aguiluz, Claudia@CDPH" userId="S::claudia.aguiluz@cdph.ca.gov::a9f4ff23-d8ee-4379-ab0e-78acc28b6e49" providerId="AD" clId="Web-{02733DD3-935A-FBBA-692D-91E9481281E1}" dt="2021-09-17T15:38:17.625" v="492"/>
          <ac:spMkLst>
            <pc:docMk/>
            <pc:sldMk cId="3417190952" sldId="2147470242"/>
            <ac:spMk id="5" creationId="{204EA949-B03D-4FAD-8089-3F4360C39C76}"/>
          </ac:spMkLst>
        </pc:spChg>
        <pc:spChg chg="add del mod">
          <ac:chgData name="Aguiluz, Claudia@CDPH" userId="S::claudia.aguiluz@cdph.ca.gov::a9f4ff23-d8ee-4379-ab0e-78acc28b6e49" providerId="AD" clId="Web-{02733DD3-935A-FBBA-692D-91E9481281E1}" dt="2021-09-17T15:38:06.859" v="489"/>
          <ac:spMkLst>
            <pc:docMk/>
            <pc:sldMk cId="3417190952" sldId="2147470242"/>
            <ac:spMk id="8" creationId="{2087CCE3-A84F-410B-A985-9728EEA410B6}"/>
          </ac:spMkLst>
        </pc:spChg>
        <pc:spChg chg="add del mod">
          <ac:chgData name="Aguiluz, Claudia@CDPH" userId="S::claudia.aguiluz@cdph.ca.gov::a9f4ff23-d8ee-4379-ab0e-78acc28b6e49" providerId="AD" clId="Web-{02733DD3-935A-FBBA-692D-91E9481281E1}" dt="2021-09-17T15:38:17.625" v="492"/>
          <ac:spMkLst>
            <pc:docMk/>
            <pc:sldMk cId="3417190952" sldId="2147470242"/>
            <ac:spMk id="10" creationId="{E3B0B126-4B98-43B8-A70B-102475F3E856}"/>
          </ac:spMkLst>
        </pc:spChg>
        <pc:spChg chg="add del mod">
          <ac:chgData name="Aguiluz, Claudia@CDPH" userId="S::claudia.aguiluz@cdph.ca.gov::a9f4ff23-d8ee-4379-ab0e-78acc28b6e49" providerId="AD" clId="Web-{02733DD3-935A-FBBA-692D-91E9481281E1}" dt="2021-09-17T15:38:17.625" v="492"/>
          <ac:spMkLst>
            <pc:docMk/>
            <pc:sldMk cId="3417190952" sldId="2147470242"/>
            <ac:spMk id="12" creationId="{D1D55232-C49D-48A2-81FC-765C186D0BAE}"/>
          </ac:spMkLst>
        </pc:spChg>
        <pc:picChg chg="add del mod ord">
          <ac:chgData name="Aguiluz, Claudia@CDPH" userId="S::claudia.aguiluz@cdph.ca.gov::a9f4ff23-d8ee-4379-ab0e-78acc28b6e49" providerId="AD" clId="Web-{02733DD3-935A-FBBA-692D-91E9481281E1}" dt="2021-09-17T15:35:46.786" v="472"/>
          <ac:picMkLst>
            <pc:docMk/>
            <pc:sldMk cId="3417190952" sldId="2147470242"/>
            <ac:picMk id="6" creationId="{59EDB707-5672-4BCC-B2A1-F689F7583131}"/>
          </ac:picMkLst>
        </pc:picChg>
        <pc:picChg chg="add mod">
          <ac:chgData name="Aguiluz, Claudia@CDPH" userId="S::claudia.aguiluz@cdph.ca.gov::a9f4ff23-d8ee-4379-ab0e-78acc28b6e49" providerId="AD" clId="Web-{02733DD3-935A-FBBA-692D-91E9481281E1}" dt="2021-09-17T15:38:37.783" v="499" actId="14100"/>
          <ac:picMkLst>
            <pc:docMk/>
            <pc:sldMk cId="3417190952" sldId="2147470242"/>
            <ac:picMk id="13" creationId="{C185463D-9428-4ECD-B820-F075E56EA544}"/>
          </ac:picMkLst>
        </pc:picChg>
      </pc:sldChg>
    </pc:docChg>
  </pc:docChgLst>
  <pc:docChgLst>
    <pc:chgData name="Park, Tehwan@CDPH" userId="S::tehwan.park@cdph.ca.gov::6df11d70-db79-4450-95a2-f758693457c0" providerId="AD" clId="Web-{7EEE4AE1-BA0A-36D9-85EC-71AA8CF3D0F4}"/>
    <pc:docChg chg="addSld">
      <pc:chgData name="Park, Tehwan@CDPH" userId="S::tehwan.park@cdph.ca.gov::6df11d70-db79-4450-95a2-f758693457c0" providerId="AD" clId="Web-{7EEE4AE1-BA0A-36D9-85EC-71AA8CF3D0F4}" dt="2021-09-15T18:04:34.504" v="4"/>
      <pc:docMkLst>
        <pc:docMk/>
      </pc:docMkLst>
      <pc:sldChg chg="add">
        <pc:chgData name="Park, Tehwan@CDPH" userId="S::tehwan.park@cdph.ca.gov::6df11d70-db79-4450-95a2-f758693457c0" providerId="AD" clId="Web-{7EEE4AE1-BA0A-36D9-85EC-71AA8CF3D0F4}" dt="2021-09-15T18:04:31.941" v="0"/>
        <pc:sldMkLst>
          <pc:docMk/>
          <pc:sldMk cId="4154666959" sldId="288"/>
        </pc:sldMkLst>
      </pc:sldChg>
      <pc:sldChg chg="add">
        <pc:chgData name="Park, Tehwan@CDPH" userId="S::tehwan.park@cdph.ca.gov::6df11d70-db79-4450-95a2-f758693457c0" providerId="AD" clId="Web-{7EEE4AE1-BA0A-36D9-85EC-71AA8CF3D0F4}" dt="2021-09-15T18:04:32.801" v="1"/>
        <pc:sldMkLst>
          <pc:docMk/>
          <pc:sldMk cId="1322154889" sldId="289"/>
        </pc:sldMkLst>
      </pc:sldChg>
      <pc:sldChg chg="add">
        <pc:chgData name="Park, Tehwan@CDPH" userId="S::tehwan.park@cdph.ca.gov::6df11d70-db79-4450-95a2-f758693457c0" providerId="AD" clId="Web-{7EEE4AE1-BA0A-36D9-85EC-71AA8CF3D0F4}" dt="2021-09-15T18:04:33.691" v="2"/>
        <pc:sldMkLst>
          <pc:docMk/>
          <pc:sldMk cId="3719632519" sldId="290"/>
        </pc:sldMkLst>
      </pc:sldChg>
      <pc:sldChg chg="add">
        <pc:chgData name="Park, Tehwan@CDPH" userId="S::tehwan.park@cdph.ca.gov::6df11d70-db79-4450-95a2-f758693457c0" providerId="AD" clId="Web-{7EEE4AE1-BA0A-36D9-85EC-71AA8CF3D0F4}" dt="2021-09-15T18:04:34.144" v="3"/>
        <pc:sldMkLst>
          <pc:docMk/>
          <pc:sldMk cId="2728538737" sldId="291"/>
        </pc:sldMkLst>
      </pc:sldChg>
      <pc:sldChg chg="add">
        <pc:chgData name="Park, Tehwan@CDPH" userId="S::tehwan.park@cdph.ca.gov::6df11d70-db79-4450-95a2-f758693457c0" providerId="AD" clId="Web-{7EEE4AE1-BA0A-36D9-85EC-71AA8CF3D0F4}" dt="2021-09-15T18:04:34.504" v="4"/>
        <pc:sldMkLst>
          <pc:docMk/>
          <pc:sldMk cId="316170425" sldId="292"/>
        </pc:sldMkLst>
      </pc:sldChg>
    </pc:docChg>
  </pc:docChgLst>
  <pc:docChgLst>
    <pc:chgData name="Grey, Jane@CDPH" userId="S::jane.grey@cdph.ca.gov::504d9a0c-4e7c-4b2d-8551-edac8360327d" providerId="AD" clId="Web-{FFB60B46-0F2E-65E7-0170-98E522D1E9EF}"/>
    <pc:docChg chg="modSld">
      <pc:chgData name="Grey, Jane@CDPH" userId="S::jane.grey@cdph.ca.gov::504d9a0c-4e7c-4b2d-8551-edac8360327d" providerId="AD" clId="Web-{FFB60B46-0F2E-65E7-0170-98E522D1E9EF}" dt="2021-09-17T14:27:36.693" v="2" actId="20577"/>
      <pc:docMkLst>
        <pc:docMk/>
      </pc:docMkLst>
      <pc:sldChg chg="modSp">
        <pc:chgData name="Grey, Jane@CDPH" userId="S::jane.grey@cdph.ca.gov::504d9a0c-4e7c-4b2d-8551-edac8360327d" providerId="AD" clId="Web-{FFB60B46-0F2E-65E7-0170-98E522D1E9EF}" dt="2021-09-17T14:27:36.693" v="2" actId="20577"/>
        <pc:sldMkLst>
          <pc:docMk/>
          <pc:sldMk cId="1846767743" sldId="282"/>
        </pc:sldMkLst>
        <pc:spChg chg="mod">
          <ac:chgData name="Grey, Jane@CDPH" userId="S::jane.grey@cdph.ca.gov::504d9a0c-4e7c-4b2d-8551-edac8360327d" providerId="AD" clId="Web-{FFB60B46-0F2E-65E7-0170-98E522D1E9EF}" dt="2021-09-17T14:27:36.693" v="2" actId="20577"/>
          <ac:spMkLst>
            <pc:docMk/>
            <pc:sldMk cId="1846767743" sldId="282"/>
            <ac:spMk id="3" creationId="{D062D2ED-97DE-44FF-AB51-DAEB9F808E70}"/>
          </ac:spMkLst>
        </pc:spChg>
      </pc:sldChg>
      <pc:sldChg chg="modSp">
        <pc:chgData name="Grey, Jane@CDPH" userId="S::jane.grey@cdph.ca.gov::504d9a0c-4e7c-4b2d-8551-edac8360327d" providerId="AD" clId="Web-{FFB60B46-0F2E-65E7-0170-98E522D1E9EF}" dt="2021-09-17T14:26:50.067" v="0" actId="1076"/>
        <pc:sldMkLst>
          <pc:docMk/>
          <pc:sldMk cId="57925094" sldId="287"/>
        </pc:sldMkLst>
        <pc:spChg chg="mod">
          <ac:chgData name="Grey, Jane@CDPH" userId="S::jane.grey@cdph.ca.gov::504d9a0c-4e7c-4b2d-8551-edac8360327d" providerId="AD" clId="Web-{FFB60B46-0F2E-65E7-0170-98E522D1E9EF}" dt="2021-09-17T14:26:50.067" v="0" actId="1076"/>
          <ac:spMkLst>
            <pc:docMk/>
            <pc:sldMk cId="57925094" sldId="287"/>
            <ac:spMk id="11" creationId="{CC5CB989-452D-416C-9916-871C245B1F2C}"/>
          </ac:spMkLst>
        </pc:spChg>
      </pc:sldChg>
    </pc:docChg>
  </pc:docChgLst>
  <pc:docChgLst>
    <pc:chgData name="Grey, Jane@CDPH" userId="S::jane.grey@cdph.ca.gov::504d9a0c-4e7c-4b2d-8551-edac8360327d" providerId="AD" clId="Web-{7521B35F-869A-DE70-FEEA-D6B086E5D1F7}"/>
    <pc:docChg chg="addSld modSld">
      <pc:chgData name="Grey, Jane@CDPH" userId="S::jane.grey@cdph.ca.gov::504d9a0c-4e7c-4b2d-8551-edac8360327d" providerId="AD" clId="Web-{7521B35F-869A-DE70-FEEA-D6B086E5D1F7}" dt="2021-09-17T00:02:29.998" v="259" actId="20577"/>
      <pc:docMkLst>
        <pc:docMk/>
      </pc:docMkLst>
      <pc:sldChg chg="modSp">
        <pc:chgData name="Grey, Jane@CDPH" userId="S::jane.grey@cdph.ca.gov::504d9a0c-4e7c-4b2d-8551-edac8360327d" providerId="AD" clId="Web-{7521B35F-869A-DE70-FEEA-D6B086E5D1F7}" dt="2021-09-16T22:41:52.201" v="209" actId="20577"/>
        <pc:sldMkLst>
          <pc:docMk/>
          <pc:sldMk cId="2841381135" sldId="283"/>
        </pc:sldMkLst>
        <pc:spChg chg="mod">
          <ac:chgData name="Grey, Jane@CDPH" userId="S::jane.grey@cdph.ca.gov::504d9a0c-4e7c-4b2d-8551-edac8360327d" providerId="AD" clId="Web-{7521B35F-869A-DE70-FEEA-D6B086E5D1F7}" dt="2021-09-16T22:35:50.353" v="37" actId="20577"/>
          <ac:spMkLst>
            <pc:docMk/>
            <pc:sldMk cId="2841381135" sldId="283"/>
            <ac:spMk id="2" creationId="{285047DB-94FB-4932-9382-836711A965F4}"/>
          </ac:spMkLst>
        </pc:spChg>
        <pc:spChg chg="mod">
          <ac:chgData name="Grey, Jane@CDPH" userId="S::jane.grey@cdph.ca.gov::504d9a0c-4e7c-4b2d-8551-edac8360327d" providerId="AD" clId="Web-{7521B35F-869A-DE70-FEEA-D6B086E5D1F7}" dt="2021-09-16T22:41:52.201" v="209" actId="20577"/>
          <ac:spMkLst>
            <pc:docMk/>
            <pc:sldMk cId="2841381135" sldId="283"/>
            <ac:spMk id="3" creationId="{7F829242-B7DD-41C2-A2ED-097BD684718E}"/>
          </ac:spMkLst>
        </pc:spChg>
      </pc:sldChg>
      <pc:sldChg chg="modSp">
        <pc:chgData name="Grey, Jane@CDPH" userId="S::jane.grey@cdph.ca.gov::504d9a0c-4e7c-4b2d-8551-edac8360327d" providerId="AD" clId="Web-{7521B35F-869A-DE70-FEEA-D6B086E5D1F7}" dt="2021-09-16T22:49:19.268" v="218" actId="20577"/>
        <pc:sldMkLst>
          <pc:docMk/>
          <pc:sldMk cId="804668004" sldId="293"/>
        </pc:sldMkLst>
        <pc:spChg chg="mod">
          <ac:chgData name="Grey, Jane@CDPH" userId="S::jane.grey@cdph.ca.gov::504d9a0c-4e7c-4b2d-8551-edac8360327d" providerId="AD" clId="Web-{7521B35F-869A-DE70-FEEA-D6B086E5D1F7}" dt="2021-09-16T22:49:19.268" v="218" actId="20577"/>
          <ac:spMkLst>
            <pc:docMk/>
            <pc:sldMk cId="804668004" sldId="293"/>
            <ac:spMk id="3" creationId="{2A68B2A1-8F93-481A-AEB8-65A35F8FF00A}"/>
          </ac:spMkLst>
        </pc:spChg>
      </pc:sldChg>
      <pc:sldChg chg="modSp">
        <pc:chgData name="Grey, Jane@CDPH" userId="S::jane.grey@cdph.ca.gov::504d9a0c-4e7c-4b2d-8551-edac8360327d" providerId="AD" clId="Web-{7521B35F-869A-DE70-FEEA-D6B086E5D1F7}" dt="2021-09-17T00:02:29.998" v="259" actId="20577"/>
        <pc:sldMkLst>
          <pc:docMk/>
          <pc:sldMk cId="3149399661" sldId="295"/>
        </pc:sldMkLst>
        <pc:spChg chg="mod">
          <ac:chgData name="Grey, Jane@CDPH" userId="S::jane.grey@cdph.ca.gov::504d9a0c-4e7c-4b2d-8551-edac8360327d" providerId="AD" clId="Web-{7521B35F-869A-DE70-FEEA-D6B086E5D1F7}" dt="2021-09-17T00:02:29.998" v="259" actId="20577"/>
          <ac:spMkLst>
            <pc:docMk/>
            <pc:sldMk cId="3149399661" sldId="295"/>
            <ac:spMk id="3" creationId="{34BAC57B-B1FD-46AE-9030-531D7FF5EEF0}"/>
          </ac:spMkLst>
        </pc:spChg>
      </pc:sldChg>
      <pc:sldChg chg="modSp add">
        <pc:chgData name="Grey, Jane@CDPH" userId="S::jane.grey@cdph.ca.gov::504d9a0c-4e7c-4b2d-8551-edac8360327d" providerId="AD" clId="Web-{7521B35F-869A-DE70-FEEA-D6B086E5D1F7}" dt="2021-09-16T23:34:08.555" v="253" actId="14100"/>
        <pc:sldMkLst>
          <pc:docMk/>
          <pc:sldMk cId="2436921205" sldId="311"/>
        </pc:sldMkLst>
        <pc:spChg chg="mod">
          <ac:chgData name="Grey, Jane@CDPH" userId="S::jane.grey@cdph.ca.gov::504d9a0c-4e7c-4b2d-8551-edac8360327d" providerId="AD" clId="Web-{7521B35F-869A-DE70-FEEA-D6B086E5D1F7}" dt="2021-09-16T23:12:57.193" v="221" actId="20577"/>
          <ac:spMkLst>
            <pc:docMk/>
            <pc:sldMk cId="2436921205" sldId="311"/>
            <ac:spMk id="3" creationId="{9AD44355-F40B-41F4-B79A-42A30F8AA66C}"/>
          </ac:spMkLst>
        </pc:spChg>
        <pc:spChg chg="mod">
          <ac:chgData name="Grey, Jane@CDPH" userId="S::jane.grey@cdph.ca.gov::504d9a0c-4e7c-4b2d-8551-edac8360327d" providerId="AD" clId="Web-{7521B35F-869A-DE70-FEEA-D6B086E5D1F7}" dt="2021-09-16T23:33:58.930" v="252" actId="14100"/>
          <ac:spMkLst>
            <pc:docMk/>
            <pc:sldMk cId="2436921205" sldId="311"/>
            <ac:spMk id="6" creationId="{0BB09307-32FF-4553-A3AA-4C6D6B7FE863}"/>
          </ac:spMkLst>
        </pc:spChg>
        <pc:spChg chg="mod">
          <ac:chgData name="Grey, Jane@CDPH" userId="S::jane.grey@cdph.ca.gov::504d9a0c-4e7c-4b2d-8551-edac8360327d" providerId="AD" clId="Web-{7521B35F-869A-DE70-FEEA-D6B086E5D1F7}" dt="2021-09-16T23:34:08.555" v="253" actId="14100"/>
          <ac:spMkLst>
            <pc:docMk/>
            <pc:sldMk cId="2436921205" sldId="311"/>
            <ac:spMk id="7" creationId="{25D4BF10-4E6A-C445-A3DA-53E77D076BC2}"/>
          </ac:spMkLst>
        </pc:spChg>
        <pc:spChg chg="mod">
          <ac:chgData name="Grey, Jane@CDPH" userId="S::jane.grey@cdph.ca.gov::504d9a0c-4e7c-4b2d-8551-edac8360327d" providerId="AD" clId="Web-{7521B35F-869A-DE70-FEEA-D6B086E5D1F7}" dt="2021-09-16T23:33:54.820" v="251" actId="14100"/>
          <ac:spMkLst>
            <pc:docMk/>
            <pc:sldMk cId="2436921205" sldId="311"/>
            <ac:spMk id="9" creationId="{22DC30FA-69A3-4ACA-99DE-CEEEB7EB90BC}"/>
          </ac:spMkLst>
        </pc:spChg>
        <pc:spChg chg="mod">
          <ac:chgData name="Grey, Jane@CDPH" userId="S::jane.grey@cdph.ca.gov::504d9a0c-4e7c-4b2d-8551-edac8360327d" providerId="AD" clId="Web-{7521B35F-869A-DE70-FEEA-D6B086E5D1F7}" dt="2021-09-16T23:15:48.836" v="241" actId="20577"/>
          <ac:spMkLst>
            <pc:docMk/>
            <pc:sldMk cId="2436921205" sldId="311"/>
            <ac:spMk id="11" creationId="{0DC35DE5-24C6-0D47-ACC6-024B6CE56AB2}"/>
          </ac:spMkLst>
        </pc:spChg>
        <pc:graphicFrameChg chg="mod modGraphic">
          <ac:chgData name="Grey, Jane@CDPH" userId="S::jane.grey@cdph.ca.gov::504d9a0c-4e7c-4b2d-8551-edac8360327d" providerId="AD" clId="Web-{7521B35F-869A-DE70-FEEA-D6B086E5D1F7}" dt="2021-09-16T23:14:39.085" v="239"/>
          <ac:graphicFrameMkLst>
            <pc:docMk/>
            <pc:sldMk cId="2436921205" sldId="311"/>
            <ac:graphicFrameMk id="2" creationId="{BA27A9F5-8B2F-43FB-B1C1-EB29FF51CA3A}"/>
          </ac:graphicFrameMkLst>
        </pc:graphicFrameChg>
      </pc:sldChg>
    </pc:docChg>
  </pc:docChgLst>
  <pc:docChgLst>
    <pc:chgData name="Amani, Leslie@CDPH" userId="S::leslie.amani@cdph.ca.gov::c0370b36-7f1f-4284-bc9b-092cfc685f39" providerId="AD" clId="Web-{FF3500E4-C18C-45E9-8635-585A2D4400D8}"/>
    <pc:docChg chg="modSld">
      <pc:chgData name="Amani, Leslie@CDPH" userId="S::leslie.amani@cdph.ca.gov::c0370b36-7f1f-4284-bc9b-092cfc685f39" providerId="AD" clId="Web-{FF3500E4-C18C-45E9-8635-585A2D4400D8}" dt="2021-09-17T15:39:06.678" v="45" actId="20577"/>
      <pc:docMkLst>
        <pc:docMk/>
      </pc:docMkLst>
      <pc:sldChg chg="modSp">
        <pc:chgData name="Amani, Leslie@CDPH" userId="S::leslie.amani@cdph.ca.gov::c0370b36-7f1f-4284-bc9b-092cfc685f39" providerId="AD" clId="Web-{FF3500E4-C18C-45E9-8635-585A2D4400D8}" dt="2021-09-17T15:30:13.181" v="42" actId="1076"/>
        <pc:sldMkLst>
          <pc:docMk/>
          <pc:sldMk cId="2436921205" sldId="311"/>
        </pc:sldMkLst>
        <pc:spChg chg="mod">
          <ac:chgData name="Amani, Leslie@CDPH" userId="S::leslie.amani@cdph.ca.gov::c0370b36-7f1f-4284-bc9b-092cfc685f39" providerId="AD" clId="Web-{FF3500E4-C18C-45E9-8635-585A2D4400D8}" dt="2021-09-17T15:29:07.051" v="17" actId="20577"/>
          <ac:spMkLst>
            <pc:docMk/>
            <pc:sldMk cId="2436921205" sldId="311"/>
            <ac:spMk id="4" creationId="{76DF95F0-6CD4-40DD-89FE-F46264647644}"/>
          </ac:spMkLst>
        </pc:spChg>
        <pc:spChg chg="mod">
          <ac:chgData name="Amani, Leslie@CDPH" userId="S::leslie.amani@cdph.ca.gov::c0370b36-7f1f-4284-bc9b-092cfc685f39" providerId="AD" clId="Web-{FF3500E4-C18C-45E9-8635-585A2D4400D8}" dt="2021-09-17T15:30:04.587" v="39" actId="20577"/>
          <ac:spMkLst>
            <pc:docMk/>
            <pc:sldMk cId="2436921205" sldId="311"/>
            <ac:spMk id="5" creationId="{61886E42-EFF2-411E-9139-AA2E90D17E5F}"/>
          </ac:spMkLst>
        </pc:spChg>
        <pc:graphicFrameChg chg="mod modGraphic">
          <ac:chgData name="Amani, Leslie@CDPH" userId="S::leslie.amani@cdph.ca.gov::c0370b36-7f1f-4284-bc9b-092cfc685f39" providerId="AD" clId="Web-{FF3500E4-C18C-45E9-8635-585A2D4400D8}" dt="2021-09-17T15:30:13.181" v="42" actId="1076"/>
          <ac:graphicFrameMkLst>
            <pc:docMk/>
            <pc:sldMk cId="2436921205" sldId="311"/>
            <ac:graphicFrameMk id="2" creationId="{BA27A9F5-8B2F-43FB-B1C1-EB29FF51CA3A}"/>
          </ac:graphicFrameMkLst>
        </pc:graphicFrameChg>
      </pc:sldChg>
      <pc:sldChg chg="modSp">
        <pc:chgData name="Amani, Leslie@CDPH" userId="S::leslie.amani@cdph.ca.gov::c0370b36-7f1f-4284-bc9b-092cfc685f39" providerId="AD" clId="Web-{FF3500E4-C18C-45E9-8635-585A2D4400D8}" dt="2021-09-17T15:14:37.574" v="11" actId="1076"/>
        <pc:sldMkLst>
          <pc:docMk/>
          <pc:sldMk cId="2788707397" sldId="2147470239"/>
        </pc:sldMkLst>
        <pc:spChg chg="mod">
          <ac:chgData name="Amani, Leslie@CDPH" userId="S::leslie.amani@cdph.ca.gov::c0370b36-7f1f-4284-bc9b-092cfc685f39" providerId="AD" clId="Web-{FF3500E4-C18C-45E9-8635-585A2D4400D8}" dt="2021-09-17T15:14:35.199" v="10" actId="1076"/>
          <ac:spMkLst>
            <pc:docMk/>
            <pc:sldMk cId="2788707397" sldId="2147470239"/>
            <ac:spMk id="7" creationId="{DEAD7014-069B-4B3F-B927-C5376E8C16EB}"/>
          </ac:spMkLst>
        </pc:spChg>
        <pc:spChg chg="mod">
          <ac:chgData name="Amani, Leslie@CDPH" userId="S::leslie.amani@cdph.ca.gov::c0370b36-7f1f-4284-bc9b-092cfc685f39" providerId="AD" clId="Web-{FF3500E4-C18C-45E9-8635-585A2D4400D8}" dt="2021-09-17T15:14:37.574" v="11" actId="1076"/>
          <ac:spMkLst>
            <pc:docMk/>
            <pc:sldMk cId="2788707397" sldId="2147470239"/>
            <ac:spMk id="8" creationId="{D7F10D69-7B51-4857-88A1-45E8379A2939}"/>
          </ac:spMkLst>
        </pc:spChg>
        <pc:cxnChg chg="mod">
          <ac:chgData name="Amani, Leslie@CDPH" userId="S::leslie.amani@cdph.ca.gov::c0370b36-7f1f-4284-bc9b-092cfc685f39" providerId="AD" clId="Web-{FF3500E4-C18C-45E9-8635-585A2D4400D8}" dt="2021-09-17T15:14:27.042" v="9" actId="14100"/>
          <ac:cxnSpMkLst>
            <pc:docMk/>
            <pc:sldMk cId="2788707397" sldId="2147470239"/>
            <ac:cxnSpMk id="16" creationId="{8462C136-0289-774E-B694-0603F1B18CFB}"/>
          </ac:cxnSpMkLst>
        </pc:cxnChg>
      </pc:sldChg>
      <pc:sldChg chg="modSp">
        <pc:chgData name="Amani, Leslie@CDPH" userId="S::leslie.amani@cdph.ca.gov::c0370b36-7f1f-4284-bc9b-092cfc685f39" providerId="AD" clId="Web-{FF3500E4-C18C-45E9-8635-585A2D4400D8}" dt="2021-09-17T15:39:06.678" v="45" actId="20577"/>
        <pc:sldMkLst>
          <pc:docMk/>
          <pc:sldMk cId="2344511547" sldId="2147470240"/>
        </pc:sldMkLst>
        <pc:spChg chg="mod">
          <ac:chgData name="Amani, Leslie@CDPH" userId="S::leslie.amani@cdph.ca.gov::c0370b36-7f1f-4284-bc9b-092cfc685f39" providerId="AD" clId="Web-{FF3500E4-C18C-45E9-8635-585A2D4400D8}" dt="2021-09-17T15:39:06.678" v="45" actId="20577"/>
          <ac:spMkLst>
            <pc:docMk/>
            <pc:sldMk cId="2344511547" sldId="2147470240"/>
            <ac:spMk id="6" creationId="{FEDD5A5B-7DC5-40BA-8253-3D45827CFAA8}"/>
          </ac:spMkLst>
        </pc:spChg>
      </pc:sldChg>
    </pc:docChg>
  </pc:docChgLst>
  <pc:docChgLst>
    <pc:chgData name="Grey, Jane@CDPH" userId="S::jane.grey@cdph.ca.gov::504d9a0c-4e7c-4b2d-8551-edac8360327d" providerId="AD" clId="Web-{3D87A6A0-255F-F083-300E-6BDD35261E89}"/>
    <pc:docChg chg="modSld">
      <pc:chgData name="Grey, Jane@CDPH" userId="S::jane.grey@cdph.ca.gov::504d9a0c-4e7c-4b2d-8551-edac8360327d" providerId="AD" clId="Web-{3D87A6A0-255F-F083-300E-6BDD35261E89}" dt="2021-09-15T18:33:43.241" v="3" actId="20577"/>
      <pc:docMkLst>
        <pc:docMk/>
      </pc:docMkLst>
      <pc:sldChg chg="modSp">
        <pc:chgData name="Grey, Jane@CDPH" userId="S::jane.grey@cdph.ca.gov::504d9a0c-4e7c-4b2d-8551-edac8360327d" providerId="AD" clId="Web-{3D87A6A0-255F-F083-300E-6BDD35261E89}" dt="2021-09-15T18:33:43.241" v="3" actId="20577"/>
        <pc:sldMkLst>
          <pc:docMk/>
          <pc:sldMk cId="1946224000" sldId="284"/>
        </pc:sldMkLst>
        <pc:spChg chg="mod">
          <ac:chgData name="Grey, Jane@CDPH" userId="S::jane.grey@cdph.ca.gov::504d9a0c-4e7c-4b2d-8551-edac8360327d" providerId="AD" clId="Web-{3D87A6A0-255F-F083-300E-6BDD35261E89}" dt="2021-09-15T18:33:43.241" v="3" actId="20577"/>
          <ac:spMkLst>
            <pc:docMk/>
            <pc:sldMk cId="1946224000" sldId="284"/>
            <ac:spMk id="3" creationId="{7F829242-B7DD-41C2-A2ED-097BD684718E}"/>
          </ac:spMkLst>
        </pc:spChg>
      </pc:sldChg>
    </pc:docChg>
  </pc:docChgLst>
  <pc:docChgLst>
    <pc:chgData name="Grey, Jane@CDPH" userId="S::jane.grey@cdph.ca.gov::504d9a0c-4e7c-4b2d-8551-edac8360327d" providerId="AD" clId="Web-{34FDC3AB-757C-88BF-6DF2-BF93F63D725A}"/>
    <pc:docChg chg="modSld">
      <pc:chgData name="Grey, Jane@CDPH" userId="S::jane.grey@cdph.ca.gov::504d9a0c-4e7c-4b2d-8551-edac8360327d" providerId="AD" clId="Web-{34FDC3AB-757C-88BF-6DF2-BF93F63D725A}" dt="2021-09-17T15:42:50.211" v="9" actId="20577"/>
      <pc:docMkLst>
        <pc:docMk/>
      </pc:docMkLst>
      <pc:sldChg chg="modSp">
        <pc:chgData name="Grey, Jane@CDPH" userId="S::jane.grey@cdph.ca.gov::504d9a0c-4e7c-4b2d-8551-edac8360327d" providerId="AD" clId="Web-{34FDC3AB-757C-88BF-6DF2-BF93F63D725A}" dt="2021-09-17T15:42:50.211" v="9" actId="20577"/>
        <pc:sldMkLst>
          <pc:docMk/>
          <pc:sldMk cId="2841381135" sldId="283"/>
        </pc:sldMkLst>
        <pc:spChg chg="mod">
          <ac:chgData name="Grey, Jane@CDPH" userId="S::jane.grey@cdph.ca.gov::504d9a0c-4e7c-4b2d-8551-edac8360327d" providerId="AD" clId="Web-{34FDC3AB-757C-88BF-6DF2-BF93F63D725A}" dt="2021-09-17T15:42:50.211" v="9" actId="20577"/>
          <ac:spMkLst>
            <pc:docMk/>
            <pc:sldMk cId="2841381135" sldId="283"/>
            <ac:spMk id="3" creationId="{7F829242-B7DD-41C2-A2ED-097BD684718E}"/>
          </ac:spMkLst>
        </pc:spChg>
        <pc:picChg chg="mod">
          <ac:chgData name="Grey, Jane@CDPH" userId="S::jane.grey@cdph.ca.gov::504d9a0c-4e7c-4b2d-8551-edac8360327d" providerId="AD" clId="Web-{34FDC3AB-757C-88BF-6DF2-BF93F63D725A}" dt="2021-09-17T15:41:22.079" v="4" actId="1076"/>
          <ac:picMkLst>
            <pc:docMk/>
            <pc:sldMk cId="2841381135" sldId="283"/>
            <ac:picMk id="8" creationId="{D95F0E7E-E95D-AD4A-937D-6C9E33E148BB}"/>
          </ac:picMkLst>
        </pc:picChg>
      </pc:sldChg>
    </pc:docChg>
  </pc:docChgLst>
  <pc:docChgLst>
    <pc:chgData name="McNitt, Louise@CDPH" userId="bbba6665-c109-4515-8d7d-3fc9fdcdda07" providerId="ADAL" clId="{4358B549-4F49-47AC-843E-4F4BD324D403}"/>
    <pc:docChg chg="undo redo custSel addSld modSld">
      <pc:chgData name="McNitt, Louise@CDPH" userId="bbba6665-c109-4515-8d7d-3fc9fdcdda07" providerId="ADAL" clId="{4358B549-4F49-47AC-843E-4F4BD324D403}" dt="2021-09-17T01:17:40.949" v="94" actId="20577"/>
      <pc:docMkLst>
        <pc:docMk/>
      </pc:docMkLst>
      <pc:sldChg chg="modSp mod">
        <pc:chgData name="McNitt, Louise@CDPH" userId="bbba6665-c109-4515-8d7d-3fc9fdcdda07" providerId="ADAL" clId="{4358B549-4F49-47AC-843E-4F4BD324D403}" dt="2021-09-17T01:13:06.296" v="0" actId="1076"/>
        <pc:sldMkLst>
          <pc:docMk/>
          <pc:sldMk cId="1395118882" sldId="2147470236"/>
        </pc:sldMkLst>
        <pc:spChg chg="mod">
          <ac:chgData name="McNitt, Louise@CDPH" userId="bbba6665-c109-4515-8d7d-3fc9fdcdda07" providerId="ADAL" clId="{4358B549-4F49-47AC-843E-4F4BD324D403}" dt="2021-09-17T01:13:06.296" v="0" actId="1076"/>
          <ac:spMkLst>
            <pc:docMk/>
            <pc:sldMk cId="1395118882" sldId="2147470236"/>
            <ac:spMk id="6" creationId="{C945A96E-B143-43A4-8739-15FCECEFDCFF}"/>
          </ac:spMkLst>
        </pc:spChg>
      </pc:sldChg>
      <pc:sldChg chg="modSp new mod">
        <pc:chgData name="McNitt, Louise@CDPH" userId="bbba6665-c109-4515-8d7d-3fc9fdcdda07" providerId="ADAL" clId="{4358B549-4F49-47AC-843E-4F4BD324D403}" dt="2021-09-17T01:17:40.949" v="94" actId="20577"/>
        <pc:sldMkLst>
          <pc:docMk/>
          <pc:sldMk cId="2567669684" sldId="2147470238"/>
        </pc:sldMkLst>
        <pc:spChg chg="mod">
          <ac:chgData name="McNitt, Louise@CDPH" userId="bbba6665-c109-4515-8d7d-3fc9fdcdda07" providerId="ADAL" clId="{4358B549-4F49-47AC-843E-4F4BD324D403}" dt="2021-09-17T01:14:17.868" v="18" actId="20577"/>
          <ac:spMkLst>
            <pc:docMk/>
            <pc:sldMk cId="2567669684" sldId="2147470238"/>
            <ac:spMk id="2" creationId="{15D37569-96F3-4BAE-A696-136060449FB2}"/>
          </ac:spMkLst>
        </pc:spChg>
        <pc:spChg chg="mod">
          <ac:chgData name="McNitt, Louise@CDPH" userId="bbba6665-c109-4515-8d7d-3fc9fdcdda07" providerId="ADAL" clId="{4358B549-4F49-47AC-843E-4F4BD324D403}" dt="2021-09-17T01:17:40.949" v="94" actId="20577"/>
          <ac:spMkLst>
            <pc:docMk/>
            <pc:sldMk cId="2567669684" sldId="2147470238"/>
            <ac:spMk id="3" creationId="{C40179F1-E2A9-4C39-AE56-0B8F37BD3C0D}"/>
          </ac:spMkLst>
        </pc:spChg>
      </pc:sldChg>
    </pc:docChg>
  </pc:docChgLst>
  <pc:docChgLst>
    <pc:chgData name="Hendrickson, Alan@CDPH" userId="S::alan.hendrickson@cdph.ca.gov::446e67e5-2a66-48d2-8b60-f8d28abfe42d" providerId="AD" clId="Web-{3DFC5C78-5AF4-BBDD-E90A-BCC9E4E5C775}"/>
    <pc:docChg chg="addSld modSld">
      <pc:chgData name="Hendrickson, Alan@CDPH" userId="S::alan.hendrickson@cdph.ca.gov::446e67e5-2a66-48d2-8b60-f8d28abfe42d" providerId="AD" clId="Web-{3DFC5C78-5AF4-BBDD-E90A-BCC9E4E5C775}" dt="2021-09-16T20:30:17.086" v="301" actId="20577"/>
      <pc:docMkLst>
        <pc:docMk/>
      </pc:docMkLst>
      <pc:sldChg chg="modSp add">
        <pc:chgData name="Hendrickson, Alan@CDPH" userId="S::alan.hendrickson@cdph.ca.gov::446e67e5-2a66-48d2-8b60-f8d28abfe42d" providerId="AD" clId="Web-{3DFC5C78-5AF4-BBDD-E90A-BCC9E4E5C775}" dt="2021-09-16T20:30:17.086" v="301" actId="20577"/>
        <pc:sldMkLst>
          <pc:docMk/>
          <pc:sldMk cId="2968521312" sldId="296"/>
        </pc:sldMkLst>
        <pc:spChg chg="mod">
          <ac:chgData name="Hendrickson, Alan@CDPH" userId="S::alan.hendrickson@cdph.ca.gov::446e67e5-2a66-48d2-8b60-f8d28abfe42d" providerId="AD" clId="Web-{3DFC5C78-5AF4-BBDD-E90A-BCC9E4E5C775}" dt="2021-09-16T20:30:17.086" v="301" actId="20577"/>
          <ac:spMkLst>
            <pc:docMk/>
            <pc:sldMk cId="2968521312" sldId="296"/>
            <ac:spMk id="2" creationId="{A0180788-27DE-4009-9632-C255E9F03637}"/>
          </ac:spMkLst>
        </pc:spChg>
      </pc:sldChg>
      <pc:sldChg chg="add">
        <pc:chgData name="Hendrickson, Alan@CDPH" userId="S::alan.hendrickson@cdph.ca.gov::446e67e5-2a66-48d2-8b60-f8d28abfe42d" providerId="AD" clId="Web-{3DFC5C78-5AF4-BBDD-E90A-BCC9E4E5C775}" dt="2021-09-16T19:21:22.115" v="1"/>
        <pc:sldMkLst>
          <pc:docMk/>
          <pc:sldMk cId="3339807596" sldId="297"/>
        </pc:sldMkLst>
      </pc:sldChg>
      <pc:sldChg chg="add">
        <pc:chgData name="Hendrickson, Alan@CDPH" userId="S::alan.hendrickson@cdph.ca.gov::446e67e5-2a66-48d2-8b60-f8d28abfe42d" providerId="AD" clId="Web-{3DFC5C78-5AF4-BBDD-E90A-BCC9E4E5C775}" dt="2021-09-16T19:21:22.521" v="2"/>
        <pc:sldMkLst>
          <pc:docMk/>
          <pc:sldMk cId="3885579558" sldId="298"/>
        </pc:sldMkLst>
      </pc:sldChg>
      <pc:sldChg chg="add">
        <pc:chgData name="Hendrickson, Alan@CDPH" userId="S::alan.hendrickson@cdph.ca.gov::446e67e5-2a66-48d2-8b60-f8d28abfe42d" providerId="AD" clId="Web-{3DFC5C78-5AF4-BBDD-E90A-BCC9E4E5C775}" dt="2021-09-16T19:21:22.912" v="3"/>
        <pc:sldMkLst>
          <pc:docMk/>
          <pc:sldMk cId="2581703519" sldId="299"/>
        </pc:sldMkLst>
      </pc:sldChg>
      <pc:sldChg chg="modSp add">
        <pc:chgData name="Hendrickson, Alan@CDPH" userId="S::alan.hendrickson@cdph.ca.gov::446e67e5-2a66-48d2-8b60-f8d28abfe42d" providerId="AD" clId="Web-{3DFC5C78-5AF4-BBDD-E90A-BCC9E4E5C775}" dt="2021-09-16T20:16:41.534" v="263" actId="20577"/>
        <pc:sldMkLst>
          <pc:docMk/>
          <pc:sldMk cId="3155410403" sldId="300"/>
        </pc:sldMkLst>
        <pc:spChg chg="mod">
          <ac:chgData name="Hendrickson, Alan@CDPH" userId="S::alan.hendrickson@cdph.ca.gov::446e67e5-2a66-48d2-8b60-f8d28abfe42d" providerId="AD" clId="Web-{3DFC5C78-5AF4-BBDD-E90A-BCC9E4E5C775}" dt="2021-09-16T20:14:51.869" v="230" actId="20577"/>
          <ac:spMkLst>
            <pc:docMk/>
            <pc:sldMk cId="3155410403" sldId="300"/>
            <ac:spMk id="2" creationId="{E43D08F8-51AA-4E59-89DF-D058DF3F4D79}"/>
          </ac:spMkLst>
        </pc:spChg>
        <pc:spChg chg="mod">
          <ac:chgData name="Hendrickson, Alan@CDPH" userId="S::alan.hendrickson@cdph.ca.gov::446e67e5-2a66-48d2-8b60-f8d28abfe42d" providerId="AD" clId="Web-{3DFC5C78-5AF4-BBDD-E90A-BCC9E4E5C775}" dt="2021-09-16T20:16:41.534" v="263" actId="20577"/>
          <ac:spMkLst>
            <pc:docMk/>
            <pc:sldMk cId="3155410403" sldId="300"/>
            <ac:spMk id="3" creationId="{04000A57-32ED-4BEF-B76E-DCA033F1566C}"/>
          </ac:spMkLst>
        </pc:spChg>
      </pc:sldChg>
      <pc:sldChg chg="modSp add">
        <pc:chgData name="Hendrickson, Alan@CDPH" userId="S::alan.hendrickson@cdph.ca.gov::446e67e5-2a66-48d2-8b60-f8d28abfe42d" providerId="AD" clId="Web-{3DFC5C78-5AF4-BBDD-E90A-BCC9E4E5C775}" dt="2021-09-16T20:16:51.707" v="264" actId="14100"/>
        <pc:sldMkLst>
          <pc:docMk/>
          <pc:sldMk cId="415318381" sldId="301"/>
        </pc:sldMkLst>
        <pc:spChg chg="mod">
          <ac:chgData name="Hendrickson, Alan@CDPH" userId="S::alan.hendrickson@cdph.ca.gov::446e67e5-2a66-48d2-8b60-f8d28abfe42d" providerId="AD" clId="Web-{3DFC5C78-5AF4-BBDD-E90A-BCC9E4E5C775}" dt="2021-09-16T20:15:02.542" v="237" actId="20577"/>
          <ac:spMkLst>
            <pc:docMk/>
            <pc:sldMk cId="415318381" sldId="301"/>
            <ac:spMk id="2" creationId="{E43D08F8-51AA-4E59-89DF-D058DF3F4D79}"/>
          </ac:spMkLst>
        </pc:spChg>
        <pc:spChg chg="mod">
          <ac:chgData name="Hendrickson, Alan@CDPH" userId="S::alan.hendrickson@cdph.ca.gov::446e67e5-2a66-48d2-8b60-f8d28abfe42d" providerId="AD" clId="Web-{3DFC5C78-5AF4-BBDD-E90A-BCC9E4E5C775}" dt="2021-09-16T20:16:51.707" v="264" actId="14100"/>
          <ac:spMkLst>
            <pc:docMk/>
            <pc:sldMk cId="415318381" sldId="301"/>
            <ac:spMk id="3" creationId="{04000A57-32ED-4BEF-B76E-DCA033F1566C}"/>
          </ac:spMkLst>
        </pc:spChg>
      </pc:sldChg>
      <pc:sldChg chg="add">
        <pc:chgData name="Hendrickson, Alan@CDPH" userId="S::alan.hendrickson@cdph.ca.gov::446e67e5-2a66-48d2-8b60-f8d28abfe42d" providerId="AD" clId="Web-{3DFC5C78-5AF4-BBDD-E90A-BCC9E4E5C775}" dt="2021-09-16T19:21:24.084" v="6"/>
        <pc:sldMkLst>
          <pc:docMk/>
          <pc:sldMk cId="3183355981" sldId="302"/>
        </pc:sldMkLst>
      </pc:sldChg>
      <pc:sldChg chg="addSp modSp add replId">
        <pc:chgData name="Hendrickson, Alan@CDPH" userId="S::alan.hendrickson@cdph.ca.gov::446e67e5-2a66-48d2-8b60-f8d28abfe42d" providerId="AD" clId="Web-{3DFC5C78-5AF4-BBDD-E90A-BCC9E4E5C775}" dt="2021-09-16T20:29:49.755" v="293" actId="1076"/>
        <pc:sldMkLst>
          <pc:docMk/>
          <pc:sldMk cId="2174635582" sldId="303"/>
        </pc:sldMkLst>
        <pc:spChg chg="mod">
          <ac:chgData name="Hendrickson, Alan@CDPH" userId="S::alan.hendrickson@cdph.ca.gov::446e67e5-2a66-48d2-8b60-f8d28abfe42d" providerId="AD" clId="Web-{3DFC5C78-5AF4-BBDD-E90A-BCC9E4E5C775}" dt="2021-09-16T20:24:24.041" v="277" actId="20577"/>
          <ac:spMkLst>
            <pc:docMk/>
            <pc:sldMk cId="2174635582" sldId="303"/>
            <ac:spMk id="2" creationId="{5A9C5EF4-84BB-41EF-98C8-47826B7D0580}"/>
          </ac:spMkLst>
        </pc:spChg>
        <pc:spChg chg="mod">
          <ac:chgData name="Hendrickson, Alan@CDPH" userId="S::alan.hendrickson@cdph.ca.gov::446e67e5-2a66-48d2-8b60-f8d28abfe42d" providerId="AD" clId="Web-{3DFC5C78-5AF4-BBDD-E90A-BCC9E4E5C775}" dt="2021-09-16T20:24:28.198" v="279" actId="20577"/>
          <ac:spMkLst>
            <pc:docMk/>
            <pc:sldMk cId="2174635582" sldId="303"/>
            <ac:spMk id="3" creationId="{57FDFB6D-947C-40E6-BD39-C76E99A203D1}"/>
          </ac:spMkLst>
        </pc:spChg>
        <pc:picChg chg="add mod">
          <ac:chgData name="Hendrickson, Alan@CDPH" userId="S::alan.hendrickson@cdph.ca.gov::446e67e5-2a66-48d2-8b60-f8d28abfe42d" providerId="AD" clId="Web-{3DFC5C78-5AF4-BBDD-E90A-BCC9E4E5C775}" dt="2021-09-16T20:28:36.406" v="281" actId="1076"/>
          <ac:picMkLst>
            <pc:docMk/>
            <pc:sldMk cId="2174635582" sldId="303"/>
            <ac:picMk id="5" creationId="{3A85B925-1485-499A-A909-E7CCAD3CC0E2}"/>
          </ac:picMkLst>
        </pc:picChg>
        <pc:picChg chg="add mod">
          <ac:chgData name="Hendrickson, Alan@CDPH" userId="S::alan.hendrickson@cdph.ca.gov::446e67e5-2a66-48d2-8b60-f8d28abfe42d" providerId="AD" clId="Web-{3DFC5C78-5AF4-BBDD-E90A-BCC9E4E5C775}" dt="2021-09-16T20:29:45.880" v="292" actId="1076"/>
          <ac:picMkLst>
            <pc:docMk/>
            <pc:sldMk cId="2174635582" sldId="303"/>
            <ac:picMk id="6" creationId="{30DBE8A3-8338-4BA5-AA89-55AB73632D94}"/>
          </ac:picMkLst>
        </pc:picChg>
        <pc:picChg chg="add mod">
          <ac:chgData name="Hendrickson, Alan@CDPH" userId="S::alan.hendrickson@cdph.ca.gov::446e67e5-2a66-48d2-8b60-f8d28abfe42d" providerId="AD" clId="Web-{3DFC5C78-5AF4-BBDD-E90A-BCC9E4E5C775}" dt="2021-09-16T20:29:49.755" v="293" actId="1076"/>
          <ac:picMkLst>
            <pc:docMk/>
            <pc:sldMk cId="2174635582" sldId="303"/>
            <ac:picMk id="7" creationId="{71F5D9AF-3733-4107-A777-E9DAD7AFED48}"/>
          </ac:picMkLst>
        </pc:picChg>
        <pc:picChg chg="add mod">
          <ac:chgData name="Hendrickson, Alan@CDPH" userId="S::alan.hendrickson@cdph.ca.gov::446e67e5-2a66-48d2-8b60-f8d28abfe42d" providerId="AD" clId="Web-{3DFC5C78-5AF4-BBDD-E90A-BCC9E4E5C775}" dt="2021-09-16T20:29:34.270" v="290" actId="1076"/>
          <ac:picMkLst>
            <pc:docMk/>
            <pc:sldMk cId="2174635582" sldId="303"/>
            <ac:picMk id="8" creationId="{0D86BC53-75A5-4061-A870-0FF643EBB155}"/>
          </ac:picMkLst>
        </pc:picChg>
      </pc:sldChg>
    </pc:docChg>
  </pc:docChgLst>
  <pc:docChgLst>
    <pc:chgData name="Park, Tehwan@CDPH" userId="S::tehwan.park@cdph.ca.gov::6df11d70-db79-4450-95a2-f758693457c0" providerId="AD" clId="Web-{D4E19378-A038-1510-C99D-ACE1C18CD1F8}"/>
    <pc:docChg chg="addSld delSld modSld">
      <pc:chgData name="Park, Tehwan@CDPH" userId="S::tehwan.park@cdph.ca.gov::6df11d70-db79-4450-95a2-f758693457c0" providerId="AD" clId="Web-{D4E19378-A038-1510-C99D-ACE1C18CD1F8}" dt="2021-09-17T15:30:52.496" v="4"/>
      <pc:docMkLst>
        <pc:docMk/>
      </pc:docMkLst>
      <pc:sldChg chg="del">
        <pc:chgData name="Park, Tehwan@CDPH" userId="S::tehwan.park@cdph.ca.gov::6df11d70-db79-4450-95a2-f758693457c0" providerId="AD" clId="Web-{D4E19378-A038-1510-C99D-ACE1C18CD1F8}" dt="2021-09-17T15:30:52.496" v="4"/>
        <pc:sldMkLst>
          <pc:docMk/>
          <pc:sldMk cId="341106102" sldId="259"/>
        </pc:sldMkLst>
      </pc:sldChg>
      <pc:sldChg chg="modSp">
        <pc:chgData name="Park, Tehwan@CDPH" userId="S::tehwan.park@cdph.ca.gov::6df11d70-db79-4450-95a2-f758693457c0" providerId="AD" clId="Web-{D4E19378-A038-1510-C99D-ACE1C18CD1F8}" dt="2021-09-17T15:26:33.990" v="2" actId="1076"/>
        <pc:sldMkLst>
          <pc:docMk/>
          <pc:sldMk cId="1846767743" sldId="282"/>
        </pc:sldMkLst>
        <pc:spChg chg="mod">
          <ac:chgData name="Park, Tehwan@CDPH" userId="S::tehwan.park@cdph.ca.gov::6df11d70-db79-4450-95a2-f758693457c0" providerId="AD" clId="Web-{D4E19378-A038-1510-C99D-ACE1C18CD1F8}" dt="2021-09-17T15:26:33.990" v="2" actId="1076"/>
          <ac:spMkLst>
            <pc:docMk/>
            <pc:sldMk cId="1846767743" sldId="282"/>
            <ac:spMk id="2" creationId="{833F926F-7795-47FF-928B-6DE0BC9A253C}"/>
          </ac:spMkLst>
        </pc:spChg>
      </pc:sldChg>
      <pc:sldChg chg="add">
        <pc:chgData name="Park, Tehwan@CDPH" userId="S::tehwan.park@cdph.ca.gov::6df11d70-db79-4450-95a2-f758693457c0" providerId="AD" clId="Web-{D4E19378-A038-1510-C99D-ACE1C18CD1F8}" dt="2021-09-17T15:30:43.152" v="3"/>
        <pc:sldMkLst>
          <pc:docMk/>
          <pc:sldMk cId="445754156" sldId="2147470241"/>
        </pc:sldMkLst>
      </pc:sldChg>
      <pc:sldMasterChg chg="addSldLayout">
        <pc:chgData name="Park, Tehwan@CDPH" userId="S::tehwan.park@cdph.ca.gov::6df11d70-db79-4450-95a2-f758693457c0" providerId="AD" clId="Web-{D4E19378-A038-1510-C99D-ACE1C18CD1F8}" dt="2021-09-17T15:30:43.152" v="3"/>
        <pc:sldMasterMkLst>
          <pc:docMk/>
          <pc:sldMasterMk cId="288465238" sldId="2147483674"/>
        </pc:sldMasterMkLst>
        <pc:sldLayoutChg chg="add">
          <pc:chgData name="Park, Tehwan@CDPH" userId="S::tehwan.park@cdph.ca.gov::6df11d70-db79-4450-95a2-f758693457c0" providerId="AD" clId="Web-{D4E19378-A038-1510-C99D-ACE1C18CD1F8}" dt="2021-09-17T15:30:43.152" v="3"/>
          <pc:sldLayoutMkLst>
            <pc:docMk/>
            <pc:sldMasterMk cId="288465238" sldId="2147483674"/>
            <pc:sldLayoutMk cId="180708383" sldId="2147483983"/>
          </pc:sldLayoutMkLst>
        </pc:sldLayoutChg>
        <pc:sldLayoutChg chg="add">
          <pc:chgData name="Park, Tehwan@CDPH" userId="S::tehwan.park@cdph.ca.gov::6df11d70-db79-4450-95a2-f758693457c0" providerId="AD" clId="Web-{D4E19378-A038-1510-C99D-ACE1C18CD1F8}" dt="2021-09-17T15:30:43.152" v="3"/>
          <pc:sldLayoutMkLst>
            <pc:docMk/>
            <pc:sldMasterMk cId="288465238" sldId="2147483674"/>
            <pc:sldLayoutMk cId="1345402654" sldId="2147484004"/>
          </pc:sldLayoutMkLst>
        </pc:sldLayoutChg>
        <pc:sldLayoutChg chg="add">
          <pc:chgData name="Park, Tehwan@CDPH" userId="S::tehwan.park@cdph.ca.gov::6df11d70-db79-4450-95a2-f758693457c0" providerId="AD" clId="Web-{D4E19378-A038-1510-C99D-ACE1C18CD1F8}" dt="2021-09-17T15:30:43.152" v="3"/>
          <pc:sldLayoutMkLst>
            <pc:docMk/>
            <pc:sldMasterMk cId="288465238" sldId="2147483674"/>
            <pc:sldLayoutMk cId="4098368699" sldId="2147485948"/>
          </pc:sldLayoutMkLst>
        </pc:sldLayoutChg>
        <pc:sldLayoutChg chg="add">
          <pc:chgData name="Park, Tehwan@CDPH" userId="S::tehwan.park@cdph.ca.gov::6df11d70-db79-4450-95a2-f758693457c0" providerId="AD" clId="Web-{D4E19378-A038-1510-C99D-ACE1C18CD1F8}" dt="2021-09-17T15:30:43.152" v="3"/>
          <pc:sldLayoutMkLst>
            <pc:docMk/>
            <pc:sldMasterMk cId="288465238" sldId="2147483674"/>
            <pc:sldLayoutMk cId="1102663259" sldId="2147485949"/>
          </pc:sldLayoutMkLst>
        </pc:sldLayoutChg>
      </pc:sldMasterChg>
    </pc:docChg>
  </pc:docChgLst>
  <pc:docChgLst>
    <pc:chgData name="Amani, Leslie@CDPH" userId="S::leslie.amani@cdph.ca.gov::c0370b36-7f1f-4284-bc9b-092cfc685f39" providerId="AD" clId="Web-{5E484936-A912-8005-A615-2B223EFFB1E1}"/>
    <pc:docChg chg="addSld delSld modSld sldOrd">
      <pc:chgData name="Amani, Leslie@CDPH" userId="S::leslie.amani@cdph.ca.gov::c0370b36-7f1f-4284-bc9b-092cfc685f39" providerId="AD" clId="Web-{5E484936-A912-8005-A615-2B223EFFB1E1}" dt="2021-09-17T04:39:23.739" v="475"/>
      <pc:docMkLst>
        <pc:docMk/>
      </pc:docMkLst>
      <pc:sldChg chg="modSp ord">
        <pc:chgData name="Amani, Leslie@CDPH" userId="S::leslie.amani@cdph.ca.gov::c0370b36-7f1f-4284-bc9b-092cfc685f39" providerId="AD" clId="Web-{5E484936-A912-8005-A615-2B223EFFB1E1}" dt="2021-09-17T04:36:29.750" v="467"/>
        <pc:sldMkLst>
          <pc:docMk/>
          <pc:sldMk cId="2841381135" sldId="283"/>
        </pc:sldMkLst>
        <pc:spChg chg="mod">
          <ac:chgData name="Amani, Leslie@CDPH" userId="S::leslie.amani@cdph.ca.gov::c0370b36-7f1f-4284-bc9b-092cfc685f39" providerId="AD" clId="Web-{5E484936-A912-8005-A615-2B223EFFB1E1}" dt="2021-09-17T03:42:35.471" v="303" actId="1076"/>
          <ac:spMkLst>
            <pc:docMk/>
            <pc:sldMk cId="2841381135" sldId="283"/>
            <ac:spMk id="2" creationId="{285047DB-94FB-4932-9382-836711A965F4}"/>
          </ac:spMkLst>
        </pc:spChg>
        <pc:spChg chg="mod">
          <ac:chgData name="Amani, Leslie@CDPH" userId="S::leslie.amani@cdph.ca.gov::c0370b36-7f1f-4284-bc9b-092cfc685f39" providerId="AD" clId="Web-{5E484936-A912-8005-A615-2B223EFFB1E1}" dt="2021-09-17T03:44:41.552" v="338" actId="20577"/>
          <ac:spMkLst>
            <pc:docMk/>
            <pc:sldMk cId="2841381135" sldId="283"/>
            <ac:spMk id="3" creationId="{7F829242-B7DD-41C2-A2ED-097BD684718E}"/>
          </ac:spMkLst>
        </pc:spChg>
      </pc:sldChg>
      <pc:sldChg chg="addSp delSp modSp">
        <pc:chgData name="Amani, Leslie@CDPH" userId="S::leslie.amani@cdph.ca.gov::c0370b36-7f1f-4284-bc9b-092cfc685f39" providerId="AD" clId="Web-{5E484936-A912-8005-A615-2B223EFFB1E1}" dt="2021-09-17T04:25:01.272" v="402" actId="1076"/>
        <pc:sldMkLst>
          <pc:docMk/>
          <pc:sldMk cId="1106844182" sldId="286"/>
        </pc:sldMkLst>
        <pc:picChg chg="add mod">
          <ac:chgData name="Amani, Leslie@CDPH" userId="S::leslie.amani@cdph.ca.gov::c0370b36-7f1f-4284-bc9b-092cfc685f39" providerId="AD" clId="Web-{5E484936-A912-8005-A615-2B223EFFB1E1}" dt="2021-09-17T04:25:01.272" v="402" actId="1076"/>
          <ac:picMkLst>
            <pc:docMk/>
            <pc:sldMk cId="1106844182" sldId="286"/>
            <ac:picMk id="3" creationId="{C110A03D-267E-4127-8F3D-2CCEFED93B6D}"/>
          </ac:picMkLst>
        </pc:picChg>
        <pc:picChg chg="del">
          <ac:chgData name="Amani, Leslie@CDPH" userId="S::leslie.amani@cdph.ca.gov::c0370b36-7f1f-4284-bc9b-092cfc685f39" providerId="AD" clId="Web-{5E484936-A912-8005-A615-2B223EFFB1E1}" dt="2021-09-17T04:24:02.162" v="396"/>
          <ac:picMkLst>
            <pc:docMk/>
            <pc:sldMk cId="1106844182" sldId="286"/>
            <ac:picMk id="10" creationId="{4796C736-3E49-4101-806D-7C2A5C1EB8FD}"/>
          </ac:picMkLst>
        </pc:picChg>
      </pc:sldChg>
      <pc:sldChg chg="modSp">
        <pc:chgData name="Amani, Leslie@CDPH" userId="S::leslie.amani@cdph.ca.gov::c0370b36-7f1f-4284-bc9b-092cfc685f39" providerId="AD" clId="Web-{5E484936-A912-8005-A615-2B223EFFB1E1}" dt="2021-09-17T04:38:39.160" v="473" actId="1076"/>
        <pc:sldMkLst>
          <pc:docMk/>
          <pc:sldMk cId="316170425" sldId="292"/>
        </pc:sldMkLst>
        <pc:spChg chg="mod">
          <ac:chgData name="Amani, Leslie@CDPH" userId="S::leslie.amani@cdph.ca.gov::c0370b36-7f1f-4284-bc9b-092cfc685f39" providerId="AD" clId="Web-{5E484936-A912-8005-A615-2B223EFFB1E1}" dt="2021-09-17T04:38:39.160" v="473" actId="1076"/>
          <ac:spMkLst>
            <pc:docMk/>
            <pc:sldMk cId="316170425" sldId="292"/>
            <ac:spMk id="3" creationId="{14D81240-A7DE-6249-9F62-F943BF9CCBD3}"/>
          </ac:spMkLst>
        </pc:spChg>
      </pc:sldChg>
      <pc:sldChg chg="addSp modSp ord">
        <pc:chgData name="Amani, Leslie@CDPH" userId="S::leslie.amani@cdph.ca.gov::c0370b36-7f1f-4284-bc9b-092cfc685f39" providerId="AD" clId="Web-{5E484936-A912-8005-A615-2B223EFFB1E1}" dt="2021-09-17T04:37:13.409" v="470" actId="1076"/>
        <pc:sldMkLst>
          <pc:docMk/>
          <pc:sldMk cId="804668004" sldId="293"/>
        </pc:sldMkLst>
        <pc:spChg chg="mod">
          <ac:chgData name="Amani, Leslie@CDPH" userId="S::leslie.amani@cdph.ca.gov::c0370b36-7f1f-4284-bc9b-092cfc685f39" providerId="AD" clId="Web-{5E484936-A912-8005-A615-2B223EFFB1E1}" dt="2021-09-17T04:37:13.409" v="470" actId="1076"/>
          <ac:spMkLst>
            <pc:docMk/>
            <pc:sldMk cId="804668004" sldId="293"/>
            <ac:spMk id="3" creationId="{2A68B2A1-8F93-481A-AEB8-65A35F8FF00A}"/>
          </ac:spMkLst>
        </pc:spChg>
        <pc:spChg chg="mod">
          <ac:chgData name="Amani, Leslie@CDPH" userId="S::leslie.amani@cdph.ca.gov::c0370b36-7f1f-4284-bc9b-092cfc685f39" providerId="AD" clId="Web-{5E484936-A912-8005-A615-2B223EFFB1E1}" dt="2021-09-17T04:32:28.810" v="446" actId="1076"/>
          <ac:spMkLst>
            <pc:docMk/>
            <pc:sldMk cId="804668004" sldId="293"/>
            <ac:spMk id="6" creationId="{91B6EDC9-C81F-48AA-864B-FAFD4577AD59}"/>
          </ac:spMkLst>
        </pc:spChg>
        <pc:spChg chg="add mod">
          <ac:chgData name="Amani, Leslie@CDPH" userId="S::leslie.amani@cdph.ca.gov::c0370b36-7f1f-4284-bc9b-092cfc685f39" providerId="AD" clId="Web-{5E484936-A912-8005-A615-2B223EFFB1E1}" dt="2021-09-17T04:32:22.841" v="445" actId="1076"/>
          <ac:spMkLst>
            <pc:docMk/>
            <pc:sldMk cId="804668004" sldId="293"/>
            <ac:spMk id="7" creationId="{15A43539-32F4-49E0-AC45-E6FBEDAAF111}"/>
          </ac:spMkLst>
        </pc:spChg>
      </pc:sldChg>
      <pc:sldChg chg="modSp">
        <pc:chgData name="Amani, Leslie@CDPH" userId="S::leslie.amani@cdph.ca.gov::c0370b36-7f1f-4284-bc9b-092cfc685f39" providerId="AD" clId="Web-{5E484936-A912-8005-A615-2B223EFFB1E1}" dt="2021-09-17T04:22:07.452" v="395" actId="20577"/>
        <pc:sldMkLst>
          <pc:docMk/>
          <pc:sldMk cId="2823914584" sldId="294"/>
        </pc:sldMkLst>
        <pc:spChg chg="mod">
          <ac:chgData name="Amani, Leslie@CDPH" userId="S::leslie.amani@cdph.ca.gov::c0370b36-7f1f-4284-bc9b-092cfc685f39" providerId="AD" clId="Web-{5E484936-A912-8005-A615-2B223EFFB1E1}" dt="2021-09-17T04:22:07.452" v="395" actId="20577"/>
          <ac:spMkLst>
            <pc:docMk/>
            <pc:sldMk cId="2823914584" sldId="294"/>
            <ac:spMk id="2" creationId="{83D20857-4429-40A5-9EF3-86D3042CBBE1}"/>
          </ac:spMkLst>
        </pc:spChg>
      </pc:sldChg>
      <pc:sldChg chg="del ord">
        <pc:chgData name="Amani, Leslie@CDPH" userId="S::leslie.amani@cdph.ca.gov::c0370b36-7f1f-4284-bc9b-092cfc685f39" providerId="AD" clId="Web-{5E484936-A912-8005-A615-2B223EFFB1E1}" dt="2021-09-17T04:17:56.119" v="390"/>
        <pc:sldMkLst>
          <pc:docMk/>
          <pc:sldMk cId="3149399661" sldId="295"/>
        </pc:sldMkLst>
      </pc:sldChg>
      <pc:sldChg chg="modSp">
        <pc:chgData name="Amani, Leslie@CDPH" userId="S::leslie.amani@cdph.ca.gov::c0370b36-7f1f-4284-bc9b-092cfc685f39" providerId="AD" clId="Web-{5E484936-A912-8005-A615-2B223EFFB1E1}" dt="2021-09-17T03:36:00.333" v="273" actId="20577"/>
        <pc:sldMkLst>
          <pc:docMk/>
          <pc:sldMk cId="3339807596" sldId="297"/>
        </pc:sldMkLst>
        <pc:spChg chg="mod">
          <ac:chgData name="Amani, Leslie@CDPH" userId="S::leslie.amani@cdph.ca.gov::c0370b36-7f1f-4284-bc9b-092cfc685f39" providerId="AD" clId="Web-{5E484936-A912-8005-A615-2B223EFFB1E1}" dt="2021-09-17T03:36:00.333" v="273" actId="20577"/>
          <ac:spMkLst>
            <pc:docMk/>
            <pc:sldMk cId="3339807596" sldId="297"/>
            <ac:spMk id="2" creationId="{436E831C-7A20-49D1-A2E0-3617610BE632}"/>
          </ac:spMkLst>
        </pc:spChg>
      </pc:sldChg>
      <pc:sldChg chg="modSp">
        <pc:chgData name="Amani, Leslie@CDPH" userId="S::leslie.amani@cdph.ca.gov::c0370b36-7f1f-4284-bc9b-092cfc685f39" providerId="AD" clId="Web-{5E484936-A912-8005-A615-2B223EFFB1E1}" dt="2021-09-17T03:35:33.582" v="267" actId="20577"/>
        <pc:sldMkLst>
          <pc:docMk/>
          <pc:sldMk cId="3885579558" sldId="298"/>
        </pc:sldMkLst>
        <pc:spChg chg="mod">
          <ac:chgData name="Amani, Leslie@CDPH" userId="S::leslie.amani@cdph.ca.gov::c0370b36-7f1f-4284-bc9b-092cfc685f39" providerId="AD" clId="Web-{5E484936-A912-8005-A615-2B223EFFB1E1}" dt="2021-09-17T03:35:33.582" v="267" actId="20577"/>
          <ac:spMkLst>
            <pc:docMk/>
            <pc:sldMk cId="3885579558" sldId="298"/>
            <ac:spMk id="3" creationId="{57FDFB6D-947C-40E6-BD39-C76E99A203D1}"/>
          </ac:spMkLst>
        </pc:spChg>
      </pc:sldChg>
      <pc:sldChg chg="modSp">
        <pc:chgData name="Amani, Leslie@CDPH" userId="S::leslie.amani@cdph.ca.gov::c0370b36-7f1f-4284-bc9b-092cfc685f39" providerId="AD" clId="Web-{5E484936-A912-8005-A615-2B223EFFB1E1}" dt="2021-09-17T03:35:42.817" v="271" actId="20577"/>
        <pc:sldMkLst>
          <pc:docMk/>
          <pc:sldMk cId="2581703519" sldId="299"/>
        </pc:sldMkLst>
        <pc:spChg chg="mod">
          <ac:chgData name="Amani, Leslie@CDPH" userId="S::leslie.amani@cdph.ca.gov::c0370b36-7f1f-4284-bc9b-092cfc685f39" providerId="AD" clId="Web-{5E484936-A912-8005-A615-2B223EFFB1E1}" dt="2021-09-17T03:35:42.817" v="271" actId="20577"/>
          <ac:spMkLst>
            <pc:docMk/>
            <pc:sldMk cId="2581703519" sldId="299"/>
            <ac:spMk id="3" creationId="{57FDFB6D-947C-40E6-BD39-C76E99A203D1}"/>
          </ac:spMkLst>
        </pc:spChg>
      </pc:sldChg>
      <pc:sldChg chg="modSp">
        <pc:chgData name="Amani, Leslie@CDPH" userId="S::leslie.amani@cdph.ca.gov::c0370b36-7f1f-4284-bc9b-092cfc685f39" providerId="AD" clId="Web-{5E484936-A912-8005-A615-2B223EFFB1E1}" dt="2021-09-17T03:34:37.394" v="255" actId="20577"/>
        <pc:sldMkLst>
          <pc:docMk/>
          <pc:sldMk cId="3155410403" sldId="300"/>
        </pc:sldMkLst>
        <pc:spChg chg="mod">
          <ac:chgData name="Amani, Leslie@CDPH" userId="S::leslie.amani@cdph.ca.gov::c0370b36-7f1f-4284-bc9b-092cfc685f39" providerId="AD" clId="Web-{5E484936-A912-8005-A615-2B223EFFB1E1}" dt="2021-09-17T03:34:37.394" v="255" actId="20577"/>
          <ac:spMkLst>
            <pc:docMk/>
            <pc:sldMk cId="3155410403" sldId="300"/>
            <ac:spMk id="3" creationId="{04000A57-32ED-4BEF-B76E-DCA033F1566C}"/>
          </ac:spMkLst>
        </pc:spChg>
      </pc:sldChg>
      <pc:sldChg chg="modSp">
        <pc:chgData name="Amani, Leslie@CDPH" userId="S::leslie.amani@cdph.ca.gov::c0370b36-7f1f-4284-bc9b-092cfc685f39" providerId="AD" clId="Web-{5E484936-A912-8005-A615-2B223EFFB1E1}" dt="2021-09-17T03:33:18.220" v="242" actId="20577"/>
        <pc:sldMkLst>
          <pc:docMk/>
          <pc:sldMk cId="415318381" sldId="301"/>
        </pc:sldMkLst>
        <pc:spChg chg="mod">
          <ac:chgData name="Amani, Leslie@CDPH" userId="S::leslie.amani@cdph.ca.gov::c0370b36-7f1f-4284-bc9b-092cfc685f39" providerId="AD" clId="Web-{5E484936-A912-8005-A615-2B223EFFB1E1}" dt="2021-09-17T03:33:18.220" v="242" actId="20577"/>
          <ac:spMkLst>
            <pc:docMk/>
            <pc:sldMk cId="415318381" sldId="301"/>
            <ac:spMk id="3" creationId="{04000A57-32ED-4BEF-B76E-DCA033F1566C}"/>
          </ac:spMkLst>
        </pc:spChg>
      </pc:sldChg>
      <pc:sldChg chg="modSp">
        <pc:chgData name="Amani, Leslie@CDPH" userId="S::leslie.amani@cdph.ca.gov::c0370b36-7f1f-4284-bc9b-092cfc685f39" providerId="AD" clId="Web-{5E484936-A912-8005-A615-2B223EFFB1E1}" dt="2021-09-17T03:37:52.726" v="279" actId="20577"/>
        <pc:sldMkLst>
          <pc:docMk/>
          <pc:sldMk cId="54525121" sldId="304"/>
        </pc:sldMkLst>
        <pc:spChg chg="mod">
          <ac:chgData name="Amani, Leslie@CDPH" userId="S::leslie.amani@cdph.ca.gov::c0370b36-7f1f-4284-bc9b-092cfc685f39" providerId="AD" clId="Web-{5E484936-A912-8005-A615-2B223EFFB1E1}" dt="2021-09-17T03:37:52.726" v="279" actId="20577"/>
          <ac:spMkLst>
            <pc:docMk/>
            <pc:sldMk cId="54525121" sldId="304"/>
            <ac:spMk id="6" creationId="{4F8539F2-3AFE-40CB-BC81-6D7E3A6983B7}"/>
          </ac:spMkLst>
        </pc:spChg>
      </pc:sldChg>
      <pc:sldChg chg="modSp">
        <pc:chgData name="Amani, Leslie@CDPH" userId="S::leslie.amani@cdph.ca.gov::c0370b36-7f1f-4284-bc9b-092cfc685f39" providerId="AD" clId="Web-{5E484936-A912-8005-A615-2B223EFFB1E1}" dt="2021-09-17T03:38:13.117" v="280" actId="1076"/>
        <pc:sldMkLst>
          <pc:docMk/>
          <pc:sldMk cId="1831303597" sldId="305"/>
        </pc:sldMkLst>
        <pc:spChg chg="mod">
          <ac:chgData name="Amani, Leslie@CDPH" userId="S::leslie.amani@cdph.ca.gov::c0370b36-7f1f-4284-bc9b-092cfc685f39" providerId="AD" clId="Web-{5E484936-A912-8005-A615-2B223EFFB1E1}" dt="2021-09-17T03:38:13.117" v="280" actId="1076"/>
          <ac:spMkLst>
            <pc:docMk/>
            <pc:sldMk cId="1831303597" sldId="305"/>
            <ac:spMk id="6" creationId="{78F4CB63-2C63-452B-8571-1C65060C6FA0}"/>
          </ac:spMkLst>
        </pc:spChg>
      </pc:sldChg>
      <pc:sldChg chg="modSp">
        <pc:chgData name="Amani, Leslie@CDPH" userId="S::leslie.amani@cdph.ca.gov::c0370b36-7f1f-4284-bc9b-092cfc685f39" providerId="AD" clId="Web-{5E484936-A912-8005-A615-2B223EFFB1E1}" dt="2021-09-17T03:38:47.352" v="290" actId="20577"/>
        <pc:sldMkLst>
          <pc:docMk/>
          <pc:sldMk cId="3564522829" sldId="306"/>
        </pc:sldMkLst>
        <pc:spChg chg="mod">
          <ac:chgData name="Amani, Leslie@CDPH" userId="S::leslie.amani@cdph.ca.gov::c0370b36-7f1f-4284-bc9b-092cfc685f39" providerId="AD" clId="Web-{5E484936-A912-8005-A615-2B223EFFB1E1}" dt="2021-09-17T03:38:47.352" v="290" actId="20577"/>
          <ac:spMkLst>
            <pc:docMk/>
            <pc:sldMk cId="3564522829" sldId="306"/>
            <ac:spMk id="11" creationId="{504112F8-65D0-4B43-84FB-445AFA5A5C28}"/>
          </ac:spMkLst>
        </pc:spChg>
      </pc:sldChg>
      <pc:sldChg chg="modSp">
        <pc:chgData name="Amani, Leslie@CDPH" userId="S::leslie.amani@cdph.ca.gov::c0370b36-7f1f-4284-bc9b-092cfc685f39" providerId="AD" clId="Web-{5E484936-A912-8005-A615-2B223EFFB1E1}" dt="2021-09-17T03:39:07.399" v="292" actId="20577"/>
        <pc:sldMkLst>
          <pc:docMk/>
          <pc:sldMk cId="4140930092" sldId="307"/>
        </pc:sldMkLst>
        <pc:spChg chg="mod">
          <ac:chgData name="Amani, Leslie@CDPH" userId="S::leslie.amani@cdph.ca.gov::c0370b36-7f1f-4284-bc9b-092cfc685f39" providerId="AD" clId="Web-{5E484936-A912-8005-A615-2B223EFFB1E1}" dt="2021-09-17T03:39:07.399" v="292" actId="20577"/>
          <ac:spMkLst>
            <pc:docMk/>
            <pc:sldMk cId="4140930092" sldId="307"/>
            <ac:spMk id="3" creationId="{2605F0A0-4330-4571-AF9D-3A4E1A2E129D}"/>
          </ac:spMkLst>
        </pc:spChg>
      </pc:sldChg>
      <pc:sldChg chg="modSp">
        <pc:chgData name="Amani, Leslie@CDPH" userId="S::leslie.amani@cdph.ca.gov::c0370b36-7f1f-4284-bc9b-092cfc685f39" providerId="AD" clId="Web-{5E484936-A912-8005-A615-2B223EFFB1E1}" dt="2021-09-17T03:39:23.603" v="293" actId="20577"/>
        <pc:sldMkLst>
          <pc:docMk/>
          <pc:sldMk cId="1569367784" sldId="308"/>
        </pc:sldMkLst>
        <pc:spChg chg="mod">
          <ac:chgData name="Amani, Leslie@CDPH" userId="S::leslie.amani@cdph.ca.gov::c0370b36-7f1f-4284-bc9b-092cfc685f39" providerId="AD" clId="Web-{5E484936-A912-8005-A615-2B223EFFB1E1}" dt="2021-09-17T03:39:23.603" v="293" actId="20577"/>
          <ac:spMkLst>
            <pc:docMk/>
            <pc:sldMk cId="1569367784" sldId="308"/>
            <ac:spMk id="8" creationId="{176894D1-83DA-4827-BF42-2574D082E6B6}"/>
          </ac:spMkLst>
        </pc:spChg>
      </pc:sldChg>
      <pc:sldChg chg="addSp delSp modSp del">
        <pc:chgData name="Amani, Leslie@CDPH" userId="S::leslie.amani@cdph.ca.gov::c0370b36-7f1f-4284-bc9b-092cfc685f39" providerId="AD" clId="Web-{5E484936-A912-8005-A615-2B223EFFB1E1}" dt="2021-09-17T03:32:29.688" v="239"/>
        <pc:sldMkLst>
          <pc:docMk/>
          <pc:sldMk cId="2567669684" sldId="2147470238"/>
        </pc:sldMkLst>
        <pc:spChg chg="mod">
          <ac:chgData name="Amani, Leslie@CDPH" userId="S::leslie.amani@cdph.ca.gov::c0370b36-7f1f-4284-bc9b-092cfc685f39" providerId="AD" clId="Web-{5E484936-A912-8005-A615-2B223EFFB1E1}" dt="2021-09-17T03:10:38.863" v="28" actId="1076"/>
          <ac:spMkLst>
            <pc:docMk/>
            <pc:sldMk cId="2567669684" sldId="2147470238"/>
            <ac:spMk id="2" creationId="{15D37569-96F3-4BAE-A696-136060449FB2}"/>
          </ac:spMkLst>
        </pc:spChg>
        <pc:spChg chg="mod">
          <ac:chgData name="Amani, Leslie@CDPH" userId="S::leslie.amani@cdph.ca.gov::c0370b36-7f1f-4284-bc9b-092cfc685f39" providerId="AD" clId="Web-{5E484936-A912-8005-A615-2B223EFFB1E1}" dt="2021-09-17T03:10:45.441" v="29" actId="1076"/>
          <ac:spMkLst>
            <pc:docMk/>
            <pc:sldMk cId="2567669684" sldId="2147470238"/>
            <ac:spMk id="3" creationId="{C40179F1-E2A9-4C39-AE56-0B8F37BD3C0D}"/>
          </ac:spMkLst>
        </pc:spChg>
        <pc:picChg chg="add del mod">
          <ac:chgData name="Amani, Leslie@CDPH" userId="S::leslie.amani@cdph.ca.gov::c0370b36-7f1f-4284-bc9b-092cfc685f39" providerId="AD" clId="Web-{5E484936-A912-8005-A615-2B223EFFB1E1}" dt="2021-09-17T03:13:23.290" v="48"/>
          <ac:picMkLst>
            <pc:docMk/>
            <pc:sldMk cId="2567669684" sldId="2147470238"/>
            <ac:picMk id="5" creationId="{5EA83AD6-4126-48EC-AB0E-493142BEAB16}"/>
          </ac:picMkLst>
        </pc:picChg>
      </pc:sldChg>
      <pc:sldChg chg="addSp delSp modSp new">
        <pc:chgData name="Amani, Leslie@CDPH" userId="S::leslie.amani@cdph.ca.gov::c0370b36-7f1f-4284-bc9b-092cfc685f39" providerId="AD" clId="Web-{5E484936-A912-8005-A615-2B223EFFB1E1}" dt="2021-09-17T04:18:06.588" v="391" actId="20577"/>
        <pc:sldMkLst>
          <pc:docMk/>
          <pc:sldMk cId="2788707397" sldId="2147470239"/>
        </pc:sldMkLst>
        <pc:spChg chg="mod">
          <ac:chgData name="Amani, Leslie@CDPH" userId="S::leslie.amani@cdph.ca.gov::c0370b36-7f1f-4284-bc9b-092cfc685f39" providerId="AD" clId="Web-{5E484936-A912-8005-A615-2B223EFFB1E1}" dt="2021-09-17T03:30:04.404" v="216" actId="1076"/>
          <ac:spMkLst>
            <pc:docMk/>
            <pc:sldMk cId="2788707397" sldId="2147470239"/>
            <ac:spMk id="2" creationId="{2E29CB2A-3C06-4545-B21B-B0C7FC8981A7}"/>
          </ac:spMkLst>
        </pc:spChg>
        <pc:spChg chg="del">
          <ac:chgData name="Amani, Leslie@CDPH" userId="S::leslie.amani@cdph.ca.gov::c0370b36-7f1f-4284-bc9b-092cfc685f39" providerId="AD" clId="Web-{5E484936-A912-8005-A615-2B223EFFB1E1}" dt="2021-09-17T03:12:01.882" v="35"/>
          <ac:spMkLst>
            <pc:docMk/>
            <pc:sldMk cId="2788707397" sldId="2147470239"/>
            <ac:spMk id="3" creationId="{F9714431-CA41-4CC1-AD0C-DFFB1C38E2C0}"/>
          </ac:spMkLst>
        </pc:spChg>
        <pc:spChg chg="del mod">
          <ac:chgData name="Amani, Leslie@CDPH" userId="S::leslie.amani@cdph.ca.gov::c0370b36-7f1f-4284-bc9b-092cfc685f39" providerId="AD" clId="Web-{5E484936-A912-8005-A615-2B223EFFB1E1}" dt="2021-09-17T03:20:06.955" v="112"/>
          <ac:spMkLst>
            <pc:docMk/>
            <pc:sldMk cId="2788707397" sldId="2147470239"/>
            <ac:spMk id="4" creationId="{6BFCD924-5F46-4D05-B663-3BFB4715631B}"/>
          </ac:spMkLst>
        </pc:spChg>
        <pc:spChg chg="add mod">
          <ac:chgData name="Amani, Leslie@CDPH" userId="S::leslie.amani@cdph.ca.gov::c0370b36-7f1f-4284-bc9b-092cfc685f39" providerId="AD" clId="Web-{5E484936-A912-8005-A615-2B223EFFB1E1}" dt="2021-09-17T04:15:12.752" v="379" actId="1076"/>
          <ac:spMkLst>
            <pc:docMk/>
            <pc:sldMk cId="2788707397" sldId="2147470239"/>
            <ac:spMk id="7" creationId="{DEAD7014-069B-4B3F-B927-C5376E8C16EB}"/>
          </ac:spMkLst>
        </pc:spChg>
        <pc:spChg chg="add mod">
          <ac:chgData name="Amani, Leslie@CDPH" userId="S::leslie.amani@cdph.ca.gov::c0370b36-7f1f-4284-bc9b-092cfc685f39" providerId="AD" clId="Web-{5E484936-A912-8005-A615-2B223EFFB1E1}" dt="2021-09-17T04:18:06.588" v="391" actId="20577"/>
          <ac:spMkLst>
            <pc:docMk/>
            <pc:sldMk cId="2788707397" sldId="2147470239"/>
            <ac:spMk id="8" creationId="{D7F10D69-7B51-4857-88A1-45E8379A2939}"/>
          </ac:spMkLst>
        </pc:spChg>
        <pc:spChg chg="add mod">
          <ac:chgData name="Amani, Leslie@CDPH" userId="S::leslie.amani@cdph.ca.gov::c0370b36-7f1f-4284-bc9b-092cfc685f39" providerId="AD" clId="Web-{5E484936-A912-8005-A615-2B223EFFB1E1}" dt="2021-09-17T04:15:40.268" v="382" actId="1076"/>
          <ac:spMkLst>
            <pc:docMk/>
            <pc:sldMk cId="2788707397" sldId="2147470239"/>
            <ac:spMk id="11" creationId="{FDF20D33-048F-4C9E-9D8A-C27831AD3B48}"/>
          </ac:spMkLst>
        </pc:spChg>
        <pc:spChg chg="add mod">
          <ac:chgData name="Amani, Leslie@CDPH" userId="S::leslie.amani@cdph.ca.gov::c0370b36-7f1f-4284-bc9b-092cfc685f39" providerId="AD" clId="Web-{5E484936-A912-8005-A615-2B223EFFB1E1}" dt="2021-09-17T03:29:52.091" v="215" actId="20577"/>
          <ac:spMkLst>
            <pc:docMk/>
            <pc:sldMk cId="2788707397" sldId="2147470239"/>
            <ac:spMk id="12" creationId="{8BAE031D-9788-41F3-BC62-23508DA746DC}"/>
          </ac:spMkLst>
        </pc:spChg>
        <pc:spChg chg="add mod">
          <ac:chgData name="Amani, Leslie@CDPH" userId="S::leslie.amani@cdph.ca.gov::c0370b36-7f1f-4284-bc9b-092cfc685f39" providerId="AD" clId="Web-{5E484936-A912-8005-A615-2B223EFFB1E1}" dt="2021-09-17T03:47:10.836" v="354" actId="1076"/>
          <ac:spMkLst>
            <pc:docMk/>
            <pc:sldMk cId="2788707397" sldId="2147470239"/>
            <ac:spMk id="13" creationId="{1FDB5509-1F9A-43A2-8D26-7D3491D561E0}"/>
          </ac:spMkLst>
        </pc:spChg>
        <pc:spChg chg="add mod">
          <ac:chgData name="Amani, Leslie@CDPH" userId="S::leslie.amani@cdph.ca.gov::c0370b36-7f1f-4284-bc9b-092cfc685f39" providerId="AD" clId="Web-{5E484936-A912-8005-A615-2B223EFFB1E1}" dt="2021-09-17T03:48:22.853" v="358" actId="1076"/>
          <ac:spMkLst>
            <pc:docMk/>
            <pc:sldMk cId="2788707397" sldId="2147470239"/>
            <ac:spMk id="14" creationId="{2727E188-724D-4C67-95C1-7D1BC83AC91E}"/>
          </ac:spMkLst>
        </pc:spChg>
        <pc:picChg chg="add mod ord">
          <ac:chgData name="Amani, Leslie@CDPH" userId="S::leslie.amani@cdph.ca.gov::c0370b36-7f1f-4284-bc9b-092cfc685f39" providerId="AD" clId="Web-{5E484936-A912-8005-A615-2B223EFFB1E1}" dt="2021-09-17T03:30:14.560" v="217" actId="1076"/>
          <ac:picMkLst>
            <pc:docMk/>
            <pc:sldMk cId="2788707397" sldId="2147470239"/>
            <ac:picMk id="6" creationId="{E9B0605B-A23C-4CB7-9A45-4C9D8D80AA88}"/>
          </ac:picMkLst>
        </pc:picChg>
        <pc:picChg chg="add mod ord">
          <ac:chgData name="Amani, Leslie@CDPH" userId="S::leslie.amani@cdph.ca.gov::c0370b36-7f1f-4284-bc9b-092cfc685f39" providerId="AD" clId="Web-{5E484936-A912-8005-A615-2B223EFFB1E1}" dt="2021-09-17T03:30:18.295" v="218" actId="1076"/>
          <ac:picMkLst>
            <pc:docMk/>
            <pc:sldMk cId="2788707397" sldId="2147470239"/>
            <ac:picMk id="9" creationId="{1290C82A-FDA9-4643-81EE-749EC5CFC9BC}"/>
          </ac:picMkLst>
        </pc:picChg>
        <pc:picChg chg="add del mod">
          <ac:chgData name="Amani, Leslie@CDPH" userId="S::leslie.amani@cdph.ca.gov::c0370b36-7f1f-4284-bc9b-092cfc685f39" providerId="AD" clId="Web-{5E484936-A912-8005-A615-2B223EFFB1E1}" dt="2021-09-17T03:22:47.270" v="131"/>
          <ac:picMkLst>
            <pc:docMk/>
            <pc:sldMk cId="2788707397" sldId="2147470239"/>
            <ac:picMk id="10" creationId="{C9886D3F-1CDC-4763-A5A1-9785273D48B9}"/>
          </ac:picMkLst>
        </pc:picChg>
        <pc:cxnChg chg="add mod">
          <ac:chgData name="Amani, Leslie@CDPH" userId="S::leslie.amani@cdph.ca.gov::c0370b36-7f1f-4284-bc9b-092cfc685f39" providerId="AD" clId="Web-{5E484936-A912-8005-A615-2B223EFFB1E1}" dt="2021-09-17T04:16:58.035" v="389" actId="1076"/>
          <ac:cxnSpMkLst>
            <pc:docMk/>
            <pc:sldMk cId="2788707397" sldId="2147470239"/>
            <ac:cxnSpMk id="3" creationId="{064B037F-4F67-483F-9873-B6590F408920}"/>
          </ac:cxnSpMkLst>
        </pc:cxnChg>
      </pc:sldChg>
      <pc:sldChg chg="new del">
        <pc:chgData name="Amani, Leslie@CDPH" userId="S::leslie.amani@cdph.ca.gov::c0370b36-7f1f-4284-bc9b-092cfc685f39" providerId="AD" clId="Web-{5E484936-A912-8005-A615-2B223EFFB1E1}" dt="2021-09-17T04:39:23.739" v="475"/>
        <pc:sldMkLst>
          <pc:docMk/>
          <pc:sldMk cId="1589278167" sldId="2147470240"/>
        </pc:sldMkLst>
      </pc:sldChg>
    </pc:docChg>
  </pc:docChgLst>
  <pc:docChgLst>
    <pc:chgData name="Grey, Jane@CDPH" userId="S::jane.grey@cdph.ca.gov::504d9a0c-4e7c-4b2d-8551-edac8360327d" providerId="AD" clId="Web-{81A6122F-72A5-ADD9-1D3B-DBCB5B4B707A}"/>
    <pc:docChg chg="addSld modSld">
      <pc:chgData name="Grey, Jane@CDPH" userId="S::jane.grey@cdph.ca.gov::504d9a0c-4e7c-4b2d-8551-edac8360327d" providerId="AD" clId="Web-{81A6122F-72A5-ADD9-1D3B-DBCB5B4B707A}" dt="2021-09-16T17:15:17.525" v="26"/>
      <pc:docMkLst>
        <pc:docMk/>
      </pc:docMkLst>
      <pc:sldChg chg="addSp modSp new">
        <pc:chgData name="Grey, Jane@CDPH" userId="S::jane.grey@cdph.ca.gov::504d9a0c-4e7c-4b2d-8551-edac8360327d" providerId="AD" clId="Web-{81A6122F-72A5-ADD9-1D3B-DBCB5B4B707A}" dt="2021-09-16T17:15:17.525" v="26"/>
        <pc:sldMkLst>
          <pc:docMk/>
          <pc:sldMk cId="2823914584" sldId="294"/>
        </pc:sldMkLst>
        <pc:spChg chg="mod">
          <ac:chgData name="Grey, Jane@CDPH" userId="S::jane.grey@cdph.ca.gov::504d9a0c-4e7c-4b2d-8551-edac8360327d" providerId="AD" clId="Web-{81A6122F-72A5-ADD9-1D3B-DBCB5B4B707A}" dt="2021-09-16T17:11:32.444" v="11" actId="14100"/>
          <ac:spMkLst>
            <pc:docMk/>
            <pc:sldMk cId="2823914584" sldId="294"/>
            <ac:spMk id="2" creationId="{83D20857-4429-40A5-9EF3-86D3042CBBE1}"/>
          </ac:spMkLst>
        </pc:spChg>
        <pc:spChg chg="mod">
          <ac:chgData name="Grey, Jane@CDPH" userId="S::jane.grey@cdph.ca.gov::504d9a0c-4e7c-4b2d-8551-edac8360327d" providerId="AD" clId="Web-{81A6122F-72A5-ADD9-1D3B-DBCB5B4B707A}" dt="2021-09-16T17:14:56.602" v="22" actId="20577"/>
          <ac:spMkLst>
            <pc:docMk/>
            <pc:sldMk cId="2823914584" sldId="294"/>
            <ac:spMk id="3" creationId="{34BAC57B-B1FD-46AE-9030-531D7FF5EEF0}"/>
          </ac:spMkLst>
        </pc:spChg>
        <pc:spChg chg="add">
          <ac:chgData name="Grey, Jane@CDPH" userId="S::jane.grey@cdph.ca.gov::504d9a0c-4e7c-4b2d-8551-edac8360327d" providerId="AD" clId="Web-{81A6122F-72A5-ADD9-1D3B-DBCB5B4B707A}" dt="2021-09-16T17:14:56.508" v="20"/>
          <ac:spMkLst>
            <pc:docMk/>
            <pc:sldMk cId="2823914584" sldId="294"/>
            <ac:spMk id="6" creationId="{C16A4159-9DA4-4237-BAAB-AFC239F67915}"/>
          </ac:spMkLst>
        </pc:spChg>
        <pc:spChg chg="add">
          <ac:chgData name="Grey, Jane@CDPH" userId="S::jane.grey@cdph.ca.gov::504d9a0c-4e7c-4b2d-8551-edac8360327d" providerId="AD" clId="Web-{81A6122F-72A5-ADD9-1D3B-DBCB5B4B707A}" dt="2021-09-16T17:14:56.555" v="21"/>
          <ac:spMkLst>
            <pc:docMk/>
            <pc:sldMk cId="2823914584" sldId="294"/>
            <ac:spMk id="7" creationId="{CB88B59E-DD8A-4B1E-AB58-72409DE12D4B}"/>
          </ac:spMkLst>
        </pc:spChg>
        <pc:spChg chg="add">
          <ac:chgData name="Grey, Jane@CDPH" userId="S::jane.grey@cdph.ca.gov::504d9a0c-4e7c-4b2d-8551-edac8360327d" providerId="AD" clId="Web-{81A6122F-72A5-ADD9-1D3B-DBCB5B4B707A}" dt="2021-09-16T17:14:57.008" v="23"/>
          <ac:spMkLst>
            <pc:docMk/>
            <pc:sldMk cId="2823914584" sldId="294"/>
            <ac:spMk id="8" creationId="{BAF0CBA0-CD67-48B2-A32C-1900F5B510EE}"/>
          </ac:spMkLst>
        </pc:spChg>
        <pc:spChg chg="add">
          <ac:chgData name="Grey, Jane@CDPH" userId="S::jane.grey@cdph.ca.gov::504d9a0c-4e7c-4b2d-8551-edac8360327d" providerId="AD" clId="Web-{81A6122F-72A5-ADD9-1D3B-DBCB5B4B707A}" dt="2021-09-16T17:15:17.463" v="25"/>
          <ac:spMkLst>
            <pc:docMk/>
            <pc:sldMk cId="2823914584" sldId="294"/>
            <ac:spMk id="9" creationId="{20996870-7286-487A-8497-E17CC33AF21F}"/>
          </ac:spMkLst>
        </pc:spChg>
        <pc:spChg chg="add">
          <ac:chgData name="Grey, Jane@CDPH" userId="S::jane.grey@cdph.ca.gov::504d9a0c-4e7c-4b2d-8551-edac8360327d" providerId="AD" clId="Web-{81A6122F-72A5-ADD9-1D3B-DBCB5B4B707A}" dt="2021-09-16T17:15:17.525" v="26"/>
          <ac:spMkLst>
            <pc:docMk/>
            <pc:sldMk cId="2823914584" sldId="294"/>
            <ac:spMk id="10" creationId="{522DA11A-7B4B-48E3-8277-23C62EAC7B5D}"/>
          </ac:spMkLst>
        </pc:spChg>
        <pc:picChg chg="add mod">
          <ac:chgData name="Grey, Jane@CDPH" userId="S::jane.grey@cdph.ca.gov::504d9a0c-4e7c-4b2d-8551-edac8360327d" providerId="AD" clId="Web-{81A6122F-72A5-ADD9-1D3B-DBCB5B4B707A}" dt="2021-09-16T17:15:17.416" v="24" actId="1076"/>
          <ac:picMkLst>
            <pc:docMk/>
            <pc:sldMk cId="2823914584" sldId="294"/>
            <ac:picMk id="5" creationId="{77CDE97F-3E6B-4C48-8236-3E9444E1E1DD}"/>
          </ac:picMkLst>
        </pc:picChg>
      </pc:sldChg>
    </pc:docChg>
  </pc:docChgLst>
  <pc:docChgLst>
    <pc:chgData name="Pine, Amy@CDPH" userId="S::amy.pine@cdph.ca.gov::5b0d522b-59bd-4ae7-8727-a2b6021ae69c" providerId="AD" clId="Web-{CDF57CE6-8192-349B-91FD-C00FC410B2B9}"/>
    <pc:docChg chg="modSld">
      <pc:chgData name="Pine, Amy@CDPH" userId="S::amy.pine@cdph.ca.gov::5b0d522b-59bd-4ae7-8727-a2b6021ae69c" providerId="AD" clId="Web-{CDF57CE6-8192-349B-91FD-C00FC410B2B9}" dt="2021-09-17T05:01:33.305" v="135" actId="1076"/>
      <pc:docMkLst>
        <pc:docMk/>
      </pc:docMkLst>
      <pc:sldChg chg="modSp">
        <pc:chgData name="Pine, Amy@CDPH" userId="S::amy.pine@cdph.ca.gov::5b0d522b-59bd-4ae7-8727-a2b6021ae69c" providerId="AD" clId="Web-{CDF57CE6-8192-349B-91FD-C00FC410B2B9}" dt="2021-09-17T01:29:26.839" v="8" actId="20577"/>
        <pc:sldMkLst>
          <pc:docMk/>
          <pc:sldMk cId="4062010431" sldId="269"/>
        </pc:sldMkLst>
        <pc:spChg chg="mod">
          <ac:chgData name="Pine, Amy@CDPH" userId="S::amy.pine@cdph.ca.gov::5b0d522b-59bd-4ae7-8727-a2b6021ae69c" providerId="AD" clId="Web-{CDF57CE6-8192-349B-91FD-C00FC410B2B9}" dt="2021-09-17T01:29:26.839" v="8" actId="20577"/>
          <ac:spMkLst>
            <pc:docMk/>
            <pc:sldMk cId="4062010431" sldId="269"/>
            <ac:spMk id="3" creationId="{B8E45892-66F8-4D01-8926-D13EE2BFA9B7}"/>
          </ac:spMkLst>
        </pc:spChg>
      </pc:sldChg>
      <pc:sldChg chg="addSp delSp modSp">
        <pc:chgData name="Pine, Amy@CDPH" userId="S::amy.pine@cdph.ca.gov::5b0d522b-59bd-4ae7-8727-a2b6021ae69c" providerId="AD" clId="Web-{CDF57CE6-8192-349B-91FD-C00FC410B2B9}" dt="2021-09-17T05:01:33.305" v="135" actId="1076"/>
        <pc:sldMkLst>
          <pc:docMk/>
          <pc:sldMk cId="822188115" sldId="280"/>
        </pc:sldMkLst>
        <pc:spChg chg="mod">
          <ac:chgData name="Pine, Amy@CDPH" userId="S::amy.pine@cdph.ca.gov::5b0d522b-59bd-4ae7-8727-a2b6021ae69c" providerId="AD" clId="Web-{CDF57CE6-8192-349B-91FD-C00FC410B2B9}" dt="2021-09-17T05:01:33.305" v="135" actId="1076"/>
          <ac:spMkLst>
            <pc:docMk/>
            <pc:sldMk cId="822188115" sldId="280"/>
            <ac:spMk id="2" creationId="{D03FF77D-FDA6-4D8D-B5E1-746BD268CF90}"/>
          </ac:spMkLst>
        </pc:spChg>
        <pc:spChg chg="mod">
          <ac:chgData name="Pine, Amy@CDPH" userId="S::amy.pine@cdph.ca.gov::5b0d522b-59bd-4ae7-8727-a2b6021ae69c" providerId="AD" clId="Web-{CDF57CE6-8192-349B-91FD-C00FC410B2B9}" dt="2021-09-17T04:56:29.858" v="99" actId="20577"/>
          <ac:spMkLst>
            <pc:docMk/>
            <pc:sldMk cId="822188115" sldId="280"/>
            <ac:spMk id="3" creationId="{159D8F9F-96F7-4FAF-A5C1-8F66E1809DCF}"/>
          </ac:spMkLst>
        </pc:spChg>
        <pc:spChg chg="del">
          <ac:chgData name="Pine, Amy@CDPH" userId="S::amy.pine@cdph.ca.gov::5b0d522b-59bd-4ae7-8727-a2b6021ae69c" providerId="AD" clId="Web-{CDF57CE6-8192-349B-91FD-C00FC410B2B9}" dt="2021-09-17T04:53:20.853" v="88"/>
          <ac:spMkLst>
            <pc:docMk/>
            <pc:sldMk cId="822188115" sldId="280"/>
            <ac:spMk id="5" creationId="{6E9970EE-2754-4873-B493-B8006C4EDAEC}"/>
          </ac:spMkLst>
        </pc:spChg>
        <pc:spChg chg="add mod">
          <ac:chgData name="Pine, Amy@CDPH" userId="S::amy.pine@cdph.ca.gov::5b0d522b-59bd-4ae7-8727-a2b6021ae69c" providerId="AD" clId="Web-{CDF57CE6-8192-349B-91FD-C00FC410B2B9}" dt="2021-09-17T04:59:50.906" v="128" actId="14100"/>
          <ac:spMkLst>
            <pc:docMk/>
            <pc:sldMk cId="822188115" sldId="280"/>
            <ac:spMk id="6" creationId="{336B0A98-85F4-42B8-A23A-528CB3EA4F1C}"/>
          </ac:spMkLst>
        </pc:spChg>
        <pc:spChg chg="add mod">
          <ac:chgData name="Pine, Amy@CDPH" userId="S::amy.pine@cdph.ca.gov::5b0d522b-59bd-4ae7-8727-a2b6021ae69c" providerId="AD" clId="Web-{CDF57CE6-8192-349B-91FD-C00FC410B2B9}" dt="2021-09-17T05:00:11.298" v="131" actId="1076"/>
          <ac:spMkLst>
            <pc:docMk/>
            <pc:sldMk cId="822188115" sldId="280"/>
            <ac:spMk id="9" creationId="{76C6CFB0-BBDA-47AB-85E6-9F8545477FAC}"/>
          </ac:spMkLst>
        </pc:spChg>
        <pc:picChg chg="add mod modCrop">
          <ac:chgData name="Pine, Amy@CDPH" userId="S::amy.pine@cdph.ca.gov::5b0d522b-59bd-4ae7-8727-a2b6021ae69c" providerId="AD" clId="Web-{CDF57CE6-8192-349B-91FD-C00FC410B2B9}" dt="2021-09-17T04:58:36.509" v="116" actId="1076"/>
          <ac:picMkLst>
            <pc:docMk/>
            <pc:sldMk cId="822188115" sldId="280"/>
            <ac:picMk id="7" creationId="{71E3BC6F-72CD-4459-940E-491DFDE77C57}"/>
          </ac:picMkLst>
        </pc:picChg>
        <pc:picChg chg="add mod">
          <ac:chgData name="Pine, Amy@CDPH" userId="S::amy.pine@cdph.ca.gov::5b0d522b-59bd-4ae7-8727-a2b6021ae69c" providerId="AD" clId="Web-{CDF57CE6-8192-349B-91FD-C00FC410B2B9}" dt="2021-09-17T04:58:20.679" v="114"/>
          <ac:picMkLst>
            <pc:docMk/>
            <pc:sldMk cId="822188115" sldId="280"/>
            <ac:picMk id="8" creationId="{694A3160-D347-455D-A5A0-BE2698CD697F}"/>
          </ac:picMkLst>
        </pc:picChg>
      </pc:sldChg>
      <pc:sldChg chg="addSp delSp modSp">
        <pc:chgData name="Pine, Amy@CDPH" userId="S::amy.pine@cdph.ca.gov::5b0d522b-59bd-4ae7-8727-a2b6021ae69c" providerId="AD" clId="Web-{CDF57CE6-8192-349B-91FD-C00FC410B2B9}" dt="2021-09-17T04:44:18.979" v="37" actId="20577"/>
        <pc:sldMkLst>
          <pc:docMk/>
          <pc:sldMk cId="2961403137" sldId="281"/>
        </pc:sldMkLst>
        <pc:spChg chg="mod">
          <ac:chgData name="Pine, Amy@CDPH" userId="S::amy.pine@cdph.ca.gov::5b0d522b-59bd-4ae7-8727-a2b6021ae69c" providerId="AD" clId="Web-{CDF57CE6-8192-349B-91FD-C00FC410B2B9}" dt="2021-09-17T04:44:18.979" v="37" actId="20577"/>
          <ac:spMkLst>
            <pc:docMk/>
            <pc:sldMk cId="2961403137" sldId="281"/>
            <ac:spMk id="6" creationId="{43A8D104-8F7F-40B9-9522-4BB14D8D61AB}"/>
          </ac:spMkLst>
        </pc:spChg>
        <pc:spChg chg="add del mod">
          <ac:chgData name="Pine, Amy@CDPH" userId="S::amy.pine@cdph.ca.gov::5b0d522b-59bd-4ae7-8727-a2b6021ae69c" providerId="AD" clId="Web-{CDF57CE6-8192-349B-91FD-C00FC410B2B9}" dt="2021-09-17T04:39:29.218" v="10"/>
          <ac:spMkLst>
            <pc:docMk/>
            <pc:sldMk cId="2961403137" sldId="281"/>
            <ac:spMk id="7" creationId="{6C574A71-D637-411D-A521-C374A361721E}"/>
          </ac:spMkLst>
        </pc:spChg>
        <pc:spChg chg="add del mod">
          <ac:chgData name="Pine, Amy@CDPH" userId="S::amy.pine@cdph.ca.gov::5b0d522b-59bd-4ae7-8727-a2b6021ae69c" providerId="AD" clId="Web-{CDF57CE6-8192-349B-91FD-C00FC410B2B9}" dt="2021-09-17T04:42:02.911" v="27"/>
          <ac:spMkLst>
            <pc:docMk/>
            <pc:sldMk cId="2961403137" sldId="281"/>
            <ac:spMk id="10" creationId="{46D0A7E9-9689-4749-B220-A4E159131FA4}"/>
          </ac:spMkLst>
        </pc:spChg>
        <pc:picChg chg="del">
          <ac:chgData name="Pine, Amy@CDPH" userId="S::amy.pine@cdph.ca.gov::5b0d522b-59bd-4ae7-8727-a2b6021ae69c" providerId="AD" clId="Web-{CDF57CE6-8192-349B-91FD-C00FC410B2B9}" dt="2021-09-17T04:39:24.639" v="9"/>
          <ac:picMkLst>
            <pc:docMk/>
            <pc:sldMk cId="2961403137" sldId="281"/>
            <ac:picMk id="5" creationId="{14B0D6A8-359B-4EF8-90B3-71964D3F57CF}"/>
          </ac:picMkLst>
        </pc:picChg>
        <pc:picChg chg="add del mod ord">
          <ac:chgData name="Pine, Amy@CDPH" userId="S::amy.pine@cdph.ca.gov::5b0d522b-59bd-4ae7-8727-a2b6021ae69c" providerId="AD" clId="Web-{CDF57CE6-8192-349B-91FD-C00FC410B2B9}" dt="2021-09-17T04:41:59.754" v="26"/>
          <ac:picMkLst>
            <pc:docMk/>
            <pc:sldMk cId="2961403137" sldId="281"/>
            <ac:picMk id="8" creationId="{8B265DD5-074E-49A5-9239-F3D1947002D9}"/>
          </ac:picMkLst>
        </pc:picChg>
        <pc:picChg chg="add mod ord">
          <ac:chgData name="Pine, Amy@CDPH" userId="S::amy.pine@cdph.ca.gov::5b0d522b-59bd-4ae7-8727-a2b6021ae69c" providerId="AD" clId="Web-{CDF57CE6-8192-349B-91FD-C00FC410B2B9}" dt="2021-09-17T04:42:20.115" v="32"/>
          <ac:picMkLst>
            <pc:docMk/>
            <pc:sldMk cId="2961403137" sldId="281"/>
            <ac:picMk id="11" creationId="{A2D129F9-9825-44A3-B3AA-AB271CBB9B62}"/>
          </ac:picMkLst>
        </pc:picChg>
      </pc:sldChg>
      <pc:sldChg chg="modSp">
        <pc:chgData name="Pine, Amy@CDPH" userId="S::amy.pine@cdph.ca.gov::5b0d522b-59bd-4ae7-8727-a2b6021ae69c" providerId="AD" clId="Web-{CDF57CE6-8192-349B-91FD-C00FC410B2B9}" dt="2021-09-17T04:52:30.005" v="69" actId="20577"/>
        <pc:sldMkLst>
          <pc:docMk/>
          <pc:sldMk cId="1846767743" sldId="282"/>
        </pc:sldMkLst>
        <pc:spChg chg="mod">
          <ac:chgData name="Pine, Amy@CDPH" userId="S::amy.pine@cdph.ca.gov::5b0d522b-59bd-4ae7-8727-a2b6021ae69c" providerId="AD" clId="Web-{CDF57CE6-8192-349B-91FD-C00FC410B2B9}" dt="2021-09-17T04:45:15.687" v="45" actId="20577"/>
          <ac:spMkLst>
            <pc:docMk/>
            <pc:sldMk cId="1846767743" sldId="282"/>
            <ac:spMk id="2" creationId="{833F926F-7795-47FF-928B-6DE0BC9A253C}"/>
          </ac:spMkLst>
        </pc:spChg>
        <pc:spChg chg="mod">
          <ac:chgData name="Pine, Amy@CDPH" userId="S::amy.pine@cdph.ca.gov::5b0d522b-59bd-4ae7-8727-a2b6021ae69c" providerId="AD" clId="Web-{CDF57CE6-8192-349B-91FD-C00FC410B2B9}" dt="2021-09-17T04:51:59.315" v="62" actId="20577"/>
          <ac:spMkLst>
            <pc:docMk/>
            <pc:sldMk cId="1846767743" sldId="282"/>
            <ac:spMk id="3" creationId="{D062D2ED-97DE-44FF-AB51-DAEB9F808E70}"/>
          </ac:spMkLst>
        </pc:spChg>
        <pc:spChg chg="mod">
          <ac:chgData name="Pine, Amy@CDPH" userId="S::amy.pine@cdph.ca.gov::5b0d522b-59bd-4ae7-8727-a2b6021ae69c" providerId="AD" clId="Web-{CDF57CE6-8192-349B-91FD-C00FC410B2B9}" dt="2021-09-17T04:52:30.005" v="69" actId="20577"/>
          <ac:spMkLst>
            <pc:docMk/>
            <pc:sldMk cId="1846767743" sldId="282"/>
            <ac:spMk id="17" creationId="{C0FEB1C1-E36E-436B-A54B-3131072E6818}"/>
          </ac:spMkLst>
        </pc:spChg>
      </pc:sldChg>
      <pc:sldChg chg="modSp">
        <pc:chgData name="Pine, Amy@CDPH" userId="S::amy.pine@cdph.ca.gov::5b0d522b-59bd-4ae7-8727-a2b6021ae69c" providerId="AD" clId="Web-{CDF57CE6-8192-349B-91FD-C00FC410B2B9}" dt="2021-09-17T01:25:32.540" v="1" actId="20577"/>
        <pc:sldMkLst>
          <pc:docMk/>
          <pc:sldMk cId="2841381135" sldId="283"/>
        </pc:sldMkLst>
        <pc:spChg chg="mod">
          <ac:chgData name="Pine, Amy@CDPH" userId="S::amy.pine@cdph.ca.gov::5b0d522b-59bd-4ae7-8727-a2b6021ae69c" providerId="AD" clId="Web-{CDF57CE6-8192-349B-91FD-C00FC410B2B9}" dt="2021-09-17T01:25:32.540" v="1" actId="20577"/>
          <ac:spMkLst>
            <pc:docMk/>
            <pc:sldMk cId="2841381135" sldId="283"/>
            <ac:spMk id="3" creationId="{7F829242-B7DD-41C2-A2ED-097BD684718E}"/>
          </ac:spMkLst>
        </pc:spChg>
      </pc:sldChg>
      <pc:sldChg chg="addSp modSp">
        <pc:chgData name="Pine, Amy@CDPH" userId="S::amy.pine@cdph.ca.gov::5b0d522b-59bd-4ae7-8727-a2b6021ae69c" providerId="AD" clId="Web-{CDF57CE6-8192-349B-91FD-C00FC410B2B9}" dt="2021-09-17T01:28:53.743" v="6" actId="1076"/>
        <pc:sldMkLst>
          <pc:docMk/>
          <pc:sldMk cId="804668004" sldId="293"/>
        </pc:sldMkLst>
        <pc:spChg chg="add mod">
          <ac:chgData name="Pine, Amy@CDPH" userId="S::amy.pine@cdph.ca.gov::5b0d522b-59bd-4ae7-8727-a2b6021ae69c" providerId="AD" clId="Web-{CDF57CE6-8192-349B-91FD-C00FC410B2B9}" dt="2021-09-17T01:28:53.743" v="6" actId="1076"/>
          <ac:spMkLst>
            <pc:docMk/>
            <pc:sldMk cId="804668004" sldId="293"/>
            <ac:spMk id="6" creationId="{91B6EDC9-C81F-48AA-864B-FAFD4577AD59}"/>
          </ac:spMkLst>
        </pc:spChg>
      </pc:sldChg>
    </pc:docChg>
  </pc:docChgLst>
  <pc:docChgLst>
    <pc:chgData name="Jane Grey" userId="504d9a0c-4e7c-4b2d-8551-edac8360327d" providerId="ADAL" clId="{7DD3708C-2080-DC46-B163-C1A7E5A7CABB}"/>
    <pc:docChg chg="undo custSel addSld delSld modSld sldOrd">
      <pc:chgData name="Jane Grey" userId="504d9a0c-4e7c-4b2d-8551-edac8360327d" providerId="ADAL" clId="{7DD3708C-2080-DC46-B163-C1A7E5A7CABB}" dt="2021-09-17T15:32:38.860" v="1257" actId="1037"/>
      <pc:docMkLst>
        <pc:docMk/>
      </pc:docMkLst>
      <pc:sldChg chg="modSp mod">
        <pc:chgData name="Jane Grey" userId="504d9a0c-4e7c-4b2d-8551-edac8360327d" providerId="ADAL" clId="{7DD3708C-2080-DC46-B163-C1A7E5A7CABB}" dt="2021-09-17T15:25:15.638" v="1242" actId="948"/>
        <pc:sldMkLst>
          <pc:docMk/>
          <pc:sldMk cId="341106102" sldId="259"/>
        </pc:sldMkLst>
        <pc:spChg chg="mod">
          <ac:chgData name="Jane Grey" userId="504d9a0c-4e7c-4b2d-8551-edac8360327d" providerId="ADAL" clId="{7DD3708C-2080-DC46-B163-C1A7E5A7CABB}" dt="2021-09-17T15:25:15.638" v="1242" actId="948"/>
          <ac:spMkLst>
            <pc:docMk/>
            <pc:sldMk cId="341106102" sldId="259"/>
            <ac:spMk id="81" creationId="{1101544D-9614-4049-A043-157A8DD8C049}"/>
          </ac:spMkLst>
        </pc:spChg>
      </pc:sldChg>
      <pc:sldChg chg="addSp delSp modSp mod">
        <pc:chgData name="Jane Grey" userId="504d9a0c-4e7c-4b2d-8551-edac8360327d" providerId="ADAL" clId="{7DD3708C-2080-DC46-B163-C1A7E5A7CABB}" dt="2021-09-16T20:01:29.990" v="652" actId="1036"/>
        <pc:sldMkLst>
          <pc:docMk/>
          <pc:sldMk cId="1667778602" sldId="279"/>
        </pc:sldMkLst>
        <pc:spChg chg="mod">
          <ac:chgData name="Jane Grey" userId="504d9a0c-4e7c-4b2d-8551-edac8360327d" providerId="ADAL" clId="{7DD3708C-2080-DC46-B163-C1A7E5A7CABB}" dt="2021-09-16T17:27:00.354" v="374" actId="14100"/>
          <ac:spMkLst>
            <pc:docMk/>
            <pc:sldMk cId="1667778602" sldId="279"/>
            <ac:spMk id="3" creationId="{BA824B1D-033B-4489-A384-0B2995D89A31}"/>
          </ac:spMkLst>
        </pc:spChg>
        <pc:picChg chg="add del mod">
          <ac:chgData name="Jane Grey" userId="504d9a0c-4e7c-4b2d-8551-edac8360327d" providerId="ADAL" clId="{7DD3708C-2080-DC46-B163-C1A7E5A7CABB}" dt="2021-09-16T17:28:55.054" v="383" actId="478"/>
          <ac:picMkLst>
            <pc:docMk/>
            <pc:sldMk cId="1667778602" sldId="279"/>
            <ac:picMk id="6" creationId="{182D8003-D875-E042-BDA1-8FB6C76B3216}"/>
          </ac:picMkLst>
        </pc:picChg>
        <pc:picChg chg="add mod">
          <ac:chgData name="Jane Grey" userId="504d9a0c-4e7c-4b2d-8551-edac8360327d" providerId="ADAL" clId="{7DD3708C-2080-DC46-B163-C1A7E5A7CABB}" dt="2021-09-16T17:27:40.286" v="381" actId="1076"/>
          <ac:picMkLst>
            <pc:docMk/>
            <pc:sldMk cId="1667778602" sldId="279"/>
            <ac:picMk id="653314" creationId="{72C822DF-EE5A-5047-BF00-E63550E84B9E}"/>
          </ac:picMkLst>
        </pc:picChg>
        <pc:picChg chg="add mod">
          <ac:chgData name="Jane Grey" userId="504d9a0c-4e7c-4b2d-8551-edac8360327d" providerId="ADAL" clId="{7DD3708C-2080-DC46-B163-C1A7E5A7CABB}" dt="2021-09-16T20:01:29.990" v="652" actId="1036"/>
          <ac:picMkLst>
            <pc:docMk/>
            <pc:sldMk cId="1667778602" sldId="279"/>
            <ac:picMk id="653316" creationId="{3F43EF3F-EE3F-2244-A95A-68C0F7F0426E}"/>
          </ac:picMkLst>
        </pc:picChg>
      </pc:sldChg>
      <pc:sldChg chg="addSp delSp modSp mod ord">
        <pc:chgData name="Jane Grey" userId="504d9a0c-4e7c-4b2d-8551-edac8360327d" providerId="ADAL" clId="{7DD3708C-2080-DC46-B163-C1A7E5A7CABB}" dt="2021-09-17T15:32:38.860" v="1257" actId="1037"/>
        <pc:sldMkLst>
          <pc:docMk/>
          <pc:sldMk cId="2841381135" sldId="283"/>
        </pc:sldMkLst>
        <pc:spChg chg="mod">
          <ac:chgData name="Jane Grey" userId="504d9a0c-4e7c-4b2d-8551-edac8360327d" providerId="ADAL" clId="{7DD3708C-2080-DC46-B163-C1A7E5A7CABB}" dt="2021-09-17T15:06:02.078" v="989" actId="20577"/>
          <ac:spMkLst>
            <pc:docMk/>
            <pc:sldMk cId="2841381135" sldId="283"/>
            <ac:spMk id="2" creationId="{285047DB-94FB-4932-9382-836711A965F4}"/>
          </ac:spMkLst>
        </pc:spChg>
        <pc:spChg chg="mod">
          <ac:chgData name="Jane Grey" userId="504d9a0c-4e7c-4b2d-8551-edac8360327d" providerId="ADAL" clId="{7DD3708C-2080-DC46-B163-C1A7E5A7CABB}" dt="2021-09-17T15:32:38.860" v="1257" actId="1037"/>
          <ac:spMkLst>
            <pc:docMk/>
            <pc:sldMk cId="2841381135" sldId="283"/>
            <ac:spMk id="3" creationId="{7F829242-B7DD-41C2-A2ED-097BD684718E}"/>
          </ac:spMkLst>
        </pc:spChg>
        <pc:picChg chg="add del mod modCrop">
          <ac:chgData name="Jane Grey" userId="504d9a0c-4e7c-4b2d-8551-edac8360327d" providerId="ADAL" clId="{7DD3708C-2080-DC46-B163-C1A7E5A7CABB}" dt="2021-09-17T15:01:22.896" v="878" actId="478"/>
          <ac:picMkLst>
            <pc:docMk/>
            <pc:sldMk cId="2841381135" sldId="283"/>
            <ac:picMk id="6" creationId="{217BD879-1CFE-F942-8094-6316AE72695F}"/>
          </ac:picMkLst>
        </pc:picChg>
        <pc:picChg chg="add mod modCrop">
          <ac:chgData name="Jane Grey" userId="504d9a0c-4e7c-4b2d-8551-edac8360327d" providerId="ADAL" clId="{7DD3708C-2080-DC46-B163-C1A7E5A7CABB}" dt="2021-09-17T15:30:26.396" v="1252" actId="14861"/>
          <ac:picMkLst>
            <pc:docMk/>
            <pc:sldMk cId="2841381135" sldId="283"/>
            <ac:picMk id="8" creationId="{D95F0E7E-E95D-AD4A-937D-6C9E33E148BB}"/>
          </ac:picMkLst>
        </pc:picChg>
      </pc:sldChg>
      <pc:sldChg chg="addSp delSp modSp del mod">
        <pc:chgData name="Jane Grey" userId="504d9a0c-4e7c-4b2d-8551-edac8360327d" providerId="ADAL" clId="{7DD3708C-2080-DC46-B163-C1A7E5A7CABB}" dt="2021-09-16T17:37:40.250" v="540" actId="2696"/>
        <pc:sldMkLst>
          <pc:docMk/>
          <pc:sldMk cId="1946224000" sldId="284"/>
        </pc:sldMkLst>
        <pc:spChg chg="mod">
          <ac:chgData name="Jane Grey" userId="504d9a0c-4e7c-4b2d-8551-edac8360327d" providerId="ADAL" clId="{7DD3708C-2080-DC46-B163-C1A7E5A7CABB}" dt="2021-09-16T17:34:59.770" v="466" actId="27636"/>
          <ac:spMkLst>
            <pc:docMk/>
            <pc:sldMk cId="1946224000" sldId="284"/>
            <ac:spMk id="3" creationId="{7F829242-B7DD-41C2-A2ED-097BD684718E}"/>
          </ac:spMkLst>
        </pc:spChg>
        <pc:spChg chg="add del mod">
          <ac:chgData name="Jane Grey" userId="504d9a0c-4e7c-4b2d-8551-edac8360327d" providerId="ADAL" clId="{7DD3708C-2080-DC46-B163-C1A7E5A7CABB}" dt="2021-09-16T17:35:56.780" v="485" actId="478"/>
          <ac:spMkLst>
            <pc:docMk/>
            <pc:sldMk cId="1946224000" sldId="284"/>
            <ac:spMk id="5" creationId="{2A11350D-1FAF-4349-A8D1-45FBE68C8BFF}"/>
          </ac:spMkLst>
        </pc:spChg>
        <pc:spChg chg="add del mod">
          <ac:chgData name="Jane Grey" userId="504d9a0c-4e7c-4b2d-8551-edac8360327d" providerId="ADAL" clId="{7DD3708C-2080-DC46-B163-C1A7E5A7CABB}" dt="2021-09-16T17:36:53.429" v="508" actId="478"/>
          <ac:spMkLst>
            <pc:docMk/>
            <pc:sldMk cId="1946224000" sldId="284"/>
            <ac:spMk id="7" creationId="{3F188498-14AB-E540-88A9-E2CBD341A3FD}"/>
          </ac:spMkLst>
        </pc:spChg>
        <pc:picChg chg="add mod">
          <ac:chgData name="Jane Grey" userId="504d9a0c-4e7c-4b2d-8551-edac8360327d" providerId="ADAL" clId="{7DD3708C-2080-DC46-B163-C1A7E5A7CABB}" dt="2021-09-16T17:30:30.111" v="390" actId="1076"/>
          <ac:picMkLst>
            <pc:docMk/>
            <pc:sldMk cId="1946224000" sldId="284"/>
            <ac:picMk id="654338" creationId="{CE55B4B0-B52C-2D49-95C0-364FC72CE3C4}"/>
          </ac:picMkLst>
        </pc:picChg>
      </pc:sldChg>
      <pc:sldChg chg="modSp mod">
        <pc:chgData name="Jane Grey" userId="504d9a0c-4e7c-4b2d-8551-edac8360327d" providerId="ADAL" clId="{7DD3708C-2080-DC46-B163-C1A7E5A7CABB}" dt="2021-09-17T15:30:10.068" v="1251" actId="14861"/>
        <pc:sldMkLst>
          <pc:docMk/>
          <pc:sldMk cId="1106844182" sldId="286"/>
        </pc:sldMkLst>
        <pc:picChg chg="mod">
          <ac:chgData name="Jane Grey" userId="504d9a0c-4e7c-4b2d-8551-edac8360327d" providerId="ADAL" clId="{7DD3708C-2080-DC46-B163-C1A7E5A7CABB}" dt="2021-09-17T15:30:10.068" v="1251" actId="14861"/>
          <ac:picMkLst>
            <pc:docMk/>
            <pc:sldMk cId="1106844182" sldId="286"/>
            <ac:picMk id="16" creationId="{F7F7FFA9-C076-4878-AA6C-B67D6D357D9D}"/>
          </ac:picMkLst>
        </pc:picChg>
      </pc:sldChg>
      <pc:sldChg chg="addSp delSp modSp mod">
        <pc:chgData name="Jane Grey" userId="504d9a0c-4e7c-4b2d-8551-edac8360327d" providerId="ADAL" clId="{7DD3708C-2080-DC46-B163-C1A7E5A7CABB}" dt="2021-09-16T19:57:25.397" v="585" actId="1076"/>
        <pc:sldMkLst>
          <pc:docMk/>
          <pc:sldMk cId="57925094" sldId="287"/>
        </pc:sldMkLst>
        <pc:spChg chg="mod">
          <ac:chgData name="Jane Grey" userId="504d9a0c-4e7c-4b2d-8551-edac8360327d" providerId="ADAL" clId="{7DD3708C-2080-DC46-B163-C1A7E5A7CABB}" dt="2021-09-16T19:57:25.397" v="585" actId="1076"/>
          <ac:spMkLst>
            <pc:docMk/>
            <pc:sldMk cId="57925094" sldId="287"/>
            <ac:spMk id="11" creationId="{CC5CB989-452D-416C-9916-871C245B1F2C}"/>
          </ac:spMkLst>
        </pc:spChg>
        <pc:spChg chg="mod">
          <ac:chgData name="Jane Grey" userId="504d9a0c-4e7c-4b2d-8551-edac8360327d" providerId="ADAL" clId="{7DD3708C-2080-DC46-B163-C1A7E5A7CABB}" dt="2021-09-16T19:57:25.397" v="585" actId="1076"/>
          <ac:spMkLst>
            <pc:docMk/>
            <pc:sldMk cId="57925094" sldId="287"/>
            <ac:spMk id="12" creationId="{6DADFDF6-49AE-4DDF-8E8F-7E3FE42D5265}"/>
          </ac:spMkLst>
        </pc:spChg>
        <pc:picChg chg="add mod modCrop">
          <ac:chgData name="Jane Grey" userId="504d9a0c-4e7c-4b2d-8551-edac8360327d" providerId="ADAL" clId="{7DD3708C-2080-DC46-B163-C1A7E5A7CABB}" dt="2021-09-16T19:56:52.806" v="582" actId="1036"/>
          <ac:picMkLst>
            <pc:docMk/>
            <pc:sldMk cId="57925094" sldId="287"/>
            <ac:picMk id="6" creationId="{6C277375-7357-1541-9CF8-07FD7A234F3E}"/>
          </ac:picMkLst>
        </pc:picChg>
        <pc:picChg chg="del">
          <ac:chgData name="Jane Grey" userId="504d9a0c-4e7c-4b2d-8551-edac8360327d" providerId="ADAL" clId="{7DD3708C-2080-DC46-B163-C1A7E5A7CABB}" dt="2021-09-16T19:55:36.198" v="568" actId="478"/>
          <ac:picMkLst>
            <pc:docMk/>
            <pc:sldMk cId="57925094" sldId="287"/>
            <ac:picMk id="8" creationId="{BA4C0497-6846-4379-B689-833193B80235}"/>
          </ac:picMkLst>
        </pc:picChg>
      </pc:sldChg>
      <pc:sldChg chg="addSp modSp mod">
        <pc:chgData name="Jane Grey" userId="504d9a0c-4e7c-4b2d-8551-edac8360327d" providerId="ADAL" clId="{7DD3708C-2080-DC46-B163-C1A7E5A7CABB}" dt="2021-09-16T20:02:17.152" v="695" actId="207"/>
        <pc:sldMkLst>
          <pc:docMk/>
          <pc:sldMk cId="4154666959" sldId="288"/>
        </pc:sldMkLst>
        <pc:spChg chg="add mod">
          <ac:chgData name="Jane Grey" userId="504d9a0c-4e7c-4b2d-8551-edac8360327d" providerId="ADAL" clId="{7DD3708C-2080-DC46-B163-C1A7E5A7CABB}" dt="2021-09-16T20:02:17.152" v="695" actId="207"/>
          <ac:spMkLst>
            <pc:docMk/>
            <pc:sldMk cId="4154666959" sldId="288"/>
            <ac:spMk id="4" creationId="{86CF6020-C971-E44D-84EA-78E2F07B30FE}"/>
          </ac:spMkLst>
        </pc:spChg>
      </pc:sldChg>
      <pc:sldChg chg="modSp mod">
        <pc:chgData name="Jane Grey" userId="504d9a0c-4e7c-4b2d-8551-edac8360327d" providerId="ADAL" clId="{7DD3708C-2080-DC46-B163-C1A7E5A7CABB}" dt="2021-09-17T15:28:51.418" v="1250" actId="20577"/>
        <pc:sldMkLst>
          <pc:docMk/>
          <pc:sldMk cId="804668004" sldId="293"/>
        </pc:sldMkLst>
        <pc:spChg chg="mod">
          <ac:chgData name="Jane Grey" userId="504d9a0c-4e7c-4b2d-8551-edac8360327d" providerId="ADAL" clId="{7DD3708C-2080-DC46-B163-C1A7E5A7CABB}" dt="2021-09-17T15:28:51.418" v="1250" actId="20577"/>
          <ac:spMkLst>
            <pc:docMk/>
            <pc:sldMk cId="804668004" sldId="293"/>
            <ac:spMk id="3" creationId="{2A68B2A1-8F93-481A-AEB8-65A35F8FF00A}"/>
          </ac:spMkLst>
        </pc:spChg>
      </pc:sldChg>
      <pc:sldChg chg="addSp delSp modSp mod">
        <pc:chgData name="Jane Grey" userId="504d9a0c-4e7c-4b2d-8551-edac8360327d" providerId="ADAL" clId="{7DD3708C-2080-DC46-B163-C1A7E5A7CABB}" dt="2021-09-16T17:22:50.569" v="353" actId="1076"/>
        <pc:sldMkLst>
          <pc:docMk/>
          <pc:sldMk cId="2823914584" sldId="294"/>
        </pc:sldMkLst>
        <pc:spChg chg="mod">
          <ac:chgData name="Jane Grey" userId="504d9a0c-4e7c-4b2d-8551-edac8360327d" providerId="ADAL" clId="{7DD3708C-2080-DC46-B163-C1A7E5A7CABB}" dt="2021-09-16T17:19:35.372" v="183" actId="113"/>
          <ac:spMkLst>
            <pc:docMk/>
            <pc:sldMk cId="2823914584" sldId="294"/>
            <ac:spMk id="2" creationId="{83D20857-4429-40A5-9EF3-86D3042CBBE1}"/>
          </ac:spMkLst>
        </pc:spChg>
        <pc:spChg chg="mod">
          <ac:chgData name="Jane Grey" userId="504d9a0c-4e7c-4b2d-8551-edac8360327d" providerId="ADAL" clId="{7DD3708C-2080-DC46-B163-C1A7E5A7CABB}" dt="2021-09-16T17:22:38.404" v="352" actId="14100"/>
          <ac:spMkLst>
            <pc:docMk/>
            <pc:sldMk cId="2823914584" sldId="294"/>
            <ac:spMk id="3" creationId="{34BAC57B-B1FD-46AE-9030-531D7FF5EEF0}"/>
          </ac:spMkLst>
        </pc:spChg>
        <pc:spChg chg="add mod">
          <ac:chgData name="Jane Grey" userId="504d9a0c-4e7c-4b2d-8551-edac8360327d" providerId="ADAL" clId="{7DD3708C-2080-DC46-B163-C1A7E5A7CABB}" dt="2021-09-16T17:18:18.751" v="73" actId="1076"/>
          <ac:spMkLst>
            <pc:docMk/>
            <pc:sldMk cId="2823914584" sldId="294"/>
            <ac:spMk id="6" creationId="{51BD421C-5FB9-1A48-B6C0-A77F4B0189B7}"/>
          </ac:spMkLst>
        </pc:spChg>
        <pc:spChg chg="del mod">
          <ac:chgData name="Jane Grey" userId="504d9a0c-4e7c-4b2d-8551-edac8360327d" providerId="ADAL" clId="{7DD3708C-2080-DC46-B163-C1A7E5A7CABB}" dt="2021-09-16T17:17:51.570" v="64" actId="478"/>
          <ac:spMkLst>
            <pc:docMk/>
            <pc:sldMk cId="2823914584" sldId="294"/>
            <ac:spMk id="7" creationId="{CB88B59E-DD8A-4B1E-AB58-72409DE12D4B}"/>
          </ac:spMkLst>
        </pc:spChg>
        <pc:spChg chg="del">
          <ac:chgData name="Jane Grey" userId="504d9a0c-4e7c-4b2d-8551-edac8360327d" providerId="ADAL" clId="{7DD3708C-2080-DC46-B163-C1A7E5A7CABB}" dt="2021-09-16T17:17:48.697" v="62" actId="478"/>
          <ac:spMkLst>
            <pc:docMk/>
            <pc:sldMk cId="2823914584" sldId="294"/>
            <ac:spMk id="8" creationId="{BAF0CBA0-CD67-48B2-A32C-1900F5B510EE}"/>
          </ac:spMkLst>
        </pc:spChg>
        <pc:spChg chg="del mod">
          <ac:chgData name="Jane Grey" userId="504d9a0c-4e7c-4b2d-8551-edac8360327d" providerId="ADAL" clId="{7DD3708C-2080-DC46-B163-C1A7E5A7CABB}" dt="2021-09-16T17:17:56.298" v="68" actId="478"/>
          <ac:spMkLst>
            <pc:docMk/>
            <pc:sldMk cId="2823914584" sldId="294"/>
            <ac:spMk id="9" creationId="{20996870-7286-487A-8497-E17CC33AF21F}"/>
          </ac:spMkLst>
        </pc:spChg>
        <pc:spChg chg="del">
          <ac:chgData name="Jane Grey" userId="504d9a0c-4e7c-4b2d-8551-edac8360327d" providerId="ADAL" clId="{7DD3708C-2080-DC46-B163-C1A7E5A7CABB}" dt="2021-09-16T17:17:54.455" v="66" actId="478"/>
          <ac:spMkLst>
            <pc:docMk/>
            <pc:sldMk cId="2823914584" sldId="294"/>
            <ac:spMk id="10" creationId="{522DA11A-7B4B-48E3-8277-23C62EAC7B5D}"/>
          </ac:spMkLst>
        </pc:spChg>
        <pc:spChg chg="del">
          <ac:chgData name="Jane Grey" userId="504d9a0c-4e7c-4b2d-8551-edac8360327d" providerId="ADAL" clId="{7DD3708C-2080-DC46-B163-C1A7E5A7CABB}" dt="2021-09-16T17:17:53.386" v="65" actId="478"/>
          <ac:spMkLst>
            <pc:docMk/>
            <pc:sldMk cId="2823914584" sldId="294"/>
            <ac:spMk id="11" creationId="{C16A4159-9DA4-4237-BAAB-AFC239F67915}"/>
          </ac:spMkLst>
        </pc:spChg>
        <pc:spChg chg="add del mod">
          <ac:chgData name="Jane Grey" userId="504d9a0c-4e7c-4b2d-8551-edac8360327d" providerId="ADAL" clId="{7DD3708C-2080-DC46-B163-C1A7E5A7CABB}" dt="2021-09-16T17:19:55.206" v="192" actId="478"/>
          <ac:spMkLst>
            <pc:docMk/>
            <pc:sldMk cId="2823914584" sldId="294"/>
            <ac:spMk id="12" creationId="{4C633F3F-F100-AB40-826B-FF1D0819A034}"/>
          </ac:spMkLst>
        </pc:spChg>
        <pc:picChg chg="mod modCrop">
          <ac:chgData name="Jane Grey" userId="504d9a0c-4e7c-4b2d-8551-edac8360327d" providerId="ADAL" clId="{7DD3708C-2080-DC46-B163-C1A7E5A7CABB}" dt="2021-09-16T17:22:50.569" v="353" actId="1076"/>
          <ac:picMkLst>
            <pc:docMk/>
            <pc:sldMk cId="2823914584" sldId="294"/>
            <ac:picMk id="5" creationId="{77CDE97F-3E6B-4C48-8236-3E9444E1E1DD}"/>
          </ac:picMkLst>
        </pc:picChg>
      </pc:sldChg>
      <pc:sldChg chg="addSp delSp modSp add mod ord">
        <pc:chgData name="Jane Grey" userId="504d9a0c-4e7c-4b2d-8551-edac8360327d" providerId="ADAL" clId="{7DD3708C-2080-DC46-B163-C1A7E5A7CABB}" dt="2021-09-16T20:01:17.848" v="640" actId="20577"/>
        <pc:sldMkLst>
          <pc:docMk/>
          <pc:sldMk cId="3149399661" sldId="295"/>
        </pc:sldMkLst>
        <pc:spChg chg="mod">
          <ac:chgData name="Jane Grey" userId="504d9a0c-4e7c-4b2d-8551-edac8360327d" providerId="ADAL" clId="{7DD3708C-2080-DC46-B163-C1A7E5A7CABB}" dt="2021-09-16T17:36:19.586" v="500" actId="113"/>
          <ac:spMkLst>
            <pc:docMk/>
            <pc:sldMk cId="3149399661" sldId="295"/>
            <ac:spMk id="2" creationId="{83D20857-4429-40A5-9EF3-86D3042CBBE1}"/>
          </ac:spMkLst>
        </pc:spChg>
        <pc:spChg chg="mod">
          <ac:chgData name="Jane Grey" userId="504d9a0c-4e7c-4b2d-8551-edac8360327d" providerId="ADAL" clId="{7DD3708C-2080-DC46-B163-C1A7E5A7CABB}" dt="2021-09-16T20:01:17.848" v="640" actId="20577"/>
          <ac:spMkLst>
            <pc:docMk/>
            <pc:sldMk cId="3149399661" sldId="295"/>
            <ac:spMk id="3" creationId="{34BAC57B-B1FD-46AE-9030-531D7FF5EEF0}"/>
          </ac:spMkLst>
        </pc:spChg>
        <pc:spChg chg="mod">
          <ac:chgData name="Jane Grey" userId="504d9a0c-4e7c-4b2d-8551-edac8360327d" providerId="ADAL" clId="{7DD3708C-2080-DC46-B163-C1A7E5A7CABB}" dt="2021-09-16T17:37:03.179" v="535" actId="20577"/>
          <ac:spMkLst>
            <pc:docMk/>
            <pc:sldMk cId="3149399661" sldId="295"/>
            <ac:spMk id="6" creationId="{51BD421C-5FB9-1A48-B6C0-A77F4B0189B7}"/>
          </ac:spMkLst>
        </pc:spChg>
        <pc:picChg chg="del">
          <ac:chgData name="Jane Grey" userId="504d9a0c-4e7c-4b2d-8551-edac8360327d" providerId="ADAL" clId="{7DD3708C-2080-DC46-B163-C1A7E5A7CABB}" dt="2021-09-16T17:36:22.588" v="501" actId="478"/>
          <ac:picMkLst>
            <pc:docMk/>
            <pc:sldMk cId="3149399661" sldId="295"/>
            <ac:picMk id="5" creationId="{77CDE97F-3E6B-4C48-8236-3E9444E1E1DD}"/>
          </ac:picMkLst>
        </pc:picChg>
        <pc:picChg chg="add mod">
          <ac:chgData name="Jane Grey" userId="504d9a0c-4e7c-4b2d-8551-edac8360327d" providerId="ADAL" clId="{7DD3708C-2080-DC46-B163-C1A7E5A7CABB}" dt="2021-09-16T17:39:34.694" v="566" actId="1076"/>
          <ac:picMkLst>
            <pc:docMk/>
            <pc:sldMk cId="3149399661" sldId="295"/>
            <ac:picMk id="7" creationId="{976EBC5C-5D73-8C47-91BD-33D0D8E126D5}"/>
          </ac:picMkLst>
        </pc:picChg>
      </pc:sldChg>
      <pc:sldChg chg="addSp delSp modSp mod">
        <pc:chgData name="Jane Grey" userId="504d9a0c-4e7c-4b2d-8551-edac8360327d" providerId="ADAL" clId="{7DD3708C-2080-DC46-B163-C1A7E5A7CABB}" dt="2021-09-16T20:21:00.644" v="726" actId="20577"/>
        <pc:sldMkLst>
          <pc:docMk/>
          <pc:sldMk cId="2968521312" sldId="296"/>
        </pc:sldMkLst>
        <pc:spChg chg="mod">
          <ac:chgData name="Jane Grey" userId="504d9a0c-4e7c-4b2d-8551-edac8360327d" providerId="ADAL" clId="{7DD3708C-2080-DC46-B163-C1A7E5A7CABB}" dt="2021-09-16T20:21:00.644" v="726" actId="20577"/>
          <ac:spMkLst>
            <pc:docMk/>
            <pc:sldMk cId="2968521312" sldId="296"/>
            <ac:spMk id="3" creationId="{7AD940CD-FF6C-40A4-A603-7C245954CFDD}"/>
          </ac:spMkLst>
        </pc:spChg>
        <pc:spChg chg="add del mod">
          <ac:chgData name="Jane Grey" userId="504d9a0c-4e7c-4b2d-8551-edac8360327d" providerId="ADAL" clId="{7DD3708C-2080-DC46-B163-C1A7E5A7CABB}" dt="2021-09-16T20:18:54.725" v="707" actId="478"/>
          <ac:spMkLst>
            <pc:docMk/>
            <pc:sldMk cId="2968521312" sldId="296"/>
            <ac:spMk id="5" creationId="{D939FFA3-7E71-A64F-B8F8-F05C6E049477}"/>
          </ac:spMkLst>
        </pc:spChg>
        <pc:picChg chg="add del mod">
          <ac:chgData name="Jane Grey" userId="504d9a0c-4e7c-4b2d-8551-edac8360327d" providerId="ADAL" clId="{7DD3708C-2080-DC46-B163-C1A7E5A7CABB}" dt="2021-09-16T20:20:09.740" v="716" actId="478"/>
          <ac:picMkLst>
            <pc:docMk/>
            <pc:sldMk cId="2968521312" sldId="296"/>
            <ac:picMk id="656386" creationId="{43294C59-1887-6B4B-96F9-68D999E6924B}"/>
          </ac:picMkLst>
        </pc:picChg>
        <pc:picChg chg="add mod">
          <ac:chgData name="Jane Grey" userId="504d9a0c-4e7c-4b2d-8551-edac8360327d" providerId="ADAL" clId="{7DD3708C-2080-DC46-B163-C1A7E5A7CABB}" dt="2021-09-16T20:20:47.075" v="724" actId="1076"/>
          <ac:picMkLst>
            <pc:docMk/>
            <pc:sldMk cId="2968521312" sldId="296"/>
            <ac:picMk id="656388" creationId="{E51D39B0-2DD0-4F40-B5FE-F215E10E5907}"/>
          </ac:picMkLst>
        </pc:picChg>
      </pc:sldChg>
      <pc:sldChg chg="modSp mod">
        <pc:chgData name="Jane Grey" userId="504d9a0c-4e7c-4b2d-8551-edac8360327d" providerId="ADAL" clId="{7DD3708C-2080-DC46-B163-C1A7E5A7CABB}" dt="2021-09-16T20:18:15.061" v="705" actId="20577"/>
        <pc:sldMkLst>
          <pc:docMk/>
          <pc:sldMk cId="3885579558" sldId="298"/>
        </pc:sldMkLst>
        <pc:spChg chg="mod">
          <ac:chgData name="Jane Grey" userId="504d9a0c-4e7c-4b2d-8551-edac8360327d" providerId="ADAL" clId="{7DD3708C-2080-DC46-B163-C1A7E5A7CABB}" dt="2021-09-16T20:18:15.061" v="705" actId="20577"/>
          <ac:spMkLst>
            <pc:docMk/>
            <pc:sldMk cId="3885579558" sldId="298"/>
            <ac:spMk id="3" creationId="{57FDFB6D-947C-40E6-BD39-C76E99A203D1}"/>
          </ac:spMkLst>
        </pc:spChg>
      </pc:sldChg>
      <pc:sldChg chg="modSp mod">
        <pc:chgData name="Jane Grey" userId="504d9a0c-4e7c-4b2d-8551-edac8360327d" providerId="ADAL" clId="{7DD3708C-2080-DC46-B163-C1A7E5A7CABB}" dt="2021-09-17T15:17:06.471" v="1181" actId="27636"/>
        <pc:sldMkLst>
          <pc:docMk/>
          <pc:sldMk cId="3155410403" sldId="300"/>
        </pc:sldMkLst>
        <pc:spChg chg="mod">
          <ac:chgData name="Jane Grey" userId="504d9a0c-4e7c-4b2d-8551-edac8360327d" providerId="ADAL" clId="{7DD3708C-2080-DC46-B163-C1A7E5A7CABB}" dt="2021-09-17T15:17:06.471" v="1181" actId="27636"/>
          <ac:spMkLst>
            <pc:docMk/>
            <pc:sldMk cId="3155410403" sldId="300"/>
            <ac:spMk id="3" creationId="{04000A57-32ED-4BEF-B76E-DCA033F1566C}"/>
          </ac:spMkLst>
        </pc:spChg>
      </pc:sldChg>
      <pc:sldChg chg="addSp delSp modSp mod">
        <pc:chgData name="Jane Grey" userId="504d9a0c-4e7c-4b2d-8551-edac8360327d" providerId="ADAL" clId="{7DD3708C-2080-DC46-B163-C1A7E5A7CABB}" dt="2021-09-17T15:27:21.544" v="1249" actId="1038"/>
        <pc:sldMkLst>
          <pc:docMk/>
          <pc:sldMk cId="2174635582" sldId="303"/>
        </pc:sldMkLst>
        <pc:spChg chg="del mod">
          <ac:chgData name="Jane Grey" userId="504d9a0c-4e7c-4b2d-8551-edac8360327d" providerId="ADAL" clId="{7DD3708C-2080-DC46-B163-C1A7E5A7CABB}" dt="2021-09-17T15:19:08.819" v="1204" actId="478"/>
          <ac:spMkLst>
            <pc:docMk/>
            <pc:sldMk cId="2174635582" sldId="303"/>
            <ac:spMk id="3" creationId="{57FDFB6D-947C-40E6-BD39-C76E99A203D1}"/>
          </ac:spMkLst>
        </pc:spChg>
        <pc:spChg chg="add mod">
          <ac:chgData name="Jane Grey" userId="504d9a0c-4e7c-4b2d-8551-edac8360327d" providerId="ADAL" clId="{7DD3708C-2080-DC46-B163-C1A7E5A7CABB}" dt="2021-09-17T15:19:01.887" v="1202" actId="20577"/>
          <ac:spMkLst>
            <pc:docMk/>
            <pc:sldMk cId="2174635582" sldId="303"/>
            <ac:spMk id="9" creationId="{469ACFAA-A381-374C-ABF5-7801B0A3C178}"/>
          </ac:spMkLst>
        </pc:spChg>
        <pc:spChg chg="add del mod">
          <ac:chgData name="Jane Grey" userId="504d9a0c-4e7c-4b2d-8551-edac8360327d" providerId="ADAL" clId="{7DD3708C-2080-DC46-B163-C1A7E5A7CABB}" dt="2021-09-17T15:19:10.828" v="1205" actId="478"/>
          <ac:spMkLst>
            <pc:docMk/>
            <pc:sldMk cId="2174635582" sldId="303"/>
            <ac:spMk id="11" creationId="{D46F2410-922A-0F46-AA77-AEE76B0FD6B9}"/>
          </ac:spMkLst>
        </pc:spChg>
        <pc:picChg chg="mod modCrop">
          <ac:chgData name="Jane Grey" userId="504d9a0c-4e7c-4b2d-8551-edac8360327d" providerId="ADAL" clId="{7DD3708C-2080-DC46-B163-C1A7E5A7CABB}" dt="2021-09-17T15:27:21.544" v="1249" actId="1038"/>
          <ac:picMkLst>
            <pc:docMk/>
            <pc:sldMk cId="2174635582" sldId="303"/>
            <ac:picMk id="5" creationId="{3A85B925-1485-499A-A909-E7CCAD3CC0E2}"/>
          </ac:picMkLst>
        </pc:picChg>
        <pc:picChg chg="mod modCrop">
          <ac:chgData name="Jane Grey" userId="504d9a0c-4e7c-4b2d-8551-edac8360327d" providerId="ADAL" clId="{7DD3708C-2080-DC46-B163-C1A7E5A7CABB}" dt="2021-09-17T15:27:21.544" v="1249" actId="1038"/>
          <ac:picMkLst>
            <pc:docMk/>
            <pc:sldMk cId="2174635582" sldId="303"/>
            <ac:picMk id="6" creationId="{30DBE8A3-8338-4BA5-AA89-55AB73632D94}"/>
          </ac:picMkLst>
        </pc:picChg>
        <pc:picChg chg="mod">
          <ac:chgData name="Jane Grey" userId="504d9a0c-4e7c-4b2d-8551-edac8360327d" providerId="ADAL" clId="{7DD3708C-2080-DC46-B163-C1A7E5A7CABB}" dt="2021-09-17T15:27:21.544" v="1249" actId="1038"/>
          <ac:picMkLst>
            <pc:docMk/>
            <pc:sldMk cId="2174635582" sldId="303"/>
            <ac:picMk id="7" creationId="{71F5D9AF-3733-4107-A777-E9DAD7AFED48}"/>
          </ac:picMkLst>
        </pc:picChg>
        <pc:picChg chg="mod modCrop">
          <ac:chgData name="Jane Grey" userId="504d9a0c-4e7c-4b2d-8551-edac8360327d" providerId="ADAL" clId="{7DD3708C-2080-DC46-B163-C1A7E5A7CABB}" dt="2021-09-17T15:27:21.544" v="1249" actId="1038"/>
          <ac:picMkLst>
            <pc:docMk/>
            <pc:sldMk cId="2174635582" sldId="303"/>
            <ac:picMk id="8" creationId="{0D86BC53-75A5-4061-A870-0FF643EBB155}"/>
          </ac:picMkLst>
        </pc:picChg>
      </pc:sldChg>
      <pc:sldChg chg="modSp">
        <pc:chgData name="Jane Grey" userId="504d9a0c-4e7c-4b2d-8551-edac8360327d" providerId="ADAL" clId="{7DD3708C-2080-DC46-B163-C1A7E5A7CABB}" dt="2021-09-17T15:20:55.676" v="1207" actId="14826"/>
        <pc:sldMkLst>
          <pc:docMk/>
          <pc:sldMk cId="4140930092" sldId="307"/>
        </pc:sldMkLst>
        <pc:spChg chg="mod">
          <ac:chgData name="Jane Grey" userId="504d9a0c-4e7c-4b2d-8551-edac8360327d" providerId="ADAL" clId="{7DD3708C-2080-DC46-B163-C1A7E5A7CABB}" dt="2021-09-17T15:20:55.676" v="1207" actId="14826"/>
          <ac:spMkLst>
            <pc:docMk/>
            <pc:sldMk cId="4140930092" sldId="307"/>
            <ac:spMk id="3" creationId="{2605F0A0-4330-4571-AF9D-3A4E1A2E129D}"/>
          </ac:spMkLst>
        </pc:spChg>
      </pc:sldChg>
      <pc:sldChg chg="modSp mod">
        <pc:chgData name="Jane Grey" userId="504d9a0c-4e7c-4b2d-8551-edac8360327d" providerId="ADAL" clId="{7DD3708C-2080-DC46-B163-C1A7E5A7CABB}" dt="2021-09-17T15:06:40.957" v="997" actId="20577"/>
        <pc:sldMkLst>
          <pc:docMk/>
          <pc:sldMk cId="4230052771" sldId="312"/>
        </pc:sldMkLst>
        <pc:spChg chg="mod">
          <ac:chgData name="Jane Grey" userId="504d9a0c-4e7c-4b2d-8551-edac8360327d" providerId="ADAL" clId="{7DD3708C-2080-DC46-B163-C1A7E5A7CABB}" dt="2021-09-17T15:06:40.957" v="997" actId="20577"/>
          <ac:spMkLst>
            <pc:docMk/>
            <pc:sldMk cId="4230052771" sldId="312"/>
            <ac:spMk id="3" creationId="{EF8D29C2-9601-4FA0-85A1-A59DC14D5369}"/>
          </ac:spMkLst>
        </pc:spChg>
      </pc:sldChg>
      <pc:sldChg chg="add">
        <pc:chgData name="Jane Grey" userId="504d9a0c-4e7c-4b2d-8551-edac8360327d" providerId="ADAL" clId="{7DD3708C-2080-DC46-B163-C1A7E5A7CABB}" dt="2021-09-17T14:43:09.061" v="727"/>
        <pc:sldMkLst>
          <pc:docMk/>
          <pc:sldMk cId="3863051828" sldId="2145707175"/>
        </pc:sldMkLst>
      </pc:sldChg>
      <pc:sldChg chg="addSp delSp modSp mod">
        <pc:chgData name="Jane Grey" userId="504d9a0c-4e7c-4b2d-8551-edac8360327d" providerId="ADAL" clId="{7DD3708C-2080-DC46-B163-C1A7E5A7CABB}" dt="2021-09-17T15:16:13.094" v="1160" actId="14100"/>
        <pc:sldMkLst>
          <pc:docMk/>
          <pc:sldMk cId="2788707397" sldId="2147470239"/>
        </pc:sldMkLst>
        <pc:spChg chg="mod">
          <ac:chgData name="Jane Grey" userId="504d9a0c-4e7c-4b2d-8551-edac8360327d" providerId="ADAL" clId="{7DD3708C-2080-DC46-B163-C1A7E5A7CABB}" dt="2021-09-17T15:14:33.714" v="1123" actId="207"/>
          <ac:spMkLst>
            <pc:docMk/>
            <pc:sldMk cId="2788707397" sldId="2147470239"/>
            <ac:spMk id="7" creationId="{DEAD7014-069B-4B3F-B927-C5376E8C16EB}"/>
          </ac:spMkLst>
        </pc:spChg>
        <pc:spChg chg="mod">
          <ac:chgData name="Jane Grey" userId="504d9a0c-4e7c-4b2d-8551-edac8360327d" providerId="ADAL" clId="{7DD3708C-2080-DC46-B163-C1A7E5A7CABB}" dt="2021-09-17T15:14:26.014" v="1121" actId="207"/>
          <ac:spMkLst>
            <pc:docMk/>
            <pc:sldMk cId="2788707397" sldId="2147470239"/>
            <ac:spMk id="8" creationId="{D7F10D69-7B51-4857-88A1-45E8379A2939}"/>
          </ac:spMkLst>
        </pc:spChg>
        <pc:spChg chg="mod">
          <ac:chgData name="Jane Grey" userId="504d9a0c-4e7c-4b2d-8551-edac8360327d" providerId="ADAL" clId="{7DD3708C-2080-DC46-B163-C1A7E5A7CABB}" dt="2021-09-17T15:15:09.988" v="1137" actId="20577"/>
          <ac:spMkLst>
            <pc:docMk/>
            <pc:sldMk cId="2788707397" sldId="2147470239"/>
            <ac:spMk id="12" creationId="{8BAE031D-9788-41F3-BC62-23508DA746DC}"/>
          </ac:spMkLst>
        </pc:spChg>
        <pc:spChg chg="del">
          <ac:chgData name="Jane Grey" userId="504d9a0c-4e7c-4b2d-8551-edac8360327d" providerId="ADAL" clId="{7DD3708C-2080-DC46-B163-C1A7E5A7CABB}" dt="2021-09-17T15:08:39.660" v="998" actId="478"/>
          <ac:spMkLst>
            <pc:docMk/>
            <pc:sldMk cId="2788707397" sldId="2147470239"/>
            <ac:spMk id="13" creationId="{1FDB5509-1F9A-43A2-8D26-7D3491D561E0}"/>
          </ac:spMkLst>
        </pc:spChg>
        <pc:spChg chg="del">
          <ac:chgData name="Jane Grey" userId="504d9a0c-4e7c-4b2d-8551-edac8360327d" providerId="ADAL" clId="{7DD3708C-2080-DC46-B163-C1A7E5A7CABB}" dt="2021-09-17T15:08:40.562" v="999" actId="478"/>
          <ac:spMkLst>
            <pc:docMk/>
            <pc:sldMk cId="2788707397" sldId="2147470239"/>
            <ac:spMk id="14" creationId="{2727E188-724D-4C67-95C1-7D1BC83AC91E}"/>
          </ac:spMkLst>
        </pc:spChg>
        <pc:cxnChg chg="del mod">
          <ac:chgData name="Jane Grey" userId="504d9a0c-4e7c-4b2d-8551-edac8360327d" providerId="ADAL" clId="{7DD3708C-2080-DC46-B163-C1A7E5A7CABB}" dt="2021-09-17T15:11:43.280" v="1045" actId="478"/>
          <ac:cxnSpMkLst>
            <pc:docMk/>
            <pc:sldMk cId="2788707397" sldId="2147470239"/>
            <ac:cxnSpMk id="3" creationId="{064B037F-4F67-483F-9873-B6590F408920}"/>
          </ac:cxnSpMkLst>
        </pc:cxnChg>
        <pc:cxnChg chg="add del mod">
          <ac:chgData name="Jane Grey" userId="504d9a0c-4e7c-4b2d-8551-edac8360327d" providerId="ADAL" clId="{7DD3708C-2080-DC46-B163-C1A7E5A7CABB}" dt="2021-09-17T15:08:48.827" v="1001" actId="478"/>
          <ac:cxnSpMkLst>
            <pc:docMk/>
            <pc:sldMk cId="2788707397" sldId="2147470239"/>
            <ac:cxnSpMk id="15" creationId="{C8321A75-8F0B-D34A-8FC4-33B5BD701EF0}"/>
          </ac:cxnSpMkLst>
        </pc:cxnChg>
        <pc:cxnChg chg="add mod">
          <ac:chgData name="Jane Grey" userId="504d9a0c-4e7c-4b2d-8551-edac8360327d" providerId="ADAL" clId="{7DD3708C-2080-DC46-B163-C1A7E5A7CABB}" dt="2021-09-17T15:16:13.094" v="1160" actId="14100"/>
          <ac:cxnSpMkLst>
            <pc:docMk/>
            <pc:sldMk cId="2788707397" sldId="2147470239"/>
            <ac:cxnSpMk id="16" creationId="{8462C136-0289-774E-B694-0603F1B18CFB}"/>
          </ac:cxnSpMkLst>
        </pc:cxnChg>
      </pc:sldChg>
    </pc:docChg>
  </pc:docChgLst>
  <pc:docChgLst>
    <pc:chgData name="Amani, Leslie@CDPH" userId="S::leslie.amani@cdph.ca.gov::c0370b36-7f1f-4284-bc9b-092cfc685f39" providerId="AD" clId="Web-{33992936-94C6-4286-91F9-8CC39E762846}"/>
    <pc:docChg chg="addSld modSld">
      <pc:chgData name="Amani, Leslie@CDPH" userId="S::leslie.amani@cdph.ca.gov::c0370b36-7f1f-4284-bc9b-092cfc685f39" providerId="AD" clId="Web-{33992936-94C6-4286-91F9-8CC39E762846}" dt="2021-09-15T16:22:16.829" v="184" actId="20577"/>
      <pc:docMkLst>
        <pc:docMk/>
      </pc:docMkLst>
      <pc:sldChg chg="modSp">
        <pc:chgData name="Amani, Leslie@CDPH" userId="S::leslie.amani@cdph.ca.gov::c0370b36-7f1f-4284-bc9b-092cfc685f39" providerId="AD" clId="Web-{33992936-94C6-4286-91F9-8CC39E762846}" dt="2021-09-15T16:21:00.375" v="173" actId="20577"/>
        <pc:sldMkLst>
          <pc:docMk/>
          <pc:sldMk cId="1614510508" sldId="268"/>
        </pc:sldMkLst>
        <pc:spChg chg="mod">
          <ac:chgData name="Amani, Leslie@CDPH" userId="S::leslie.amani@cdph.ca.gov::c0370b36-7f1f-4284-bc9b-092cfc685f39" providerId="AD" clId="Web-{33992936-94C6-4286-91F9-8CC39E762846}" dt="2021-09-15T16:21:00.375" v="173" actId="20577"/>
          <ac:spMkLst>
            <pc:docMk/>
            <pc:sldMk cId="1614510508" sldId="268"/>
            <ac:spMk id="5" creationId="{25ABA544-A8E4-4D5C-B945-32716DD2B9B5}"/>
          </ac:spMkLst>
        </pc:spChg>
      </pc:sldChg>
      <pc:sldChg chg="modSp">
        <pc:chgData name="Amani, Leslie@CDPH" userId="S::leslie.amani@cdph.ca.gov::c0370b36-7f1f-4284-bc9b-092cfc685f39" providerId="AD" clId="Web-{33992936-94C6-4286-91F9-8CC39E762846}" dt="2021-09-15T16:18:45.169" v="107" actId="1076"/>
        <pc:sldMkLst>
          <pc:docMk/>
          <pc:sldMk cId="4125225148" sldId="275"/>
        </pc:sldMkLst>
        <pc:graphicFrameChg chg="mod modGraphic">
          <ac:chgData name="Amani, Leslie@CDPH" userId="S::leslie.amani@cdph.ca.gov::c0370b36-7f1f-4284-bc9b-092cfc685f39" providerId="AD" clId="Web-{33992936-94C6-4286-91F9-8CC39E762846}" dt="2021-09-15T16:18:45.169" v="107" actId="1076"/>
          <ac:graphicFrameMkLst>
            <pc:docMk/>
            <pc:sldMk cId="4125225148" sldId="275"/>
            <ac:graphicFrameMk id="6" creationId="{44A6AAD5-9887-4918-93B2-FFBC3E600725}"/>
          </ac:graphicFrameMkLst>
        </pc:graphicFrameChg>
      </pc:sldChg>
      <pc:sldChg chg="modSp new">
        <pc:chgData name="Amani, Leslie@CDPH" userId="S::leslie.amani@cdph.ca.gov::c0370b36-7f1f-4284-bc9b-092cfc685f39" providerId="AD" clId="Web-{33992936-94C6-4286-91F9-8CC39E762846}" dt="2021-09-15T16:20:18.874" v="143" actId="20577"/>
        <pc:sldMkLst>
          <pc:docMk/>
          <pc:sldMk cId="2841381135" sldId="283"/>
        </pc:sldMkLst>
        <pc:spChg chg="mod">
          <ac:chgData name="Amani, Leslie@CDPH" userId="S::leslie.amani@cdph.ca.gov::c0370b36-7f1f-4284-bc9b-092cfc685f39" providerId="AD" clId="Web-{33992936-94C6-4286-91F9-8CC39E762846}" dt="2021-09-15T16:19:10.420" v="113" actId="20577"/>
          <ac:spMkLst>
            <pc:docMk/>
            <pc:sldMk cId="2841381135" sldId="283"/>
            <ac:spMk id="2" creationId="{285047DB-94FB-4932-9382-836711A965F4}"/>
          </ac:spMkLst>
        </pc:spChg>
        <pc:spChg chg="mod">
          <ac:chgData name="Amani, Leslie@CDPH" userId="S::leslie.amani@cdph.ca.gov::c0370b36-7f1f-4284-bc9b-092cfc685f39" providerId="AD" clId="Web-{33992936-94C6-4286-91F9-8CC39E762846}" dt="2021-09-15T16:20:18.874" v="143" actId="20577"/>
          <ac:spMkLst>
            <pc:docMk/>
            <pc:sldMk cId="2841381135" sldId="283"/>
            <ac:spMk id="3" creationId="{7F829242-B7DD-41C2-A2ED-097BD684718E}"/>
          </ac:spMkLst>
        </pc:spChg>
      </pc:sldChg>
      <pc:sldChg chg="modSp add replId">
        <pc:chgData name="Amani, Leslie@CDPH" userId="S::leslie.amani@cdph.ca.gov::c0370b36-7f1f-4284-bc9b-092cfc685f39" providerId="AD" clId="Web-{33992936-94C6-4286-91F9-8CC39E762846}" dt="2021-09-15T16:20:54.906" v="163" actId="20577"/>
        <pc:sldMkLst>
          <pc:docMk/>
          <pc:sldMk cId="1946224000" sldId="284"/>
        </pc:sldMkLst>
        <pc:spChg chg="mod">
          <ac:chgData name="Amani, Leslie@CDPH" userId="S::leslie.amani@cdph.ca.gov::c0370b36-7f1f-4284-bc9b-092cfc685f39" providerId="AD" clId="Web-{33992936-94C6-4286-91F9-8CC39E762846}" dt="2021-09-15T16:20:32.327" v="151" actId="20577"/>
          <ac:spMkLst>
            <pc:docMk/>
            <pc:sldMk cId="1946224000" sldId="284"/>
            <ac:spMk id="2" creationId="{285047DB-94FB-4932-9382-836711A965F4}"/>
          </ac:spMkLst>
        </pc:spChg>
        <pc:spChg chg="mod">
          <ac:chgData name="Amani, Leslie@CDPH" userId="S::leslie.amani@cdph.ca.gov::c0370b36-7f1f-4284-bc9b-092cfc685f39" providerId="AD" clId="Web-{33992936-94C6-4286-91F9-8CC39E762846}" dt="2021-09-15T16:20:54.906" v="163" actId="20577"/>
          <ac:spMkLst>
            <pc:docMk/>
            <pc:sldMk cId="1946224000" sldId="284"/>
            <ac:spMk id="3" creationId="{7F829242-B7DD-41C2-A2ED-097BD684718E}"/>
          </ac:spMkLst>
        </pc:spChg>
      </pc:sldChg>
      <pc:sldChg chg="modSp add replId">
        <pc:chgData name="Amani, Leslie@CDPH" userId="S::leslie.amani@cdph.ca.gov::c0370b36-7f1f-4284-bc9b-092cfc685f39" providerId="AD" clId="Web-{33992936-94C6-4286-91F9-8CC39E762846}" dt="2021-09-15T16:22:16.829" v="184" actId="20577"/>
        <pc:sldMkLst>
          <pc:docMk/>
          <pc:sldMk cId="3130087292" sldId="285"/>
        </pc:sldMkLst>
        <pc:spChg chg="mod">
          <ac:chgData name="Amani, Leslie@CDPH" userId="S::leslie.amani@cdph.ca.gov::c0370b36-7f1f-4284-bc9b-092cfc685f39" providerId="AD" clId="Web-{33992936-94C6-4286-91F9-8CC39E762846}" dt="2021-09-15T16:21:14.453" v="176" actId="20577"/>
          <ac:spMkLst>
            <pc:docMk/>
            <pc:sldMk cId="3130087292" sldId="285"/>
            <ac:spMk id="2" creationId="{F505E708-E31D-4FBF-9B88-4C59B2FEB474}"/>
          </ac:spMkLst>
        </pc:spChg>
        <pc:spChg chg="mod">
          <ac:chgData name="Amani, Leslie@CDPH" userId="S::leslie.amani@cdph.ca.gov::c0370b36-7f1f-4284-bc9b-092cfc685f39" providerId="AD" clId="Web-{33992936-94C6-4286-91F9-8CC39E762846}" dt="2021-09-15T16:22:16.829" v="184" actId="20577"/>
          <ac:spMkLst>
            <pc:docMk/>
            <pc:sldMk cId="3130087292" sldId="285"/>
            <ac:spMk id="3" creationId="{B8E45892-66F8-4D01-8926-D13EE2BFA9B7}"/>
          </ac:spMkLst>
        </pc:spChg>
      </pc:sldChg>
    </pc:docChg>
  </pc:docChgLst>
  <pc:docChgLst>
    <pc:chgData name="Park, Tehwan@CDPH" userId="6df11d70-db79-4450-95a2-f758693457c0" providerId="ADAL" clId="{6169B24A-A76D-41F3-8D97-60CDE12F848F}"/>
    <pc:docChg chg="modSld">
      <pc:chgData name="Park, Tehwan@CDPH" userId="6df11d70-db79-4450-95a2-f758693457c0" providerId="ADAL" clId="{6169B24A-A76D-41F3-8D97-60CDE12F848F}" dt="2021-09-16T21:58:34.013" v="17" actId="403"/>
      <pc:docMkLst>
        <pc:docMk/>
      </pc:docMkLst>
      <pc:sldChg chg="modSp mod">
        <pc:chgData name="Park, Tehwan@CDPH" userId="6df11d70-db79-4450-95a2-f758693457c0" providerId="ADAL" clId="{6169B24A-A76D-41F3-8D97-60CDE12F848F}" dt="2021-09-16T21:58:30.683" v="16" actId="403"/>
        <pc:sldMkLst>
          <pc:docMk/>
          <pc:sldMk cId="601865848" sldId="266"/>
        </pc:sldMkLst>
        <pc:spChg chg="mod">
          <ac:chgData name="Park, Tehwan@CDPH" userId="6df11d70-db79-4450-95a2-f758693457c0" providerId="ADAL" clId="{6169B24A-A76D-41F3-8D97-60CDE12F848F}" dt="2021-09-16T21:58:30.683" v="16" actId="403"/>
          <ac:spMkLst>
            <pc:docMk/>
            <pc:sldMk cId="601865848" sldId="266"/>
            <ac:spMk id="2" creationId="{08702DE6-96D9-47F8-A7C8-D6C9DE4A7C97}"/>
          </ac:spMkLst>
        </pc:spChg>
      </pc:sldChg>
      <pc:sldChg chg="modSp mod">
        <pc:chgData name="Park, Tehwan@CDPH" userId="6df11d70-db79-4450-95a2-f758693457c0" providerId="ADAL" clId="{6169B24A-A76D-41F3-8D97-60CDE12F848F}" dt="2021-09-16T21:58:34.013" v="17" actId="403"/>
        <pc:sldMkLst>
          <pc:docMk/>
          <pc:sldMk cId="4209588168" sldId="267"/>
        </pc:sldMkLst>
        <pc:spChg chg="mod">
          <ac:chgData name="Park, Tehwan@CDPH" userId="6df11d70-db79-4450-95a2-f758693457c0" providerId="ADAL" clId="{6169B24A-A76D-41F3-8D97-60CDE12F848F}" dt="2021-09-16T21:58:34.013" v="17" actId="403"/>
          <ac:spMkLst>
            <pc:docMk/>
            <pc:sldMk cId="4209588168" sldId="267"/>
            <ac:spMk id="2" creationId="{08702DE6-96D9-47F8-A7C8-D6C9DE4A7C97}"/>
          </ac:spMkLst>
        </pc:spChg>
      </pc:sldChg>
      <pc:sldChg chg="modSp mod">
        <pc:chgData name="Park, Tehwan@CDPH" userId="6df11d70-db79-4450-95a2-f758693457c0" providerId="ADAL" clId="{6169B24A-A76D-41F3-8D97-60CDE12F848F}" dt="2021-09-16T21:57:46.391" v="8" actId="403"/>
        <pc:sldMkLst>
          <pc:docMk/>
          <pc:sldMk cId="54525121" sldId="304"/>
        </pc:sldMkLst>
        <pc:spChg chg="mod">
          <ac:chgData name="Park, Tehwan@CDPH" userId="6df11d70-db79-4450-95a2-f758693457c0" providerId="ADAL" clId="{6169B24A-A76D-41F3-8D97-60CDE12F848F}" dt="2021-09-16T21:57:46.391" v="8" actId="403"/>
          <ac:spMkLst>
            <pc:docMk/>
            <pc:sldMk cId="54525121" sldId="304"/>
            <ac:spMk id="2" creationId="{08702DE6-96D9-47F8-A7C8-D6C9DE4A7C97}"/>
          </ac:spMkLst>
        </pc:spChg>
        <pc:spChg chg="mod">
          <ac:chgData name="Park, Tehwan@CDPH" userId="6df11d70-db79-4450-95a2-f758693457c0" providerId="ADAL" clId="{6169B24A-A76D-41F3-8D97-60CDE12F848F}" dt="2021-09-16T21:57:44.560" v="7" actId="255"/>
          <ac:spMkLst>
            <pc:docMk/>
            <pc:sldMk cId="54525121" sldId="304"/>
            <ac:spMk id="6" creationId="{4F8539F2-3AFE-40CB-BC81-6D7E3A6983B7}"/>
          </ac:spMkLst>
        </pc:spChg>
      </pc:sldChg>
      <pc:sldChg chg="modSp mod">
        <pc:chgData name="Park, Tehwan@CDPH" userId="6df11d70-db79-4450-95a2-f758693457c0" providerId="ADAL" clId="{6169B24A-A76D-41F3-8D97-60CDE12F848F}" dt="2021-09-16T21:57:54.752" v="9" actId="255"/>
        <pc:sldMkLst>
          <pc:docMk/>
          <pc:sldMk cId="1831303597" sldId="305"/>
        </pc:sldMkLst>
        <pc:spChg chg="mod">
          <ac:chgData name="Park, Tehwan@CDPH" userId="6df11d70-db79-4450-95a2-f758693457c0" providerId="ADAL" clId="{6169B24A-A76D-41F3-8D97-60CDE12F848F}" dt="2021-09-16T21:57:54.752" v="9" actId="255"/>
          <ac:spMkLst>
            <pc:docMk/>
            <pc:sldMk cId="1831303597" sldId="305"/>
            <ac:spMk id="2" creationId="{08702DE6-96D9-47F8-A7C8-D6C9DE4A7C97}"/>
          </ac:spMkLst>
        </pc:spChg>
      </pc:sldChg>
      <pc:sldChg chg="modSp mod">
        <pc:chgData name="Park, Tehwan@CDPH" userId="6df11d70-db79-4450-95a2-f758693457c0" providerId="ADAL" clId="{6169B24A-A76D-41F3-8D97-60CDE12F848F}" dt="2021-09-16T21:58:07.076" v="12" actId="20577"/>
        <pc:sldMkLst>
          <pc:docMk/>
          <pc:sldMk cId="3564522829" sldId="306"/>
        </pc:sldMkLst>
        <pc:spChg chg="mod">
          <ac:chgData name="Park, Tehwan@CDPH" userId="6df11d70-db79-4450-95a2-f758693457c0" providerId="ADAL" clId="{6169B24A-A76D-41F3-8D97-60CDE12F848F}" dt="2021-09-16T21:58:07.076" v="12" actId="20577"/>
          <ac:spMkLst>
            <pc:docMk/>
            <pc:sldMk cId="3564522829" sldId="306"/>
            <ac:spMk id="2" creationId="{08702DE6-96D9-47F8-A7C8-D6C9DE4A7C97}"/>
          </ac:spMkLst>
        </pc:spChg>
      </pc:sldChg>
      <pc:sldChg chg="modSp mod">
        <pc:chgData name="Park, Tehwan@CDPH" userId="6df11d70-db79-4450-95a2-f758693457c0" providerId="ADAL" clId="{6169B24A-A76D-41F3-8D97-60CDE12F848F}" dt="2021-09-16T21:58:12.055" v="13" actId="403"/>
        <pc:sldMkLst>
          <pc:docMk/>
          <pc:sldMk cId="4140930092" sldId="307"/>
        </pc:sldMkLst>
        <pc:spChg chg="mod">
          <ac:chgData name="Park, Tehwan@CDPH" userId="6df11d70-db79-4450-95a2-f758693457c0" providerId="ADAL" clId="{6169B24A-A76D-41F3-8D97-60CDE12F848F}" dt="2021-09-16T21:58:12.055" v="13" actId="403"/>
          <ac:spMkLst>
            <pc:docMk/>
            <pc:sldMk cId="4140930092" sldId="307"/>
            <ac:spMk id="2" creationId="{EAC87BB1-62F3-49AC-9D27-67C9A9935863}"/>
          </ac:spMkLst>
        </pc:spChg>
      </pc:sldChg>
      <pc:sldChg chg="modSp mod">
        <pc:chgData name="Park, Tehwan@CDPH" userId="6df11d70-db79-4450-95a2-f758693457c0" providerId="ADAL" clId="{6169B24A-A76D-41F3-8D97-60CDE12F848F}" dt="2021-09-16T21:58:21.853" v="14" actId="403"/>
        <pc:sldMkLst>
          <pc:docMk/>
          <pc:sldMk cId="1569367784" sldId="308"/>
        </pc:sldMkLst>
        <pc:spChg chg="mod">
          <ac:chgData name="Park, Tehwan@CDPH" userId="6df11d70-db79-4450-95a2-f758693457c0" providerId="ADAL" clId="{6169B24A-A76D-41F3-8D97-60CDE12F848F}" dt="2021-09-16T21:58:21.853" v="14" actId="403"/>
          <ac:spMkLst>
            <pc:docMk/>
            <pc:sldMk cId="1569367784" sldId="308"/>
            <ac:spMk id="2" creationId="{3B235DEC-2830-439A-86CF-71B9DB17961A}"/>
          </ac:spMkLst>
        </pc:spChg>
      </pc:sldChg>
      <pc:sldChg chg="modSp mod">
        <pc:chgData name="Park, Tehwan@CDPH" userId="6df11d70-db79-4450-95a2-f758693457c0" providerId="ADAL" clId="{6169B24A-A76D-41F3-8D97-60CDE12F848F}" dt="2021-09-16T21:58:26.013" v="15" actId="403"/>
        <pc:sldMkLst>
          <pc:docMk/>
          <pc:sldMk cId="1877258830" sldId="309"/>
        </pc:sldMkLst>
        <pc:spChg chg="mod">
          <ac:chgData name="Park, Tehwan@CDPH" userId="6df11d70-db79-4450-95a2-f758693457c0" providerId="ADAL" clId="{6169B24A-A76D-41F3-8D97-60CDE12F848F}" dt="2021-09-16T21:58:26.013" v="15" actId="403"/>
          <ac:spMkLst>
            <pc:docMk/>
            <pc:sldMk cId="1877258830" sldId="309"/>
            <ac:spMk id="2" creationId="{08702DE6-96D9-47F8-A7C8-D6C9DE4A7C97}"/>
          </ac:spMkLst>
        </pc:spChg>
      </pc:sldChg>
    </pc:docChg>
  </pc:docChgLst>
  <pc:docChgLst>
    <pc:chgData name="Park, Tehwan@CDPH" userId="S::tehwan.park@cdph.ca.gov::6df11d70-db79-4450-95a2-f758693457c0" providerId="AD" clId="Web-{08FC6386-1548-2018-CA2F-199C2828E4A1}"/>
    <pc:docChg chg="addSld">
      <pc:chgData name="Park, Tehwan@CDPH" userId="S::tehwan.park@cdph.ca.gov::6df11d70-db79-4450-95a2-f758693457c0" providerId="AD" clId="Web-{08FC6386-1548-2018-CA2F-199C2828E4A1}" dt="2021-09-15T16:25:10.799" v="5"/>
      <pc:docMkLst>
        <pc:docMk/>
      </pc:docMkLst>
      <pc:sldChg chg="add">
        <pc:chgData name="Park, Tehwan@CDPH" userId="S::tehwan.park@cdph.ca.gov::6df11d70-db79-4450-95a2-f758693457c0" providerId="AD" clId="Web-{08FC6386-1548-2018-CA2F-199C2828E4A1}" dt="2021-09-15T16:07:34.423" v="0"/>
        <pc:sldMkLst>
          <pc:docMk/>
          <pc:sldMk cId="1667778602" sldId="279"/>
        </pc:sldMkLst>
      </pc:sldChg>
      <pc:sldChg chg="add">
        <pc:chgData name="Park, Tehwan@CDPH" userId="S::tehwan.park@cdph.ca.gov::6df11d70-db79-4450-95a2-f758693457c0" providerId="AD" clId="Web-{08FC6386-1548-2018-CA2F-199C2828E4A1}" dt="2021-09-15T16:09:23.487" v="1"/>
        <pc:sldMkLst>
          <pc:docMk/>
          <pc:sldMk cId="822188115" sldId="280"/>
        </pc:sldMkLst>
      </pc:sldChg>
      <pc:sldChg chg="add">
        <pc:chgData name="Park, Tehwan@CDPH" userId="S::tehwan.park@cdph.ca.gov::6df11d70-db79-4450-95a2-f758693457c0" providerId="AD" clId="Web-{08FC6386-1548-2018-CA2F-199C2828E4A1}" dt="2021-09-15T16:09:23.909" v="2"/>
        <pc:sldMkLst>
          <pc:docMk/>
          <pc:sldMk cId="2961403137" sldId="281"/>
        </pc:sldMkLst>
      </pc:sldChg>
      <pc:sldChg chg="add">
        <pc:chgData name="Park, Tehwan@CDPH" userId="S::tehwan.park@cdph.ca.gov::6df11d70-db79-4450-95a2-f758693457c0" providerId="AD" clId="Web-{08FC6386-1548-2018-CA2F-199C2828E4A1}" dt="2021-09-15T16:09:24.378" v="3"/>
        <pc:sldMkLst>
          <pc:docMk/>
          <pc:sldMk cId="1846767743" sldId="282"/>
        </pc:sldMkLst>
      </pc:sldChg>
      <pc:sldChg chg="add">
        <pc:chgData name="Park, Tehwan@CDPH" userId="S::tehwan.park@cdph.ca.gov::6df11d70-db79-4450-95a2-f758693457c0" providerId="AD" clId="Web-{08FC6386-1548-2018-CA2F-199C2828E4A1}" dt="2021-09-15T16:25:10.518" v="4"/>
        <pc:sldMkLst>
          <pc:docMk/>
          <pc:sldMk cId="1106844182" sldId="286"/>
        </pc:sldMkLst>
      </pc:sldChg>
      <pc:sldChg chg="add">
        <pc:chgData name="Park, Tehwan@CDPH" userId="S::tehwan.park@cdph.ca.gov::6df11d70-db79-4450-95a2-f758693457c0" providerId="AD" clId="Web-{08FC6386-1548-2018-CA2F-199C2828E4A1}" dt="2021-09-15T16:25:10.799" v="5"/>
        <pc:sldMkLst>
          <pc:docMk/>
          <pc:sldMk cId="57925094" sldId="287"/>
        </pc:sldMkLst>
      </pc:sldChg>
      <pc:sldMasterChg chg="addSldLayout">
        <pc:chgData name="Park, Tehwan@CDPH" userId="S::tehwan.park@cdph.ca.gov::6df11d70-db79-4450-95a2-f758693457c0" providerId="AD" clId="Web-{08FC6386-1548-2018-CA2F-199C2828E4A1}" dt="2021-09-15T16:07:34.423" v="0"/>
        <pc:sldMasterMkLst>
          <pc:docMk/>
          <pc:sldMasterMk cId="288465238" sldId="2147484263"/>
        </pc:sldMasterMkLst>
        <pc:sldLayoutChg chg="add">
          <pc:chgData name="Park, Tehwan@CDPH" userId="S::tehwan.park@cdph.ca.gov::6df11d70-db79-4450-95a2-f758693457c0" providerId="AD" clId="Web-{08FC6386-1548-2018-CA2F-199C2828E4A1}" dt="2021-09-15T16:07:34.423" v="0"/>
          <pc:sldLayoutMkLst>
            <pc:docMk/>
            <pc:sldMasterMk cId="288465238" sldId="2147484263"/>
            <pc:sldLayoutMk cId="771885406" sldId="2147484159"/>
          </pc:sldLayoutMkLst>
        </pc:sldLayoutChg>
        <pc:sldLayoutChg chg="add">
          <pc:chgData name="Park, Tehwan@CDPH" userId="S::tehwan.park@cdph.ca.gov::6df11d70-db79-4450-95a2-f758693457c0" providerId="AD" clId="Web-{08FC6386-1548-2018-CA2F-199C2828E4A1}" dt="2021-09-15T16:07:34.423" v="0"/>
          <pc:sldLayoutMkLst>
            <pc:docMk/>
            <pc:sldMasterMk cId="288465238" sldId="2147484263"/>
            <pc:sldLayoutMk cId="1920907966" sldId="2147484162"/>
          </pc:sldLayoutMkLst>
        </pc:sldLayoutChg>
        <pc:sldLayoutChg chg="add">
          <pc:chgData name="Park, Tehwan@CDPH" userId="S::tehwan.park@cdph.ca.gov::6df11d70-db79-4450-95a2-f758693457c0" providerId="AD" clId="Web-{08FC6386-1548-2018-CA2F-199C2828E4A1}" dt="2021-09-15T16:07:34.423" v="0"/>
          <pc:sldLayoutMkLst>
            <pc:docMk/>
            <pc:sldMasterMk cId="288465238" sldId="2147484263"/>
            <pc:sldLayoutMk cId="771885406" sldId="2147484267"/>
          </pc:sldLayoutMkLst>
        </pc:sldLayoutChg>
        <pc:sldLayoutChg chg="add">
          <pc:chgData name="Park, Tehwan@CDPH" userId="S::tehwan.park@cdph.ca.gov::6df11d70-db79-4450-95a2-f758693457c0" providerId="AD" clId="Web-{08FC6386-1548-2018-CA2F-199C2828E4A1}" dt="2021-09-15T16:07:34.423" v="0"/>
          <pc:sldLayoutMkLst>
            <pc:docMk/>
            <pc:sldMasterMk cId="288465238" sldId="2147484263"/>
            <pc:sldLayoutMk cId="771885406" sldId="2147485806"/>
          </pc:sldLayoutMkLst>
        </pc:sldLayoutChg>
      </pc:sldMasterChg>
    </pc:docChg>
  </pc:docChgLst>
  <pc:docChgLst>
    <pc:chgData name="Amani, Leslie@CDPH" userId="S::leslie.amani@cdph.ca.gov::c0370b36-7f1f-4284-bc9b-092cfc685f39" providerId="AD" clId="Web-{2F181AB3-E970-99A8-18CF-6AC6B42CE100}"/>
    <pc:docChg chg="addSld delSld modSld sldOrd">
      <pc:chgData name="Amani, Leslie@CDPH" userId="S::leslie.amani@cdph.ca.gov::c0370b36-7f1f-4284-bc9b-092cfc685f39" providerId="AD" clId="Web-{2F181AB3-E970-99A8-18CF-6AC6B42CE100}" dt="2021-09-17T00:53:46.885" v="197" actId="20577"/>
      <pc:docMkLst>
        <pc:docMk/>
      </pc:docMkLst>
      <pc:sldChg chg="modSp">
        <pc:chgData name="Amani, Leslie@CDPH" userId="S::leslie.amani@cdph.ca.gov::c0370b36-7f1f-4284-bc9b-092cfc685f39" providerId="AD" clId="Web-{2F181AB3-E970-99A8-18CF-6AC6B42CE100}" dt="2021-09-17T00:34:27.856" v="169" actId="1076"/>
        <pc:sldMkLst>
          <pc:docMk/>
          <pc:sldMk cId="3798204517" sldId="265"/>
        </pc:sldMkLst>
        <pc:spChg chg="mod">
          <ac:chgData name="Amani, Leslie@CDPH" userId="S::leslie.amani@cdph.ca.gov::c0370b36-7f1f-4284-bc9b-092cfc685f39" providerId="AD" clId="Web-{2F181AB3-E970-99A8-18CF-6AC6B42CE100}" dt="2021-09-17T00:34:27.856" v="169" actId="1076"/>
          <ac:spMkLst>
            <pc:docMk/>
            <pc:sldMk cId="3798204517" sldId="265"/>
            <ac:spMk id="5" creationId="{25ABA544-A8E4-4D5C-B945-32716DD2B9B5}"/>
          </ac:spMkLst>
        </pc:spChg>
        <pc:spChg chg="mod">
          <ac:chgData name="Amani, Leslie@CDPH" userId="S::leslie.amani@cdph.ca.gov::c0370b36-7f1f-4284-bc9b-092cfc685f39" providerId="AD" clId="Web-{2F181AB3-E970-99A8-18CF-6AC6B42CE100}" dt="2021-09-17T00:34:22.575" v="168" actId="1076"/>
          <ac:spMkLst>
            <pc:docMk/>
            <pc:sldMk cId="3798204517" sldId="265"/>
            <ac:spMk id="6" creationId="{0777E6C7-59EE-4123-ADD8-BF83FC6CD4EF}"/>
          </ac:spMkLst>
        </pc:spChg>
      </pc:sldChg>
      <pc:sldChg chg="ord">
        <pc:chgData name="Amani, Leslie@CDPH" userId="S::leslie.amani@cdph.ca.gov::c0370b36-7f1f-4284-bc9b-092cfc685f39" providerId="AD" clId="Web-{2F181AB3-E970-99A8-18CF-6AC6B42CE100}" dt="2021-09-16T02:47:25.956" v="41"/>
        <pc:sldMkLst>
          <pc:docMk/>
          <pc:sldMk cId="4062010431" sldId="269"/>
        </pc:sldMkLst>
      </pc:sldChg>
      <pc:sldChg chg="modSp">
        <pc:chgData name="Amani, Leslie@CDPH" userId="S::leslie.amani@cdph.ca.gov::c0370b36-7f1f-4284-bc9b-092cfc685f39" providerId="AD" clId="Web-{2F181AB3-E970-99A8-18CF-6AC6B42CE100}" dt="2021-09-17T00:43:04.870" v="171"/>
        <pc:sldMkLst>
          <pc:docMk/>
          <pc:sldMk cId="4125225148" sldId="275"/>
        </pc:sldMkLst>
        <pc:graphicFrameChg chg="mod modGraphic">
          <ac:chgData name="Amani, Leslie@CDPH" userId="S::leslie.amani@cdph.ca.gov::c0370b36-7f1f-4284-bc9b-092cfc685f39" providerId="AD" clId="Web-{2F181AB3-E970-99A8-18CF-6AC6B42CE100}" dt="2021-09-17T00:43:04.870" v="171"/>
          <ac:graphicFrameMkLst>
            <pc:docMk/>
            <pc:sldMk cId="4125225148" sldId="275"/>
            <ac:graphicFrameMk id="6" creationId="{44A6AAD5-9887-4918-93B2-FFBC3E600725}"/>
          </ac:graphicFrameMkLst>
        </pc:graphicFrameChg>
      </pc:sldChg>
      <pc:sldChg chg="modSp ord">
        <pc:chgData name="Amani, Leslie@CDPH" userId="S::leslie.amani@cdph.ca.gov::c0370b36-7f1f-4284-bc9b-092cfc685f39" providerId="AD" clId="Web-{2F181AB3-E970-99A8-18CF-6AC6B42CE100}" dt="2021-09-17T00:52:48.994" v="181"/>
        <pc:sldMkLst>
          <pc:docMk/>
          <pc:sldMk cId="1667778602" sldId="279"/>
        </pc:sldMkLst>
        <pc:spChg chg="mod">
          <ac:chgData name="Amani, Leslie@CDPH" userId="S::leslie.amani@cdph.ca.gov::c0370b36-7f1f-4284-bc9b-092cfc685f39" providerId="AD" clId="Web-{2F181AB3-E970-99A8-18CF-6AC6B42CE100}" dt="2021-09-16T23:46:18.125" v="139" actId="1076"/>
          <ac:spMkLst>
            <pc:docMk/>
            <pc:sldMk cId="1667778602" sldId="279"/>
            <ac:spMk id="3" creationId="{BA824B1D-033B-4489-A384-0B2995D89A31}"/>
          </ac:spMkLst>
        </pc:spChg>
        <pc:picChg chg="mod">
          <ac:chgData name="Amani, Leslie@CDPH" userId="S::leslie.amani@cdph.ca.gov::c0370b36-7f1f-4284-bc9b-092cfc685f39" providerId="AD" clId="Web-{2F181AB3-E970-99A8-18CF-6AC6B42CE100}" dt="2021-09-16T23:46:21.016" v="140" actId="1076"/>
          <ac:picMkLst>
            <pc:docMk/>
            <pc:sldMk cId="1667778602" sldId="279"/>
            <ac:picMk id="653314" creationId="{72C822DF-EE5A-5047-BF00-E63550E84B9E}"/>
          </ac:picMkLst>
        </pc:picChg>
        <pc:picChg chg="mod">
          <ac:chgData name="Amani, Leslie@CDPH" userId="S::leslie.amani@cdph.ca.gov::c0370b36-7f1f-4284-bc9b-092cfc685f39" providerId="AD" clId="Web-{2F181AB3-E970-99A8-18CF-6AC6B42CE100}" dt="2021-09-16T23:46:24.203" v="141" actId="1076"/>
          <ac:picMkLst>
            <pc:docMk/>
            <pc:sldMk cId="1667778602" sldId="279"/>
            <ac:picMk id="653316" creationId="{3F43EF3F-EE3F-2244-A95A-68C0F7F0426E}"/>
          </ac:picMkLst>
        </pc:picChg>
      </pc:sldChg>
      <pc:sldChg chg="modSp ord">
        <pc:chgData name="Amani, Leslie@CDPH" userId="S::leslie.amani@cdph.ca.gov::c0370b36-7f1f-4284-bc9b-092cfc685f39" providerId="AD" clId="Web-{2F181AB3-E970-99A8-18CF-6AC6B42CE100}" dt="2021-09-17T00:52:51.244" v="182"/>
        <pc:sldMkLst>
          <pc:docMk/>
          <pc:sldMk cId="2841381135" sldId="283"/>
        </pc:sldMkLst>
        <pc:spChg chg="mod">
          <ac:chgData name="Amani, Leslie@CDPH" userId="S::leslie.amani@cdph.ca.gov::c0370b36-7f1f-4284-bc9b-092cfc685f39" providerId="AD" clId="Web-{2F181AB3-E970-99A8-18CF-6AC6B42CE100}" dt="2021-09-16T23:44:05.629" v="134" actId="20577"/>
          <ac:spMkLst>
            <pc:docMk/>
            <pc:sldMk cId="2841381135" sldId="283"/>
            <ac:spMk id="2" creationId="{285047DB-94FB-4932-9382-836711A965F4}"/>
          </ac:spMkLst>
        </pc:spChg>
        <pc:spChg chg="mod">
          <ac:chgData name="Amani, Leslie@CDPH" userId="S::leslie.amani@cdph.ca.gov::c0370b36-7f1f-4284-bc9b-092cfc685f39" providerId="AD" clId="Web-{2F181AB3-E970-99A8-18CF-6AC6B42CE100}" dt="2021-09-17T00:48:37.864" v="177" actId="20577"/>
          <ac:spMkLst>
            <pc:docMk/>
            <pc:sldMk cId="2841381135" sldId="283"/>
            <ac:spMk id="3" creationId="{7F829242-B7DD-41C2-A2ED-097BD684718E}"/>
          </ac:spMkLst>
        </pc:spChg>
      </pc:sldChg>
      <pc:sldChg chg="modSp">
        <pc:chgData name="Amani, Leslie@CDPH" userId="S::leslie.amani@cdph.ca.gov::c0370b36-7f1f-4284-bc9b-092cfc685f39" providerId="AD" clId="Web-{2F181AB3-E970-99A8-18CF-6AC6B42CE100}" dt="2021-09-16T02:48:55.067" v="50" actId="20577"/>
        <pc:sldMkLst>
          <pc:docMk/>
          <pc:sldMk cId="3130087292" sldId="285"/>
        </pc:sldMkLst>
        <pc:spChg chg="mod">
          <ac:chgData name="Amani, Leslie@CDPH" userId="S::leslie.amani@cdph.ca.gov::c0370b36-7f1f-4284-bc9b-092cfc685f39" providerId="AD" clId="Web-{2F181AB3-E970-99A8-18CF-6AC6B42CE100}" dt="2021-09-16T02:48:55.067" v="50" actId="20577"/>
          <ac:spMkLst>
            <pc:docMk/>
            <pc:sldMk cId="3130087292" sldId="285"/>
            <ac:spMk id="2" creationId="{F505E708-E31D-4FBF-9B88-4C59B2FEB474}"/>
          </ac:spMkLst>
        </pc:spChg>
      </pc:sldChg>
      <pc:sldChg chg="delSp modSp">
        <pc:chgData name="Amani, Leslie@CDPH" userId="S::leslie.amani@cdph.ca.gov::c0370b36-7f1f-4284-bc9b-092cfc685f39" providerId="AD" clId="Web-{2F181AB3-E970-99A8-18CF-6AC6B42CE100}" dt="2021-09-16T02:47:25.690" v="39"/>
        <pc:sldMkLst>
          <pc:docMk/>
          <pc:sldMk cId="1106844182" sldId="286"/>
        </pc:sldMkLst>
        <pc:spChg chg="mod">
          <ac:chgData name="Amani, Leslie@CDPH" userId="S::leslie.amani@cdph.ca.gov::c0370b36-7f1f-4284-bc9b-092cfc685f39" providerId="AD" clId="Web-{2F181AB3-E970-99A8-18CF-6AC6B42CE100}" dt="2021-09-16T02:47:06.314" v="37" actId="20577"/>
          <ac:spMkLst>
            <pc:docMk/>
            <pc:sldMk cId="1106844182" sldId="286"/>
            <ac:spMk id="6" creationId="{2897A85A-F416-4D58-8A07-6CD3CA52E078}"/>
          </ac:spMkLst>
        </pc:spChg>
        <pc:picChg chg="del">
          <ac:chgData name="Amani, Leslie@CDPH" userId="S::leslie.amani@cdph.ca.gov::c0370b36-7f1f-4284-bc9b-092cfc685f39" providerId="AD" clId="Web-{2F181AB3-E970-99A8-18CF-6AC6B42CE100}" dt="2021-09-16T02:47:25.659" v="38"/>
          <ac:picMkLst>
            <pc:docMk/>
            <pc:sldMk cId="1106844182" sldId="286"/>
            <ac:picMk id="16" creationId="{6EA1ED25-2491-45A1-83A0-2EC7639ECF19}"/>
          </ac:picMkLst>
        </pc:picChg>
        <pc:picChg chg="del">
          <ac:chgData name="Amani, Leslie@CDPH" userId="S::leslie.amani@cdph.ca.gov::c0370b36-7f1f-4284-bc9b-092cfc685f39" providerId="AD" clId="Web-{2F181AB3-E970-99A8-18CF-6AC6B42CE100}" dt="2021-09-16T02:47:25.690" v="39"/>
          <ac:picMkLst>
            <pc:docMk/>
            <pc:sldMk cId="1106844182" sldId="286"/>
            <ac:picMk id="18" creationId="{DE5A1B3D-22BD-4819-A6F0-A8AA81405969}"/>
          </ac:picMkLst>
        </pc:picChg>
      </pc:sldChg>
      <pc:sldChg chg="modSp">
        <pc:chgData name="Amani, Leslie@CDPH" userId="S::leslie.amani@cdph.ca.gov::c0370b36-7f1f-4284-bc9b-092cfc685f39" providerId="AD" clId="Web-{2F181AB3-E970-99A8-18CF-6AC6B42CE100}" dt="2021-09-16T23:37:34.597" v="121" actId="1076"/>
        <pc:sldMkLst>
          <pc:docMk/>
          <pc:sldMk cId="57925094" sldId="287"/>
        </pc:sldMkLst>
        <pc:spChg chg="mod">
          <ac:chgData name="Amani, Leslie@CDPH" userId="S::leslie.amani@cdph.ca.gov::c0370b36-7f1f-4284-bc9b-092cfc685f39" providerId="AD" clId="Web-{2F181AB3-E970-99A8-18CF-6AC6B42CE100}" dt="2021-09-16T23:37:34.597" v="121" actId="1076"/>
          <ac:spMkLst>
            <pc:docMk/>
            <pc:sldMk cId="57925094" sldId="287"/>
            <ac:spMk id="11" creationId="{CC5CB989-452D-416C-9916-871C245B1F2C}"/>
          </ac:spMkLst>
        </pc:spChg>
        <pc:spChg chg="mod">
          <ac:chgData name="Amani, Leslie@CDPH" userId="S::leslie.amani@cdph.ca.gov::c0370b36-7f1f-4284-bc9b-092cfc685f39" providerId="AD" clId="Web-{2F181AB3-E970-99A8-18CF-6AC6B42CE100}" dt="2021-09-16T23:37:19.439" v="120" actId="1076"/>
          <ac:spMkLst>
            <pc:docMk/>
            <pc:sldMk cId="57925094" sldId="287"/>
            <ac:spMk id="12" creationId="{6DADFDF6-49AE-4DDF-8E8F-7E3FE42D5265}"/>
          </ac:spMkLst>
        </pc:spChg>
      </pc:sldChg>
      <pc:sldChg chg="del">
        <pc:chgData name="Amani, Leslie@CDPH" userId="S::leslie.amani@cdph.ca.gov::c0370b36-7f1f-4284-bc9b-092cfc685f39" providerId="AD" clId="Web-{2F181AB3-E970-99A8-18CF-6AC6B42CE100}" dt="2021-09-16T23:47:02.925" v="142"/>
        <pc:sldMkLst>
          <pc:docMk/>
          <pc:sldMk cId="4154666959" sldId="288"/>
        </pc:sldMkLst>
      </pc:sldChg>
      <pc:sldChg chg="addSp modSp new">
        <pc:chgData name="Amani, Leslie@CDPH" userId="S::leslie.amani@cdph.ca.gov::c0370b36-7f1f-4284-bc9b-092cfc685f39" providerId="AD" clId="Web-{2F181AB3-E970-99A8-18CF-6AC6B42CE100}" dt="2021-09-17T00:53:46.885" v="197" actId="20577"/>
        <pc:sldMkLst>
          <pc:docMk/>
          <pc:sldMk cId="804668004" sldId="293"/>
        </pc:sldMkLst>
        <pc:spChg chg="mod">
          <ac:chgData name="Amani, Leslie@CDPH" userId="S::leslie.amani@cdph.ca.gov::c0370b36-7f1f-4284-bc9b-092cfc685f39" providerId="AD" clId="Web-{2F181AB3-E970-99A8-18CF-6AC6B42CE100}" dt="2021-09-16T18:31:43.991" v="84" actId="1076"/>
          <ac:spMkLst>
            <pc:docMk/>
            <pc:sldMk cId="804668004" sldId="293"/>
            <ac:spMk id="2" creationId="{0D701DB2-2493-4E24-9734-3F3DFDE81520}"/>
          </ac:spMkLst>
        </pc:spChg>
        <pc:spChg chg="mod">
          <ac:chgData name="Amani, Leslie@CDPH" userId="S::leslie.amani@cdph.ca.gov::c0370b36-7f1f-4284-bc9b-092cfc685f39" providerId="AD" clId="Web-{2F181AB3-E970-99A8-18CF-6AC6B42CE100}" dt="2021-09-17T00:53:46.885" v="197" actId="20577"/>
          <ac:spMkLst>
            <pc:docMk/>
            <pc:sldMk cId="804668004" sldId="293"/>
            <ac:spMk id="3" creationId="{2A68B2A1-8F93-481A-AEB8-65A35F8FF00A}"/>
          </ac:spMkLst>
        </pc:spChg>
        <pc:picChg chg="add mod">
          <ac:chgData name="Amani, Leslie@CDPH" userId="S::leslie.amani@cdph.ca.gov::c0370b36-7f1f-4284-bc9b-092cfc685f39" providerId="AD" clId="Web-{2F181AB3-E970-99A8-18CF-6AC6B42CE100}" dt="2021-09-17T00:53:02.791" v="184" actId="1076"/>
          <ac:picMkLst>
            <pc:docMk/>
            <pc:sldMk cId="804668004" sldId="293"/>
            <ac:picMk id="5" creationId="{FF13AA77-BED5-45A9-8EDF-7F96D743E74B}"/>
          </ac:picMkLst>
        </pc:picChg>
      </pc:sldChg>
      <pc:sldChg chg="modSp">
        <pc:chgData name="Amani, Leslie@CDPH" userId="S::leslie.amani@cdph.ca.gov::c0370b36-7f1f-4284-bc9b-092cfc685f39" providerId="AD" clId="Web-{2F181AB3-E970-99A8-18CF-6AC6B42CE100}" dt="2021-09-17T00:49:50.412" v="178" actId="20577"/>
        <pc:sldMkLst>
          <pc:docMk/>
          <pc:sldMk cId="2823914584" sldId="294"/>
        </pc:sldMkLst>
        <pc:spChg chg="mod">
          <ac:chgData name="Amani, Leslie@CDPH" userId="S::leslie.amani@cdph.ca.gov::c0370b36-7f1f-4284-bc9b-092cfc685f39" providerId="AD" clId="Web-{2F181AB3-E970-99A8-18CF-6AC6B42CE100}" dt="2021-09-17T00:49:50.412" v="178" actId="20577"/>
          <ac:spMkLst>
            <pc:docMk/>
            <pc:sldMk cId="2823914584" sldId="294"/>
            <ac:spMk id="3" creationId="{34BAC57B-B1FD-46AE-9030-531D7FF5EEF0}"/>
          </ac:spMkLst>
        </pc:spChg>
      </pc:sldChg>
      <pc:sldChg chg="modSp ord">
        <pc:chgData name="Amani, Leslie@CDPH" userId="S::leslie.amani@cdph.ca.gov::c0370b36-7f1f-4284-bc9b-092cfc685f39" providerId="AD" clId="Web-{2F181AB3-E970-99A8-18CF-6AC6B42CE100}" dt="2021-09-17T00:52:48.259" v="180"/>
        <pc:sldMkLst>
          <pc:docMk/>
          <pc:sldMk cId="3149399661" sldId="295"/>
        </pc:sldMkLst>
        <pc:spChg chg="mod">
          <ac:chgData name="Amani, Leslie@CDPH" userId="S::leslie.amani@cdph.ca.gov::c0370b36-7f1f-4284-bc9b-092cfc685f39" providerId="AD" clId="Web-{2F181AB3-E970-99A8-18CF-6AC6B42CE100}" dt="2021-09-16T23:45:13.197" v="136" actId="20577"/>
          <ac:spMkLst>
            <pc:docMk/>
            <pc:sldMk cId="3149399661" sldId="295"/>
            <ac:spMk id="2" creationId="{83D20857-4429-40A5-9EF3-86D3042CBBE1}"/>
          </ac:spMkLst>
        </pc:spChg>
        <pc:spChg chg="mod">
          <ac:chgData name="Amani, Leslie@CDPH" userId="S::leslie.amani@cdph.ca.gov::c0370b36-7f1f-4284-bc9b-092cfc685f39" providerId="AD" clId="Web-{2F181AB3-E970-99A8-18CF-6AC6B42CE100}" dt="2021-09-17T00:48:27.598" v="176" actId="20577"/>
          <ac:spMkLst>
            <pc:docMk/>
            <pc:sldMk cId="3149399661" sldId="295"/>
            <ac:spMk id="3" creationId="{34BAC57B-B1FD-46AE-9030-531D7FF5EEF0}"/>
          </ac:spMkLst>
        </pc:spChg>
      </pc:sldChg>
      <pc:sldChg chg="ord">
        <pc:chgData name="Amani, Leslie@CDPH" userId="S::leslie.amani@cdph.ca.gov::c0370b36-7f1f-4284-bc9b-092cfc685f39" providerId="AD" clId="Web-{2F181AB3-E970-99A8-18CF-6AC6B42CE100}" dt="2021-09-17T00:29:15.767" v="167"/>
        <pc:sldMkLst>
          <pc:docMk/>
          <pc:sldMk cId="1877258830" sldId="309"/>
        </pc:sldMkLst>
      </pc:sldChg>
      <pc:sldChg chg="ord">
        <pc:chgData name="Amani, Leslie@CDPH" userId="S::leslie.amani@cdph.ca.gov::c0370b36-7f1f-4284-bc9b-092cfc685f39" providerId="AD" clId="Web-{2F181AB3-E970-99A8-18CF-6AC6B42CE100}" dt="2021-09-17T00:52:25.899" v="179"/>
        <pc:sldMkLst>
          <pc:docMk/>
          <pc:sldMk cId="4230052771" sldId="312"/>
        </pc:sldMkLst>
      </pc:sldChg>
    </pc:docChg>
  </pc:docChgLst>
</pc:chgInfo>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58303464755076E-3"/>
          <c:y val="3.9513677811550151E-2"/>
          <c:w val="0.98446833930704902"/>
          <c:h val="0.92097264437689974"/>
        </c:manualLayout>
      </c:layout>
      <c:areaChart>
        <c:grouping val="stacked"/>
        <c:varyColors val="0"/>
        <c:ser>
          <c:idx val="0"/>
          <c:order val="0"/>
          <c:spPr>
            <a:solidFill>
              <a:schemeClr val="accent2"/>
            </a:solidFill>
            <a:ln>
              <a:noFill/>
            </a:ln>
          </c:spPr>
          <c:val>
            <c:numRef>
              <c:f>Sheet1!$A$1:$ABS$1</c:f>
              <c:numCache>
                <c:formatCode>General</c:formatCode>
                <c:ptCount val="747"/>
                <c:pt idx="0">
                  <c:v>1158</c:v>
                </c:pt>
                <c:pt idx="1">
                  <c:v>4867.5</c:v>
                </c:pt>
                <c:pt idx="2">
                  <c:v>12068</c:v>
                </c:pt>
                <c:pt idx="3">
                  <c:v>20268.75</c:v>
                </c:pt>
                <c:pt idx="4">
                  <c:v>21179.4</c:v>
                </c:pt>
                <c:pt idx="5">
                  <c:v>20768</c:v>
                </c:pt>
                <c:pt idx="6">
                  <c:v>24769.142857142859</c:v>
                </c:pt>
                <c:pt idx="7">
                  <c:v>31581</c:v>
                </c:pt>
                <c:pt idx="8">
                  <c:v>37277.714285714283</c:v>
                </c:pt>
                <c:pt idx="9">
                  <c:v>36774.571428571428</c:v>
                </c:pt>
                <c:pt idx="10">
                  <c:v>30674.714285714286</c:v>
                </c:pt>
                <c:pt idx="11">
                  <c:v>29137.285714285714</c:v>
                </c:pt>
                <c:pt idx="12">
                  <c:v>27762.857142857141</c:v>
                </c:pt>
                <c:pt idx="13">
                  <c:v>26935.571428571428</c:v>
                </c:pt>
                <c:pt idx="14">
                  <c:v>26721.428571428572</c:v>
                </c:pt>
                <c:pt idx="15">
                  <c:v>27892.857142857141</c:v>
                </c:pt>
                <c:pt idx="16">
                  <c:v>28503.428571428572</c:v>
                </c:pt>
                <c:pt idx="17">
                  <c:v>28744</c:v>
                </c:pt>
                <c:pt idx="18">
                  <c:v>28993.428571428572</c:v>
                </c:pt>
                <c:pt idx="19">
                  <c:v>28496.571428571428</c:v>
                </c:pt>
                <c:pt idx="20">
                  <c:v>27780.571428571428</c:v>
                </c:pt>
                <c:pt idx="21">
                  <c:v>28130.857142857141</c:v>
                </c:pt>
                <c:pt idx="22">
                  <c:v>29546.857142857141</c:v>
                </c:pt>
                <c:pt idx="23">
                  <c:v>37769.714285714283</c:v>
                </c:pt>
                <c:pt idx="24">
                  <c:v>51390.571428571428</c:v>
                </c:pt>
                <c:pt idx="25">
                  <c:v>54948.285714285717</c:v>
                </c:pt>
                <c:pt idx="26">
                  <c:v>57306.714285714283</c:v>
                </c:pt>
                <c:pt idx="27">
                  <c:v>64864.142857142855</c:v>
                </c:pt>
                <c:pt idx="28">
                  <c:v>71840.71428571429</c:v>
                </c:pt>
                <c:pt idx="29">
                  <c:v>76390</c:v>
                </c:pt>
                <c:pt idx="30">
                  <c:v>77683</c:v>
                </c:pt>
                <c:pt idx="31">
                  <c:v>78195.28571428571</c:v>
                </c:pt>
                <c:pt idx="32">
                  <c:v>79343.571428571435</c:v>
                </c:pt>
                <c:pt idx="33">
                  <c:v>79406</c:v>
                </c:pt>
                <c:pt idx="34">
                  <c:v>73248.71428571429</c:v>
                </c:pt>
                <c:pt idx="35">
                  <c:v>71459.857142857145</c:v>
                </c:pt>
                <c:pt idx="36">
                  <c:v>69929.142857142855</c:v>
                </c:pt>
                <c:pt idx="37">
                  <c:v>67571.71428571429</c:v>
                </c:pt>
                <c:pt idx="38">
                  <c:v>63764.285714285717</c:v>
                </c:pt>
                <c:pt idx="39">
                  <c:v>62906.428571428572</c:v>
                </c:pt>
                <c:pt idx="40">
                  <c:v>62532.428571428572</c:v>
                </c:pt>
                <c:pt idx="41">
                  <c:v>64883.571428571428</c:v>
                </c:pt>
                <c:pt idx="42">
                  <c:v>62967</c:v>
                </c:pt>
                <c:pt idx="43">
                  <c:v>61377</c:v>
                </c:pt>
                <c:pt idx="44">
                  <c:v>60909.571428571428</c:v>
                </c:pt>
                <c:pt idx="45">
                  <c:v>60911.285714285717</c:v>
                </c:pt>
                <c:pt idx="46">
                  <c:v>60168.571428571428</c:v>
                </c:pt>
                <c:pt idx="47">
                  <c:v>59802.857142857145</c:v>
                </c:pt>
                <c:pt idx="48">
                  <c:v>60206.285714285717</c:v>
                </c:pt>
                <c:pt idx="49">
                  <c:v>60690</c:v>
                </c:pt>
                <c:pt idx="50">
                  <c:v>62476.428571428572</c:v>
                </c:pt>
                <c:pt idx="51">
                  <c:v>65816.428571428565</c:v>
                </c:pt>
                <c:pt idx="52">
                  <c:v>71410.857142857145</c:v>
                </c:pt>
                <c:pt idx="53">
                  <c:v>74076.428571428565</c:v>
                </c:pt>
                <c:pt idx="54">
                  <c:v>74893.428571428565</c:v>
                </c:pt>
                <c:pt idx="55">
                  <c:v>76340.28571428571</c:v>
                </c:pt>
                <c:pt idx="56">
                  <c:v>79302.428571428565</c:v>
                </c:pt>
                <c:pt idx="57">
                  <c:v>82834.71428571429</c:v>
                </c:pt>
                <c:pt idx="58">
                  <c:v>85127.428571428565</c:v>
                </c:pt>
                <c:pt idx="59">
                  <c:v>85775.142857142855</c:v>
                </c:pt>
                <c:pt idx="60">
                  <c:v>86280.571428571435</c:v>
                </c:pt>
                <c:pt idx="61">
                  <c:v>86975.857142857145</c:v>
                </c:pt>
                <c:pt idx="62">
                  <c:v>82745.71428571429</c:v>
                </c:pt>
                <c:pt idx="63">
                  <c:v>82069.428571428565</c:v>
                </c:pt>
                <c:pt idx="64">
                  <c:v>79355.71428571429</c:v>
                </c:pt>
                <c:pt idx="65">
                  <c:v>78298.28571428571</c:v>
                </c:pt>
                <c:pt idx="66">
                  <c:v>76671.142857142855</c:v>
                </c:pt>
                <c:pt idx="67">
                  <c:v>76980.71428571429</c:v>
                </c:pt>
                <c:pt idx="68">
                  <c:v>77623.571428571435</c:v>
                </c:pt>
                <c:pt idx="69">
                  <c:v>81303.857142857145</c:v>
                </c:pt>
                <c:pt idx="70">
                  <c:v>81754.428571428565</c:v>
                </c:pt>
                <c:pt idx="71">
                  <c:v>85584.571428571435</c:v>
                </c:pt>
                <c:pt idx="72">
                  <c:v>91152.857142857145</c:v>
                </c:pt>
                <c:pt idx="73">
                  <c:v>100157.42857142857</c:v>
                </c:pt>
                <c:pt idx="74">
                  <c:v>108157.85714285714</c:v>
                </c:pt>
                <c:pt idx="75">
                  <c:v>112695.42857142857</c:v>
                </c:pt>
                <c:pt idx="76">
                  <c:v>120500.14285714286</c:v>
                </c:pt>
                <c:pt idx="77">
                  <c:v>129798.57142857143</c:v>
                </c:pt>
                <c:pt idx="78">
                  <c:v>139179.14285714287</c:v>
                </c:pt>
                <c:pt idx="79">
                  <c:v>147534.57142857142</c:v>
                </c:pt>
                <c:pt idx="80">
                  <c:v>153518</c:v>
                </c:pt>
                <c:pt idx="81">
                  <c:v>160804</c:v>
                </c:pt>
                <c:pt idx="82">
                  <c:v>164050.14285714287</c:v>
                </c:pt>
                <c:pt idx="83">
                  <c:v>167122.42857142858</c:v>
                </c:pt>
                <c:pt idx="84">
                  <c:v>170639.28571428571</c:v>
                </c:pt>
                <c:pt idx="85">
                  <c:v>173764.42857142858</c:v>
                </c:pt>
                <c:pt idx="86">
                  <c:v>180074.42857142858</c:v>
                </c:pt>
                <c:pt idx="87">
                  <c:v>187013.28571428571</c:v>
                </c:pt>
                <c:pt idx="88">
                  <c:v>191128.85714285713</c:v>
                </c:pt>
                <c:pt idx="89">
                  <c:v>194520.57142857142</c:v>
                </c:pt>
                <c:pt idx="90">
                  <c:v>201882.85714285713</c:v>
                </c:pt>
                <c:pt idx="91">
                  <c:v>213210.57142857142</c:v>
                </c:pt>
                <c:pt idx="92">
                  <c:v>225049.85714285713</c:v>
                </c:pt>
                <c:pt idx="93">
                  <c:v>233284.28571428571</c:v>
                </c:pt>
                <c:pt idx="94">
                  <c:v>241936.71428571429</c:v>
                </c:pt>
                <c:pt idx="95">
                  <c:v>248363.85714285713</c:v>
                </c:pt>
                <c:pt idx="96">
                  <c:v>250625.14285714287</c:v>
                </c:pt>
                <c:pt idx="97">
                  <c:v>254229.28571428571</c:v>
                </c:pt>
                <c:pt idx="98">
                  <c:v>259125.57142857142</c:v>
                </c:pt>
                <c:pt idx="99">
                  <c:v>263598.85714285716</c:v>
                </c:pt>
                <c:pt idx="100">
                  <c:v>270193.28571428574</c:v>
                </c:pt>
                <c:pt idx="101">
                  <c:v>276032.57142857142</c:v>
                </c:pt>
                <c:pt idx="102">
                  <c:v>279383.14285714284</c:v>
                </c:pt>
                <c:pt idx="103">
                  <c:v>282357.14285714284</c:v>
                </c:pt>
                <c:pt idx="104">
                  <c:v>288098.57142857142</c:v>
                </c:pt>
                <c:pt idx="105">
                  <c:v>294364.85714285716</c:v>
                </c:pt>
                <c:pt idx="106">
                  <c:v>300654</c:v>
                </c:pt>
                <c:pt idx="107">
                  <c:v>313037.71428571426</c:v>
                </c:pt>
                <c:pt idx="108">
                  <c:v>322137.57142857142</c:v>
                </c:pt>
                <c:pt idx="109">
                  <c:v>327568.71428571426</c:v>
                </c:pt>
                <c:pt idx="110">
                  <c:v>323930.28571428574</c:v>
                </c:pt>
                <c:pt idx="111">
                  <c:v>331715.71428571426</c:v>
                </c:pt>
                <c:pt idx="112">
                  <c:v>342614.42857142858</c:v>
                </c:pt>
                <c:pt idx="113">
                  <c:v>352515.57142857142</c:v>
                </c:pt>
                <c:pt idx="114">
                  <c:v>355681.71428571426</c:v>
                </c:pt>
                <c:pt idx="115">
                  <c:v>360411.14285714284</c:v>
                </c:pt>
                <c:pt idx="116">
                  <c:v>366459.42857142858</c:v>
                </c:pt>
                <c:pt idx="117">
                  <c:v>374672</c:v>
                </c:pt>
                <c:pt idx="118">
                  <c:v>374038.42857142858</c:v>
                </c:pt>
                <c:pt idx="119">
                  <c:v>372569</c:v>
                </c:pt>
                <c:pt idx="120">
                  <c:v>371255</c:v>
                </c:pt>
                <c:pt idx="121">
                  <c:v>372157.85714285716</c:v>
                </c:pt>
                <c:pt idx="122">
                  <c:v>371396</c:v>
                </c:pt>
                <c:pt idx="123">
                  <c:v>369422.42857142858</c:v>
                </c:pt>
                <c:pt idx="124">
                  <c:v>366243.71428571426</c:v>
                </c:pt>
                <c:pt idx="125">
                  <c:v>364568.42857142858</c:v>
                </c:pt>
                <c:pt idx="126">
                  <c:v>362904.42857142858</c:v>
                </c:pt>
                <c:pt idx="127">
                  <c:v>361799.85714285716</c:v>
                </c:pt>
                <c:pt idx="128">
                  <c:v>357583.71428571426</c:v>
                </c:pt>
                <c:pt idx="129">
                  <c:v>354083.14285714284</c:v>
                </c:pt>
                <c:pt idx="130">
                  <c:v>352037.42857142858</c:v>
                </c:pt>
                <c:pt idx="131">
                  <c:v>350569.28571428574</c:v>
                </c:pt>
                <c:pt idx="132">
                  <c:v>348606.85714285716</c:v>
                </c:pt>
                <c:pt idx="133">
                  <c:v>342726.71428571426</c:v>
                </c:pt>
                <c:pt idx="134">
                  <c:v>331633.42857142858</c:v>
                </c:pt>
                <c:pt idx="135">
                  <c:v>319544</c:v>
                </c:pt>
                <c:pt idx="136">
                  <c:v>310494.14285714284</c:v>
                </c:pt>
                <c:pt idx="137">
                  <c:v>299707.85714285716</c:v>
                </c:pt>
                <c:pt idx="138">
                  <c:v>294998.71428571426</c:v>
                </c:pt>
                <c:pt idx="139">
                  <c:v>288290.14285714284</c:v>
                </c:pt>
                <c:pt idx="140">
                  <c:v>282983.71428571426</c:v>
                </c:pt>
                <c:pt idx="141">
                  <c:v>280460.28571428574</c:v>
                </c:pt>
                <c:pt idx="142">
                  <c:v>279132</c:v>
                </c:pt>
                <c:pt idx="143">
                  <c:v>275477.42857142858</c:v>
                </c:pt>
                <c:pt idx="144">
                  <c:v>273447.57142857142</c:v>
                </c:pt>
                <c:pt idx="145">
                  <c:v>270577.14285714284</c:v>
                </c:pt>
                <c:pt idx="146">
                  <c:v>264078.42857142858</c:v>
                </c:pt>
                <c:pt idx="147">
                  <c:v>256296.57142857142</c:v>
                </c:pt>
                <c:pt idx="148">
                  <c:v>246583.42857142858</c:v>
                </c:pt>
                <c:pt idx="149">
                  <c:v>234100.71428571429</c:v>
                </c:pt>
                <c:pt idx="150">
                  <c:v>224539</c:v>
                </c:pt>
                <c:pt idx="151">
                  <c:v>222764.85714285713</c:v>
                </c:pt>
                <c:pt idx="152">
                  <c:v>224797.71428571429</c:v>
                </c:pt>
                <c:pt idx="153">
                  <c:v>224157.85714285713</c:v>
                </c:pt>
                <c:pt idx="154">
                  <c:v>219436</c:v>
                </c:pt>
                <c:pt idx="155">
                  <c:v>214668.28571428571</c:v>
                </c:pt>
                <c:pt idx="156">
                  <c:v>209701.14285714287</c:v>
                </c:pt>
                <c:pt idx="157">
                  <c:v>204450.14285714287</c:v>
                </c:pt>
                <c:pt idx="158">
                  <c:v>197454.71428571429</c:v>
                </c:pt>
                <c:pt idx="159">
                  <c:v>192715.42857142858</c:v>
                </c:pt>
                <c:pt idx="160">
                  <c:v>185960.71428571429</c:v>
                </c:pt>
                <c:pt idx="161">
                  <c:v>176190.85714285713</c:v>
                </c:pt>
                <c:pt idx="162">
                  <c:v>166621.28571428571</c:v>
                </c:pt>
                <c:pt idx="163">
                  <c:v>155959.42857142858</c:v>
                </c:pt>
                <c:pt idx="164">
                  <c:v>144755.14285714287</c:v>
                </c:pt>
                <c:pt idx="165">
                  <c:v>133952.14285714287</c:v>
                </c:pt>
                <c:pt idx="166">
                  <c:v>129175.14285714286</c:v>
                </c:pt>
                <c:pt idx="167">
                  <c:v>110751.28571428571</c:v>
                </c:pt>
                <c:pt idx="168">
                  <c:v>108235.14285714286</c:v>
                </c:pt>
                <c:pt idx="169">
                  <c:v>102864</c:v>
                </c:pt>
                <c:pt idx="170">
                  <c:v>98055.142857142855</c:v>
                </c:pt>
                <c:pt idx="171">
                  <c:v>93427.28571428571</c:v>
                </c:pt>
                <c:pt idx="172">
                  <c:v>93512.571428571435</c:v>
                </c:pt>
                <c:pt idx="173">
                  <c:v>92577.857142857145</c:v>
                </c:pt>
                <c:pt idx="174">
                  <c:v>102190</c:v>
                </c:pt>
                <c:pt idx="175">
                  <c:v>96140.28571428571</c:v>
                </c:pt>
                <c:pt idx="176">
                  <c:v>93339</c:v>
                </c:pt>
                <c:pt idx="177">
                  <c:v>91196.857142857145</c:v>
                </c:pt>
                <c:pt idx="178">
                  <c:v>88608</c:v>
                </c:pt>
                <c:pt idx="179">
                  <c:v>86381</c:v>
                </c:pt>
                <c:pt idx="180">
                  <c:v>85868.428571428565</c:v>
                </c:pt>
                <c:pt idx="181">
                  <c:v>85456.71428571429</c:v>
                </c:pt>
                <c:pt idx="182">
                  <c:v>84681.857142857145</c:v>
                </c:pt>
                <c:pt idx="183">
                  <c:v>83081.28571428571</c:v>
                </c:pt>
                <c:pt idx="184">
                  <c:v>81237.28571428571</c:v>
                </c:pt>
                <c:pt idx="185">
                  <c:v>79301</c:v>
                </c:pt>
                <c:pt idx="186">
                  <c:v>76478.428571428565</c:v>
                </c:pt>
                <c:pt idx="187">
                  <c:v>75457.71428571429</c:v>
                </c:pt>
                <c:pt idx="188">
                  <c:v>71702.571428571435</c:v>
                </c:pt>
                <c:pt idx="189">
                  <c:v>68714.857142857145</c:v>
                </c:pt>
                <c:pt idx="190">
                  <c:v>66366.428571428565</c:v>
                </c:pt>
                <c:pt idx="191">
                  <c:v>64188</c:v>
                </c:pt>
                <c:pt idx="192">
                  <c:v>61955.857142857145</c:v>
                </c:pt>
                <c:pt idx="193">
                  <c:v>61167.571428571428</c:v>
                </c:pt>
                <c:pt idx="194">
                  <c:v>61287</c:v>
                </c:pt>
                <c:pt idx="195">
                  <c:v>60979.428571428572</c:v>
                </c:pt>
                <c:pt idx="196">
                  <c:v>59223.571428571428</c:v>
                </c:pt>
                <c:pt idx="197">
                  <c:v>57650.714285714283</c:v>
                </c:pt>
                <c:pt idx="198">
                  <c:v>55760</c:v>
                </c:pt>
                <c:pt idx="199">
                  <c:v>53560.571428571428</c:v>
                </c:pt>
                <c:pt idx="200">
                  <c:v>51434.857142857145</c:v>
                </c:pt>
                <c:pt idx="201">
                  <c:v>48293.142857142855</c:v>
                </c:pt>
                <c:pt idx="202">
                  <c:v>45251.285714285717</c:v>
                </c:pt>
                <c:pt idx="203">
                  <c:v>45451</c:v>
                </c:pt>
                <c:pt idx="204">
                  <c:v>44888.142857142855</c:v>
                </c:pt>
                <c:pt idx="205">
                  <c:v>44533.857142857145</c:v>
                </c:pt>
                <c:pt idx="206">
                  <c:v>44449</c:v>
                </c:pt>
                <c:pt idx="207">
                  <c:v>44974.142857142855</c:v>
                </c:pt>
                <c:pt idx="208">
                  <c:v>47247.571428571428</c:v>
                </c:pt>
                <c:pt idx="209">
                  <c:v>49819.142857142855</c:v>
                </c:pt>
                <c:pt idx="210">
                  <c:v>48154.428571428572</c:v>
                </c:pt>
                <c:pt idx="211">
                  <c:v>47498.428571428572</c:v>
                </c:pt>
                <c:pt idx="212">
                  <c:v>47208.857142857145</c:v>
                </c:pt>
                <c:pt idx="213">
                  <c:v>47225.428571428572</c:v>
                </c:pt>
                <c:pt idx="214">
                  <c:v>47457</c:v>
                </c:pt>
                <c:pt idx="215">
                  <c:v>47686.428571428572</c:v>
                </c:pt>
                <c:pt idx="216">
                  <c:v>47835.571428571428</c:v>
                </c:pt>
                <c:pt idx="217">
                  <c:v>48530.428571428572</c:v>
                </c:pt>
                <c:pt idx="218">
                  <c:v>49337</c:v>
                </c:pt>
                <c:pt idx="219">
                  <c:v>50134.857142857145</c:v>
                </c:pt>
                <c:pt idx="220">
                  <c:v>50797</c:v>
                </c:pt>
                <c:pt idx="221">
                  <c:v>50994.142857142855</c:v>
                </c:pt>
                <c:pt idx="222">
                  <c:v>50933.571428571428</c:v>
                </c:pt>
                <c:pt idx="223">
                  <c:v>51302.428571428572</c:v>
                </c:pt>
                <c:pt idx="224">
                  <c:v>51937.857142857145</c:v>
                </c:pt>
                <c:pt idx="225">
                  <c:v>52711</c:v>
                </c:pt>
                <c:pt idx="226">
                  <c:v>53094.285714285717</c:v>
                </c:pt>
                <c:pt idx="227">
                  <c:v>53602.571428571428</c:v>
                </c:pt>
                <c:pt idx="228">
                  <c:v>53871.428571428572</c:v>
                </c:pt>
                <c:pt idx="229">
                  <c:v>54317.571428571428</c:v>
                </c:pt>
                <c:pt idx="230">
                  <c:v>55004</c:v>
                </c:pt>
                <c:pt idx="231">
                  <c:v>55397.857142857145</c:v>
                </c:pt>
                <c:pt idx="232">
                  <c:v>55303.285714285717</c:v>
                </c:pt>
                <c:pt idx="233">
                  <c:v>55714.142857142855</c:v>
                </c:pt>
                <c:pt idx="234">
                  <c:v>56398.571428571428</c:v>
                </c:pt>
                <c:pt idx="235">
                  <c:v>56734.428571428572</c:v>
                </c:pt>
                <c:pt idx="236">
                  <c:v>57265</c:v>
                </c:pt>
                <c:pt idx="237">
                  <c:v>58021</c:v>
                </c:pt>
                <c:pt idx="238">
                  <c:v>58086.428571428572</c:v>
                </c:pt>
                <c:pt idx="239">
                  <c:v>57786.142857142855</c:v>
                </c:pt>
                <c:pt idx="240">
                  <c:v>58103.285714285717</c:v>
                </c:pt>
                <c:pt idx="241">
                  <c:v>58411.142857142855</c:v>
                </c:pt>
                <c:pt idx="242">
                  <c:v>60056.470932591707</c:v>
                </c:pt>
                <c:pt idx="243">
                  <c:v>63530.818099650955</c:v>
                </c:pt>
                <c:pt idx="244">
                  <c:v>64460.34562651813</c:v>
                </c:pt>
                <c:pt idx="245">
                  <c:v>65496.082268668069</c:v>
                </c:pt>
                <c:pt idx="246">
                  <c:v>67497.434270817248</c:v>
                </c:pt>
                <c:pt idx="247">
                  <c:v>68682.506360558531</c:v>
                </c:pt>
                <c:pt idx="248">
                  <c:v>68758.226058119108</c:v>
                </c:pt>
                <c:pt idx="249">
                  <c:v>69535.903629683497</c:v>
                </c:pt>
                <c:pt idx="250">
                  <c:v>69995.615608899723</c:v>
                </c:pt>
                <c:pt idx="251">
                  <c:v>70482.894523615279</c:v>
                </c:pt>
                <c:pt idx="252">
                  <c:v>70966.756112561692</c:v>
                </c:pt>
                <c:pt idx="253">
                  <c:v>71085.477611615192</c:v>
                </c:pt>
                <c:pt idx="254">
                  <c:v>71302.854340474514</c:v>
                </c:pt>
                <c:pt idx="255">
                  <c:v>71711.365633047055</c:v>
                </c:pt>
                <c:pt idx="256">
                  <c:v>71984.281163360385</c:v>
                </c:pt>
                <c:pt idx="257">
                  <c:v>72215.023459390868</c:v>
                </c:pt>
                <c:pt idx="258">
                  <c:v>72313.539093480576</c:v>
                </c:pt>
                <c:pt idx="259">
                  <c:v>72087.526412434876</c:v>
                </c:pt>
                <c:pt idx="260">
                  <c:v>71642.349149037691</c:v>
                </c:pt>
                <c:pt idx="261">
                  <c:v>71569.948902596327</c:v>
                </c:pt>
                <c:pt idx="262">
                  <c:v>71408.570239848326</c:v>
                </c:pt>
                <c:pt idx="263">
                  <c:v>72138.444811071662</c:v>
                </c:pt>
                <c:pt idx="264">
                  <c:v>74437.421198918353</c:v>
                </c:pt>
                <c:pt idx="265">
                  <c:v>74378.445008805822</c:v>
                </c:pt>
                <c:pt idx="266">
                  <c:v>74254.637317155095</c:v>
                </c:pt>
                <c:pt idx="267">
                  <c:v>74619.832124657929</c:v>
                </c:pt>
                <c:pt idx="268">
                  <c:v>74623.902427450885</c:v>
                </c:pt>
                <c:pt idx="269">
                  <c:v>73694.464732557535</c:v>
                </c:pt>
                <c:pt idx="270">
                  <c:v>74021.021088659763</c:v>
                </c:pt>
                <c:pt idx="271">
                  <c:v>74289.96055688709</c:v>
                </c:pt>
                <c:pt idx="272">
                  <c:v>74268.894750881402</c:v>
                </c:pt>
                <c:pt idx="273">
                  <c:v>74253.244714036584</c:v>
                </c:pt>
                <c:pt idx="274">
                  <c:v>74253.045770734549</c:v>
                </c:pt>
                <c:pt idx="275">
                  <c:v>74200.647720171939</c:v>
                </c:pt>
                <c:pt idx="276">
                  <c:v>74140.182761990596</c:v>
                </c:pt>
                <c:pt idx="277">
                  <c:v>74203.856766194105</c:v>
                </c:pt>
                <c:pt idx="278">
                  <c:v>74229.976148697941</c:v>
                </c:pt>
                <c:pt idx="279">
                  <c:v>81466.036386305728</c:v>
                </c:pt>
                <c:pt idx="280">
                  <c:v>89711.10831031522</c:v>
                </c:pt>
                <c:pt idx="281">
                  <c:v>97303.389215030838</c:v>
                </c:pt>
                <c:pt idx="282">
                  <c:v>106919.0962557633</c:v>
                </c:pt>
                <c:pt idx="283">
                  <c:v>116612.99906522036</c:v>
                </c:pt>
                <c:pt idx="284">
                  <c:v>126296.81344410671</c:v>
                </c:pt>
                <c:pt idx="285">
                  <c:v>135514.53111996289</c:v>
                </c:pt>
                <c:pt idx="286">
                  <c:v>130855.80448320296</c:v>
                </c:pt>
                <c:pt idx="287">
                  <c:v>123511.51497751262</c:v>
                </c:pt>
                <c:pt idx="288">
                  <c:v>116158.24792355618</c:v>
                </c:pt>
                <c:pt idx="289">
                  <c:v>108965.4235457629</c:v>
                </c:pt>
                <c:pt idx="290">
                  <c:v>101424.62910293469</c:v>
                </c:pt>
                <c:pt idx="291">
                  <c:v>94235.548190247806</c:v>
                </c:pt>
                <c:pt idx="292">
                  <c:v>87639.024677596986</c:v>
                </c:pt>
                <c:pt idx="293">
                  <c:v>92991.718996034135</c:v>
                </c:pt>
                <c:pt idx="294">
                  <c:v>100242.06704334915</c:v>
                </c:pt>
                <c:pt idx="295">
                  <c:v>106176.42326616496</c:v>
                </c:pt>
                <c:pt idx="296">
                  <c:v>114499.22542298053</c:v>
                </c:pt>
                <c:pt idx="297">
                  <c:v>125295.34646287667</c:v>
                </c:pt>
                <c:pt idx="298">
                  <c:v>137458.99416823153</c:v>
                </c:pt>
                <c:pt idx="299">
                  <c:v>148799.24552164547</c:v>
                </c:pt>
                <c:pt idx="300">
                  <c:v>150704.76763814263</c:v>
                </c:pt>
                <c:pt idx="301">
                  <c:v>146872.46466048382</c:v>
                </c:pt>
                <c:pt idx="302">
                  <c:v>142500.83973027766</c:v>
                </c:pt>
                <c:pt idx="303">
                  <c:v>134841.13138025466</c:v>
                </c:pt>
                <c:pt idx="304">
                  <c:v>128217.41846598579</c:v>
                </c:pt>
                <c:pt idx="305">
                  <c:v>120089.24359704342</c:v>
                </c:pt>
                <c:pt idx="306">
                  <c:v>113093.00990728183</c:v>
                </c:pt>
                <c:pt idx="307">
                  <c:v>109704.53120727092</c:v>
                </c:pt>
                <c:pt idx="308">
                  <c:v>107994.44683143284</c:v>
                </c:pt>
                <c:pt idx="309">
                  <c:v>107473.5970803446</c:v>
                </c:pt>
                <c:pt idx="310">
                  <c:v>108480.96497933248</c:v>
                </c:pt>
                <c:pt idx="311">
                  <c:v>107579.41046287546</c:v>
                </c:pt>
                <c:pt idx="312">
                  <c:v>107161.72346855274</c:v>
                </c:pt>
                <c:pt idx="313">
                  <c:v>106350.54594203297</c:v>
                </c:pt>
                <c:pt idx="314">
                  <c:v>106805.49449393792</c:v>
                </c:pt>
                <c:pt idx="315">
                  <c:v>107783.6619736648</c:v>
                </c:pt>
                <c:pt idx="316">
                  <c:v>107964.83540418638</c:v>
                </c:pt>
                <c:pt idx="317">
                  <c:v>107811.74920555204</c:v>
                </c:pt>
                <c:pt idx="318">
                  <c:v>106554.94046235936</c:v>
                </c:pt>
                <c:pt idx="319">
                  <c:v>105778.24674391959</c:v>
                </c:pt>
                <c:pt idx="320">
                  <c:v>105443.57054448128</c:v>
                </c:pt>
                <c:pt idx="321">
                  <c:v>104072.74718156351</c:v>
                </c:pt>
                <c:pt idx="322">
                  <c:v>104815.79235326605</c:v>
                </c:pt>
                <c:pt idx="323">
                  <c:v>105437.17490545554</c:v>
                </c:pt>
                <c:pt idx="324">
                  <c:v>105482.36377706591</c:v>
                </c:pt>
                <c:pt idx="325">
                  <c:v>108074.26161381284</c:v>
                </c:pt>
                <c:pt idx="326">
                  <c:v>111444.38236401869</c:v>
                </c:pt>
                <c:pt idx="327">
                  <c:v>117118.72138525758</c:v>
                </c:pt>
                <c:pt idx="328">
                  <c:v>125031.51137271736</c:v>
                </c:pt>
                <c:pt idx="329">
                  <c:v>129425.26566941185</c:v>
                </c:pt>
                <c:pt idx="330">
                  <c:v>132684.98640437104</c:v>
                </c:pt>
                <c:pt idx="331">
                  <c:v>136972.65097768605</c:v>
                </c:pt>
                <c:pt idx="332">
                  <c:v>139875.58774307795</c:v>
                </c:pt>
                <c:pt idx="333">
                  <c:v>141268.10195950631</c:v>
                </c:pt>
                <c:pt idx="334">
                  <c:v>142279.77779355537</c:v>
                </c:pt>
                <c:pt idx="335">
                  <c:v>143420.90252535153</c:v>
                </c:pt>
                <c:pt idx="336">
                  <c:v>144283.52441042237</c:v>
                </c:pt>
                <c:pt idx="337">
                  <c:v>144750.98649383124</c:v>
                </c:pt>
                <c:pt idx="338">
                  <c:v>144900.1794780397</c:v>
                </c:pt>
                <c:pt idx="339">
                  <c:v>148471.21717809248</c:v>
                </c:pt>
                <c:pt idx="340">
                  <c:v>154133.59849329825</c:v>
                </c:pt>
                <c:pt idx="341">
                  <c:v>159666.80899404414</c:v>
                </c:pt>
                <c:pt idx="342">
                  <c:v>165040.39829411465</c:v>
                </c:pt>
                <c:pt idx="343">
                  <c:v>171341.95962230436</c:v>
                </c:pt>
                <c:pt idx="344">
                  <c:v>174039.80817910496</c:v>
                </c:pt>
                <c:pt idx="345">
                  <c:v>180186.61480761319</c:v>
                </c:pt>
                <c:pt idx="346">
                  <c:v>185502.36227918416</c:v>
                </c:pt>
                <c:pt idx="347">
                  <c:v>190203.81840791021</c:v>
                </c:pt>
                <c:pt idx="348">
                  <c:v>197372.59003652952</c:v>
                </c:pt>
                <c:pt idx="349">
                  <c:v>202730.1894079053</c:v>
                </c:pt>
                <c:pt idx="350">
                  <c:v>206857.53757926289</c:v>
                </c:pt>
                <c:pt idx="351">
                  <c:v>207599.88739352141</c:v>
                </c:pt>
                <c:pt idx="352">
                  <c:v>214373.22113639754</c:v>
                </c:pt>
                <c:pt idx="353">
                  <c:v>224394.31793642897</c:v>
                </c:pt>
                <c:pt idx="354">
                  <c:v>234019.14259358603</c:v>
                </c:pt>
                <c:pt idx="355">
                  <c:v>241150.51169357874</c:v>
                </c:pt>
                <c:pt idx="356">
                  <c:v>248912.57919356652</c:v>
                </c:pt>
                <c:pt idx="357">
                  <c:v>255828.57090784502</c:v>
                </c:pt>
                <c:pt idx="358">
                  <c:v>260673.65830784716</c:v>
                </c:pt>
                <c:pt idx="359">
                  <c:v>261917.39666499518</c:v>
                </c:pt>
                <c:pt idx="360">
                  <c:v>257321.61310785476</c:v>
                </c:pt>
                <c:pt idx="361">
                  <c:v>254436.89095071171</c:v>
                </c:pt>
                <c:pt idx="362">
                  <c:v>249357.79442214008</c:v>
                </c:pt>
                <c:pt idx="363">
                  <c:v>244604.33626499347</c:v>
                </c:pt>
                <c:pt idx="364">
                  <c:v>236695.57855070807</c:v>
                </c:pt>
                <c:pt idx="365">
                  <c:v>232672.65156499404</c:v>
                </c:pt>
                <c:pt idx="366">
                  <c:v>231707.27700785335</c:v>
                </c:pt>
                <c:pt idx="367">
                  <c:v>234779.56797928255</c:v>
                </c:pt>
                <c:pt idx="368">
                  <c:v>237086.42802213877</c:v>
                </c:pt>
                <c:pt idx="369">
                  <c:v>242803.0360507103</c:v>
                </c:pt>
                <c:pt idx="370">
                  <c:v>246428.71759356771</c:v>
                </c:pt>
                <c:pt idx="371">
                  <c:v>248672.59122213829</c:v>
                </c:pt>
                <c:pt idx="372">
                  <c:v>247789.53003642496</c:v>
                </c:pt>
                <c:pt idx="373">
                  <c:v>248214.3059649957</c:v>
                </c:pt>
                <c:pt idx="374">
                  <c:v>250138.52006499469</c:v>
                </c:pt>
                <c:pt idx="375">
                  <c:v>248144.0893221391</c:v>
                </c:pt>
                <c:pt idx="376">
                  <c:v>245822.4907364228</c:v>
                </c:pt>
                <c:pt idx="377">
                  <c:v>245131.44773642294</c:v>
                </c:pt>
                <c:pt idx="378">
                  <c:v>244959.03459356618</c:v>
                </c:pt>
                <c:pt idx="379">
                  <c:v>245981.55576499444</c:v>
                </c:pt>
                <c:pt idx="380">
                  <c:v>247448.17982213837</c:v>
                </c:pt>
                <c:pt idx="381">
                  <c:v>249623.3662792806</c:v>
                </c:pt>
                <c:pt idx="382">
                  <c:v>254442.86979356408</c:v>
                </c:pt>
                <c:pt idx="383">
                  <c:v>259314.9315078514</c:v>
                </c:pt>
                <c:pt idx="384">
                  <c:v>262552.82252213574</c:v>
                </c:pt>
                <c:pt idx="385">
                  <c:v>264359.40636499546</c:v>
                </c:pt>
                <c:pt idx="386">
                  <c:v>263723.28529356525</c:v>
                </c:pt>
                <c:pt idx="387">
                  <c:v>260927.41152213514</c:v>
                </c:pt>
                <c:pt idx="388">
                  <c:v>256732.2104364229</c:v>
                </c:pt>
                <c:pt idx="389">
                  <c:v>250869.60740785193</c:v>
                </c:pt>
                <c:pt idx="390">
                  <c:v>241544.83723642144</c:v>
                </c:pt>
                <c:pt idx="391">
                  <c:v>234697.81077928096</c:v>
                </c:pt>
                <c:pt idx="392">
                  <c:v>233934.04836499266</c:v>
                </c:pt>
                <c:pt idx="393">
                  <c:v>235658.59692213792</c:v>
                </c:pt>
                <c:pt idx="394">
                  <c:v>234195.03180785052</c:v>
                </c:pt>
                <c:pt idx="395">
                  <c:v>229878.44630784966</c:v>
                </c:pt>
                <c:pt idx="396">
                  <c:v>224920.03897928022</c:v>
                </c:pt>
                <c:pt idx="397">
                  <c:v>214842.76763642259</c:v>
                </c:pt>
                <c:pt idx="398">
                  <c:v>205108.93215070665</c:v>
                </c:pt>
                <c:pt idx="399">
                  <c:v>193185.03262213725</c:v>
                </c:pt>
                <c:pt idx="400">
                  <c:v>183367.07620785173</c:v>
                </c:pt>
                <c:pt idx="401">
                  <c:v>172640.3356792799</c:v>
                </c:pt>
                <c:pt idx="402">
                  <c:v>159914.5759935645</c:v>
                </c:pt>
                <c:pt idx="403">
                  <c:v>147680.47185070705</c:v>
                </c:pt>
                <c:pt idx="404">
                  <c:v>139460.11909356713</c:v>
                </c:pt>
                <c:pt idx="405">
                  <c:v>130087.51817928148</c:v>
                </c:pt>
                <c:pt idx="406">
                  <c:v>121987.15940785089</c:v>
                </c:pt>
                <c:pt idx="407">
                  <c:v>118597.0164649923</c:v>
                </c:pt>
                <c:pt idx="408">
                  <c:v>106389.05360785127</c:v>
                </c:pt>
                <c:pt idx="409">
                  <c:v>104919.64869356688</c:v>
                </c:pt>
                <c:pt idx="410">
                  <c:v>101135.87542213712</c:v>
                </c:pt>
                <c:pt idx="411">
                  <c:v>98139.779936421124</c:v>
                </c:pt>
                <c:pt idx="412">
                  <c:v>95859.338036422225</c:v>
                </c:pt>
                <c:pt idx="413">
                  <c:v>96813.032993564644</c:v>
                </c:pt>
                <c:pt idx="414">
                  <c:v>96397.01676499311</c:v>
                </c:pt>
                <c:pt idx="415">
                  <c:v>102460.39767927889</c:v>
                </c:pt>
                <c:pt idx="416">
                  <c:v>98075.959264992605</c:v>
                </c:pt>
                <c:pt idx="417">
                  <c:v>96579.719079280534</c:v>
                </c:pt>
                <c:pt idx="418">
                  <c:v>95483.783279279509</c:v>
                </c:pt>
                <c:pt idx="419">
                  <c:v>93786.487122136561</c:v>
                </c:pt>
                <c:pt idx="420">
                  <c:v>92593.777493566275</c:v>
                </c:pt>
                <c:pt idx="421">
                  <c:v>92578.065650707911</c:v>
                </c:pt>
                <c:pt idx="422">
                  <c:v>92219.196036421825</c:v>
                </c:pt>
                <c:pt idx="423">
                  <c:v>91600.316279281469</c:v>
                </c:pt>
                <c:pt idx="424">
                  <c:v>89955.856407850981</c:v>
                </c:pt>
                <c:pt idx="425">
                  <c:v>88229.361250708142</c:v>
                </c:pt>
                <c:pt idx="426">
                  <c:v>86475.752736421564</c:v>
                </c:pt>
                <c:pt idx="427">
                  <c:v>83950.178279278538</c:v>
                </c:pt>
                <c:pt idx="428">
                  <c:v>82908.608236423563</c:v>
                </c:pt>
                <c:pt idx="429">
                  <c:v>79289.878836422096</c:v>
                </c:pt>
                <c:pt idx="430">
                  <c:v>76742.057522135117</c:v>
                </c:pt>
                <c:pt idx="431">
                  <c:v>74710.224250708314</c:v>
                </c:pt>
                <c:pt idx="432">
                  <c:v>72857.061050708799</c:v>
                </c:pt>
                <c:pt idx="433">
                  <c:v>70974.420764993338</c:v>
                </c:pt>
                <c:pt idx="434">
                  <c:v>70252.927379279266</c:v>
                </c:pt>
                <c:pt idx="435">
                  <c:v>70154.067907850651</c:v>
                </c:pt>
                <c:pt idx="436">
                  <c:v>70384.183836422861</c:v>
                </c:pt>
                <c:pt idx="437">
                  <c:v>69093.031864993274</c:v>
                </c:pt>
                <c:pt idx="438">
                  <c:v>67873.20887927711</c:v>
                </c:pt>
                <c:pt idx="439">
                  <c:v>66513.369736421315</c:v>
                </c:pt>
                <c:pt idx="440">
                  <c:v>65027.140636422802</c:v>
                </c:pt>
                <c:pt idx="441">
                  <c:v>63674.114593565464</c:v>
                </c:pt>
                <c:pt idx="442">
                  <c:v>61966.529264992903</c:v>
                </c:pt>
                <c:pt idx="443">
                  <c:v>60280.773664993896</c:v>
                </c:pt>
                <c:pt idx="444">
                  <c:v>60746.289150708486</c:v>
                </c:pt>
                <c:pt idx="445">
                  <c:v>60756.578322137044</c:v>
                </c:pt>
                <c:pt idx="446">
                  <c:v>60791.199993565679</c:v>
                </c:pt>
                <c:pt idx="447">
                  <c:v>60944.703307851087</c:v>
                </c:pt>
                <c:pt idx="448">
                  <c:v>61340.558322136952</c:v>
                </c:pt>
                <c:pt idx="449">
                  <c:v>62504.347036422361</c:v>
                </c:pt>
                <c:pt idx="450">
                  <c:v>64187.321779278769</c:v>
                </c:pt>
                <c:pt idx="451">
                  <c:v>62821.920922136735</c:v>
                </c:pt>
                <c:pt idx="452">
                  <c:v>62284.381236422276</c:v>
                </c:pt>
                <c:pt idx="453">
                  <c:v>61808.298493564129</c:v>
                </c:pt>
                <c:pt idx="454">
                  <c:v>61408.411236421336</c:v>
                </c:pt>
                <c:pt idx="455">
                  <c:v>61319.562850708411</c:v>
                </c:pt>
                <c:pt idx="456">
                  <c:v>61347.649507851471</c:v>
                </c:pt>
                <c:pt idx="457">
                  <c:v>60928.15720785196</c:v>
                </c:pt>
                <c:pt idx="458">
                  <c:v>60823.318893564596</c:v>
                </c:pt>
                <c:pt idx="459">
                  <c:v>60738.919879280031</c:v>
                </c:pt>
                <c:pt idx="460">
                  <c:v>60627.685593566726</c:v>
                </c:pt>
                <c:pt idx="461">
                  <c:v>60309.972664993787</c:v>
                </c:pt>
                <c:pt idx="462">
                  <c:v>59923.294479276454</c:v>
                </c:pt>
                <c:pt idx="463">
                  <c:v>59267.985493564178</c:v>
                </c:pt>
                <c:pt idx="464">
                  <c:v>58513.677993565798</c:v>
                </c:pt>
                <c:pt idx="465">
                  <c:v>58177.333322137594</c:v>
                </c:pt>
                <c:pt idx="466">
                  <c:v>57809.982093564104</c:v>
                </c:pt>
                <c:pt idx="467">
                  <c:v>57378.393064992772</c:v>
                </c:pt>
                <c:pt idx="468">
                  <c:v>57078.894750710046</c:v>
                </c:pt>
                <c:pt idx="469">
                  <c:v>56936.097736423566</c:v>
                </c:pt>
                <c:pt idx="470">
                  <c:v>57237.542650708128</c:v>
                </c:pt>
                <c:pt idx="471">
                  <c:v>57333.899350708081</c:v>
                </c:pt>
                <c:pt idx="472">
                  <c:v>57155.646407851149</c:v>
                </c:pt>
                <c:pt idx="473">
                  <c:v>56924.279093566751</c:v>
                </c:pt>
                <c:pt idx="474">
                  <c:v>57010.346622136021</c:v>
                </c:pt>
                <c:pt idx="475">
                  <c:v>57146.191493564416</c:v>
                </c:pt>
                <c:pt idx="476">
                  <c:v>57259.09429356562</c:v>
                </c:pt>
                <c:pt idx="477">
                  <c:v>57555.533664993942</c:v>
                </c:pt>
                <c:pt idx="478">
                  <c:v>58169.268836421623</c:v>
                </c:pt>
                <c:pt idx="479">
                  <c:v>58473.355564993406</c:v>
                </c:pt>
                <c:pt idx="480">
                  <c:v>58666.625136421193</c:v>
                </c:pt>
                <c:pt idx="481">
                  <c:v>59047.463522137274</c:v>
                </c:pt>
                <c:pt idx="482">
                  <c:v>59527.161379278768</c:v>
                </c:pt>
                <c:pt idx="483">
                  <c:v>60331.644991031717</c:v>
                </c:pt>
                <c:pt idx="484">
                  <c:v>61165.655484066476</c:v>
                </c:pt>
                <c:pt idx="485">
                  <c:v>62132.285720633612</c:v>
                </c:pt>
                <c:pt idx="486">
                  <c:v>63275.512002632022</c:v>
                </c:pt>
                <c:pt idx="487">
                  <c:v>64817.535258545409</c:v>
                </c:pt>
                <c:pt idx="488">
                  <c:v>65966.486211742667</c:v>
                </c:pt>
                <c:pt idx="489">
                  <c:v>67071.907108522952</c:v>
                </c:pt>
                <c:pt idx="490">
                  <c:v>67467.953496031463</c:v>
                </c:pt>
                <c:pt idx="491">
                  <c:v>67616.816402676908</c:v>
                </c:pt>
                <c:pt idx="492">
                  <c:v>68113.7954707795</c:v>
                </c:pt>
                <c:pt idx="493">
                  <c:v>68601.846942241697</c:v>
                </c:pt>
                <c:pt idx="494">
                  <c:v>63519.191366177583</c:v>
                </c:pt>
                <c:pt idx="495">
                  <c:v>58590.576856341744</c:v>
                </c:pt>
                <c:pt idx="496">
                  <c:v>53856.957404858302</c:v>
                </c:pt>
                <c:pt idx="497">
                  <c:v>48853.577979826499</c:v>
                </c:pt>
                <c:pt idx="498">
                  <c:v>43850.624654857173</c:v>
                </c:pt>
                <c:pt idx="499">
                  <c:v>38757.474268640792</c:v>
                </c:pt>
                <c:pt idx="500">
                  <c:v>33346.561605793024</c:v>
                </c:pt>
                <c:pt idx="501">
                  <c:v>32919.420217567254</c:v>
                </c:pt>
                <c:pt idx="502">
                  <c:v>32855.945953176488</c:v>
                </c:pt>
                <c:pt idx="503">
                  <c:v>32698.544152594037</c:v>
                </c:pt>
                <c:pt idx="504">
                  <c:v>33398.947333736076</c:v>
                </c:pt>
                <c:pt idx="505">
                  <c:v>35635.210211702753</c:v>
                </c:pt>
                <c:pt idx="506">
                  <c:v>35580.442114208425</c:v>
                </c:pt>
                <c:pt idx="507">
                  <c:v>35461.604230626355</c:v>
                </c:pt>
                <c:pt idx="508">
                  <c:v>35817.87599123695</c:v>
                </c:pt>
                <c:pt idx="509">
                  <c:v>35821.904987442707</c:v>
                </c:pt>
                <c:pt idx="510">
                  <c:v>34916.361288793385</c:v>
                </c:pt>
                <c:pt idx="511">
                  <c:v>35233.192308251346</c:v>
                </c:pt>
                <c:pt idx="512">
                  <c:v>35495.227304609762</c:v>
                </c:pt>
                <c:pt idx="513">
                  <c:v>35475.229746452402</c:v>
                </c:pt>
                <c:pt idx="514">
                  <c:v>35460.199408200169</c:v>
                </c:pt>
                <c:pt idx="515">
                  <c:v>35459.998719282448</c:v>
                </c:pt>
                <c:pt idx="516">
                  <c:v>35408.873394719194</c:v>
                </c:pt>
                <c:pt idx="517">
                  <c:v>35349.868881471455</c:v>
                </c:pt>
                <c:pt idx="518">
                  <c:v>35411.79853756939</c:v>
                </c:pt>
                <c:pt idx="519">
                  <c:v>35437.313713186551</c:v>
                </c:pt>
                <c:pt idx="520">
                  <c:v>35429.04034298339</c:v>
                </c:pt>
                <c:pt idx="521">
                  <c:v>35422.441856773839</c:v>
                </c:pt>
                <c:pt idx="522">
                  <c:v>35417.047920855031</c:v>
                </c:pt>
                <c:pt idx="523">
                  <c:v>35410.912092507948</c:v>
                </c:pt>
                <c:pt idx="524">
                  <c:v>35411.203335051025</c:v>
                </c:pt>
                <c:pt idx="525">
                  <c:v>35419.965399846435</c:v>
                </c:pt>
                <c:pt idx="526">
                  <c:v>35421.132094458808</c:v>
                </c:pt>
                <c:pt idx="527">
                  <c:v>35418.8204346395</c:v>
                </c:pt>
                <c:pt idx="528">
                  <c:v>35417.360447734594</c:v>
                </c:pt>
                <c:pt idx="529">
                  <c:v>35416.634532157863</c:v>
                </c:pt>
                <c:pt idx="530">
                  <c:v>35416.575476628328</c:v>
                </c:pt>
                <c:pt idx="531">
                  <c:v>35417.384531501149</c:v>
                </c:pt>
                <c:pt idx="532">
                  <c:v>35418.267559566666</c:v>
                </c:pt>
                <c:pt idx="533">
                  <c:v>35418.025010954058</c:v>
                </c:pt>
                <c:pt idx="534">
                  <c:v>35417.581141882707</c:v>
                </c:pt>
                <c:pt idx="535">
                  <c:v>35417.404100060463</c:v>
                </c:pt>
                <c:pt idx="536">
                  <c:v>35417.410336105953</c:v>
                </c:pt>
                <c:pt idx="537">
                  <c:v>35417.521165242149</c:v>
                </c:pt>
                <c:pt idx="538">
                  <c:v>35417.656263616467</c:v>
                </c:pt>
                <c:pt idx="539">
                  <c:v>35417.695082489932</c:v>
                </c:pt>
                <c:pt idx="540">
                  <c:v>35417.613300049947</c:v>
                </c:pt>
                <c:pt idx="541">
                  <c:v>35417.554484207714</c:v>
                </c:pt>
                <c:pt idx="542">
                  <c:v>35417.550675966908</c:v>
                </c:pt>
                <c:pt idx="543">
                  <c:v>35417.571615384091</c:v>
                </c:pt>
                <c:pt idx="544">
                  <c:v>35417.594655279601</c:v>
                </c:pt>
                <c:pt idx="545">
                  <c:v>35417.605153855468</c:v>
                </c:pt>
                <c:pt idx="546">
                  <c:v>35417.59785246104</c:v>
                </c:pt>
                <c:pt idx="547">
                  <c:v>35417.583962457524</c:v>
                </c:pt>
                <c:pt idx="548">
                  <c:v>35417.579771371828</c:v>
                </c:pt>
                <c:pt idx="549">
                  <c:v>35417.583383825207</c:v>
                </c:pt>
                <c:pt idx="550">
                  <c:v>35417.588056374872</c:v>
                </c:pt>
                <c:pt idx="551">
                  <c:v>35417.590405090581</c:v>
                </c:pt>
                <c:pt idx="552">
                  <c:v>35417.589797921479</c:v>
                </c:pt>
                <c:pt idx="553">
                  <c:v>35417.587604215099</c:v>
                </c:pt>
                <c:pt idx="554">
                  <c:v>35417.586140181338</c:v>
                </c:pt>
                <c:pt idx="555">
                  <c:v>35417.586451283525</c:v>
                </c:pt>
                <c:pt idx="556">
                  <c:v>35417.587405556013</c:v>
                </c:pt>
                <c:pt idx="557">
                  <c:v>35417.58798008944</c:v>
                </c:pt>
                <c:pt idx="558">
                  <c:v>35417.58796919031</c:v>
                </c:pt>
                <c:pt idx="559">
                  <c:v>35417.587621203493</c:v>
                </c:pt>
                <c:pt idx="560">
                  <c:v>35417.587310246061</c:v>
                </c:pt>
                <c:pt idx="561">
                  <c:v>35417.5872682482</c:v>
                </c:pt>
                <c:pt idx="562">
                  <c:v>35417.587429402127</c:v>
                </c:pt>
                <c:pt idx="563">
                  <c:v>35417.58756913351</c:v>
                </c:pt>
                <c:pt idx="564">
                  <c:v>35417.587592501724</c:v>
                </c:pt>
                <c:pt idx="565">
                  <c:v>35417.587537131141</c:v>
                </c:pt>
                <c:pt idx="566">
                  <c:v>35417.587475410532</c:v>
                </c:pt>
                <c:pt idx="567">
                  <c:v>35417.587454580833</c:v>
                </c:pt>
                <c:pt idx="568">
                  <c:v>35417.587475201915</c:v>
                </c:pt>
                <c:pt idx="569">
                  <c:v>35417.587504765819</c:v>
                </c:pt>
                <c:pt idx="570">
                  <c:v>35417.58751553297</c:v>
                </c:pt>
                <c:pt idx="571">
                  <c:v>35417.587507874836</c:v>
                </c:pt>
                <c:pt idx="572">
                  <c:v>35417.587495785738</c:v>
                </c:pt>
                <c:pt idx="573">
                  <c:v>35417.58748987849</c:v>
                </c:pt>
                <c:pt idx="574">
                  <c:v>35417.587491947626</c:v>
                </c:pt>
                <c:pt idx="575">
                  <c:v>35417.587497284367</c:v>
                </c:pt>
                <c:pt idx="576">
                  <c:v>35417.587500439156</c:v>
                </c:pt>
                <c:pt idx="577">
                  <c:v>35417.587499821828</c:v>
                </c:pt>
                <c:pt idx="578">
                  <c:v>35417.587497577071</c:v>
                </c:pt>
                <c:pt idx="579">
                  <c:v>35417.587496106113</c:v>
                </c:pt>
                <c:pt idx="580">
                  <c:v>35417.587496150816</c:v>
                </c:pt>
                <c:pt idx="581">
                  <c:v>35417.587497044886</c:v>
                </c:pt>
                <c:pt idx="582">
                  <c:v>35417.587497772918</c:v>
                </c:pt>
                <c:pt idx="583">
                  <c:v>35417.587497845292</c:v>
                </c:pt>
                <c:pt idx="584">
                  <c:v>35417.587497470631</c:v>
                </c:pt>
                <c:pt idx="585">
                  <c:v>35417.587497136425</c:v>
                </c:pt>
                <c:pt idx="586">
                  <c:v>35417.587497074688</c:v>
                </c:pt>
                <c:pt idx="587">
                  <c:v>35417.587497213055</c:v>
                </c:pt>
                <c:pt idx="588">
                  <c:v>35417.587497366323</c:v>
                </c:pt>
                <c:pt idx="589">
                  <c:v>35417.587497413158</c:v>
                </c:pt>
                <c:pt idx="590">
                  <c:v>35417.587497359942</c:v>
                </c:pt>
                <c:pt idx="591">
                  <c:v>35417.587497291817</c:v>
                </c:pt>
                <c:pt idx="592">
                  <c:v>35417.587497266279</c:v>
                </c:pt>
                <c:pt idx="593">
                  <c:v>35417.587497283304</c:v>
                </c:pt>
                <c:pt idx="594">
                  <c:v>35417.587497315239</c:v>
                </c:pt>
                <c:pt idx="595">
                  <c:v>35417.587497328008</c:v>
                </c:pt>
                <c:pt idx="596">
                  <c:v>35417.58749732162</c:v>
                </c:pt>
                <c:pt idx="597">
                  <c:v>35417.58749730885</c:v>
                </c:pt>
                <c:pt idx="598">
                  <c:v>35417.587497302462</c:v>
                </c:pt>
                <c:pt idx="599">
                  <c:v>35417.587497304594</c:v>
                </c:pt>
                <c:pt idx="600">
                  <c:v>35417.58749730885</c:v>
                </c:pt>
                <c:pt idx="601">
                  <c:v>35417.587497310982</c:v>
                </c:pt>
                <c:pt idx="602">
                  <c:v>35417.587497313107</c:v>
                </c:pt>
                <c:pt idx="603">
                  <c:v>35417.587497310982</c:v>
                </c:pt>
                <c:pt idx="604">
                  <c:v>35417.58749730885</c:v>
                </c:pt>
                <c:pt idx="605">
                  <c:v>35417.58749730885</c:v>
                </c:pt>
                <c:pt idx="606">
                  <c:v>35417.587497306718</c:v>
                </c:pt>
                <c:pt idx="607">
                  <c:v>35417.58749730885</c:v>
                </c:pt>
                <c:pt idx="608">
                  <c:v>35417.587497310982</c:v>
                </c:pt>
                <c:pt idx="609">
                  <c:v>35417.58749730885</c:v>
                </c:pt>
                <c:pt idx="610">
                  <c:v>35417.58749730885</c:v>
                </c:pt>
                <c:pt idx="611">
                  <c:v>35417.58749730885</c:v>
                </c:pt>
                <c:pt idx="612">
                  <c:v>35417.58749730885</c:v>
                </c:pt>
                <c:pt idx="613">
                  <c:v>35417.587497310982</c:v>
                </c:pt>
                <c:pt idx="614">
                  <c:v>35417.587497310982</c:v>
                </c:pt>
                <c:pt idx="615">
                  <c:v>35417.58749730885</c:v>
                </c:pt>
                <c:pt idx="616">
                  <c:v>35417.58749730885</c:v>
                </c:pt>
                <c:pt idx="617">
                  <c:v>35417.58749730885</c:v>
                </c:pt>
                <c:pt idx="618">
                  <c:v>35417.58749730885</c:v>
                </c:pt>
                <c:pt idx="619">
                  <c:v>35417.58749730885</c:v>
                </c:pt>
                <c:pt idx="620">
                  <c:v>35417.58749730885</c:v>
                </c:pt>
                <c:pt idx="621">
                  <c:v>35417.58749730885</c:v>
                </c:pt>
                <c:pt idx="622">
                  <c:v>35417.58749730885</c:v>
                </c:pt>
                <c:pt idx="623">
                  <c:v>35417.58749730885</c:v>
                </c:pt>
                <c:pt idx="624">
                  <c:v>35417.58749730885</c:v>
                </c:pt>
                <c:pt idx="625">
                  <c:v>35417.58749730885</c:v>
                </c:pt>
                <c:pt idx="626">
                  <c:v>35417.587497306718</c:v>
                </c:pt>
                <c:pt idx="627">
                  <c:v>35417.58749730885</c:v>
                </c:pt>
                <c:pt idx="628">
                  <c:v>35417.58749730885</c:v>
                </c:pt>
                <c:pt idx="629">
                  <c:v>35417.58749730885</c:v>
                </c:pt>
                <c:pt idx="630">
                  <c:v>35417.58749730885</c:v>
                </c:pt>
                <c:pt idx="631">
                  <c:v>35417.58749730885</c:v>
                </c:pt>
                <c:pt idx="632">
                  <c:v>35417.587497306718</c:v>
                </c:pt>
                <c:pt idx="633">
                  <c:v>35417.58749730885</c:v>
                </c:pt>
                <c:pt idx="634">
                  <c:v>35417.587497306718</c:v>
                </c:pt>
                <c:pt idx="635">
                  <c:v>35417.587497306718</c:v>
                </c:pt>
                <c:pt idx="636">
                  <c:v>35417.587497306718</c:v>
                </c:pt>
                <c:pt idx="637">
                  <c:v>35417.587497306718</c:v>
                </c:pt>
                <c:pt idx="638">
                  <c:v>35417.587497306718</c:v>
                </c:pt>
                <c:pt idx="639">
                  <c:v>35417.58749730885</c:v>
                </c:pt>
                <c:pt idx="640">
                  <c:v>35417.58749730885</c:v>
                </c:pt>
                <c:pt idx="641">
                  <c:v>35417.58749730885</c:v>
                </c:pt>
                <c:pt idx="642">
                  <c:v>35417.587497310982</c:v>
                </c:pt>
                <c:pt idx="643">
                  <c:v>35417.58749730885</c:v>
                </c:pt>
                <c:pt idx="644">
                  <c:v>35417.58749730885</c:v>
                </c:pt>
                <c:pt idx="645">
                  <c:v>35417.58749730885</c:v>
                </c:pt>
                <c:pt idx="646">
                  <c:v>35417.58749730885</c:v>
                </c:pt>
                <c:pt idx="647">
                  <c:v>35417.58749730885</c:v>
                </c:pt>
                <c:pt idx="648">
                  <c:v>35417.58749730885</c:v>
                </c:pt>
                <c:pt idx="649">
                  <c:v>35417.587497306718</c:v>
                </c:pt>
                <c:pt idx="650">
                  <c:v>35417.58749730885</c:v>
                </c:pt>
                <c:pt idx="651">
                  <c:v>35417.58749730885</c:v>
                </c:pt>
                <c:pt idx="652">
                  <c:v>35417.58749730885</c:v>
                </c:pt>
                <c:pt idx="653">
                  <c:v>35417.58749730885</c:v>
                </c:pt>
                <c:pt idx="654">
                  <c:v>35417.58749730885</c:v>
                </c:pt>
                <c:pt idx="655">
                  <c:v>35417.58749730885</c:v>
                </c:pt>
                <c:pt idx="656">
                  <c:v>35417.58749730885</c:v>
                </c:pt>
                <c:pt idx="657">
                  <c:v>35417.58749730885</c:v>
                </c:pt>
                <c:pt idx="658">
                  <c:v>35417.58749730885</c:v>
                </c:pt>
                <c:pt idx="659">
                  <c:v>35417.58749730885</c:v>
                </c:pt>
                <c:pt idx="660">
                  <c:v>35417.587497306718</c:v>
                </c:pt>
                <c:pt idx="661">
                  <c:v>35417.58749730885</c:v>
                </c:pt>
                <c:pt idx="662">
                  <c:v>35417.587497306718</c:v>
                </c:pt>
                <c:pt idx="663">
                  <c:v>35417.587497306718</c:v>
                </c:pt>
                <c:pt idx="664">
                  <c:v>35417.58749730885</c:v>
                </c:pt>
                <c:pt idx="665">
                  <c:v>35417.58749730885</c:v>
                </c:pt>
                <c:pt idx="666">
                  <c:v>35417.587497306718</c:v>
                </c:pt>
                <c:pt idx="667">
                  <c:v>35417.587497310982</c:v>
                </c:pt>
                <c:pt idx="668">
                  <c:v>35417.587497306718</c:v>
                </c:pt>
                <c:pt idx="669">
                  <c:v>35417.58749730885</c:v>
                </c:pt>
                <c:pt idx="670">
                  <c:v>35417.58749730885</c:v>
                </c:pt>
                <c:pt idx="671">
                  <c:v>35417.587497306718</c:v>
                </c:pt>
                <c:pt idx="672">
                  <c:v>35417.587497306718</c:v>
                </c:pt>
                <c:pt idx="673">
                  <c:v>35417.587497310982</c:v>
                </c:pt>
                <c:pt idx="674">
                  <c:v>35417.587497306718</c:v>
                </c:pt>
                <c:pt idx="675">
                  <c:v>35417.587497310982</c:v>
                </c:pt>
                <c:pt idx="676">
                  <c:v>35417.58749730885</c:v>
                </c:pt>
                <c:pt idx="677">
                  <c:v>35417.58749730885</c:v>
                </c:pt>
                <c:pt idx="678">
                  <c:v>35417.58749730885</c:v>
                </c:pt>
                <c:pt idx="679">
                  <c:v>35417.58749730885</c:v>
                </c:pt>
                <c:pt idx="680">
                  <c:v>35417.587497306718</c:v>
                </c:pt>
                <c:pt idx="681">
                  <c:v>35417.58749730885</c:v>
                </c:pt>
                <c:pt idx="682">
                  <c:v>35417.587497306718</c:v>
                </c:pt>
                <c:pt idx="683">
                  <c:v>35417.58749730885</c:v>
                </c:pt>
                <c:pt idx="684">
                  <c:v>35417.58749730885</c:v>
                </c:pt>
                <c:pt idx="685">
                  <c:v>35417.587497306718</c:v>
                </c:pt>
                <c:pt idx="686">
                  <c:v>35417.58749730885</c:v>
                </c:pt>
                <c:pt idx="687">
                  <c:v>35417.58749730885</c:v>
                </c:pt>
                <c:pt idx="688">
                  <c:v>35417.58749730885</c:v>
                </c:pt>
                <c:pt idx="689">
                  <c:v>35417.58749730885</c:v>
                </c:pt>
                <c:pt idx="690">
                  <c:v>35417.58749730885</c:v>
                </c:pt>
                <c:pt idx="691">
                  <c:v>35417.587497306718</c:v>
                </c:pt>
                <c:pt idx="692">
                  <c:v>35417.587497310982</c:v>
                </c:pt>
                <c:pt idx="693">
                  <c:v>35417.587497306718</c:v>
                </c:pt>
                <c:pt idx="694">
                  <c:v>35417.58749730885</c:v>
                </c:pt>
                <c:pt idx="695">
                  <c:v>35417.58749730885</c:v>
                </c:pt>
                <c:pt idx="696">
                  <c:v>35417.58749730885</c:v>
                </c:pt>
                <c:pt idx="697">
                  <c:v>35417.58749730885</c:v>
                </c:pt>
                <c:pt idx="698">
                  <c:v>35417.587497310982</c:v>
                </c:pt>
                <c:pt idx="699">
                  <c:v>35417.587497306718</c:v>
                </c:pt>
                <c:pt idx="700">
                  <c:v>35417.587497310982</c:v>
                </c:pt>
                <c:pt idx="701">
                  <c:v>35417.587497306718</c:v>
                </c:pt>
                <c:pt idx="702">
                  <c:v>35417.58749730885</c:v>
                </c:pt>
                <c:pt idx="703">
                  <c:v>35417.587497306718</c:v>
                </c:pt>
                <c:pt idx="704">
                  <c:v>35417.587497306718</c:v>
                </c:pt>
                <c:pt idx="705">
                  <c:v>35417.587497306718</c:v>
                </c:pt>
                <c:pt idx="706">
                  <c:v>35417.58749730885</c:v>
                </c:pt>
                <c:pt idx="707">
                  <c:v>35417.587497306718</c:v>
                </c:pt>
                <c:pt idx="708">
                  <c:v>35417.58749730885</c:v>
                </c:pt>
                <c:pt idx="709">
                  <c:v>35417.587497306718</c:v>
                </c:pt>
                <c:pt idx="710">
                  <c:v>35417.58749730885</c:v>
                </c:pt>
                <c:pt idx="711">
                  <c:v>35417.58749730885</c:v>
                </c:pt>
                <c:pt idx="712">
                  <c:v>35417.58749730885</c:v>
                </c:pt>
                <c:pt idx="713">
                  <c:v>35417.58749730885</c:v>
                </c:pt>
                <c:pt idx="714">
                  <c:v>35417.58749730885</c:v>
                </c:pt>
                <c:pt idx="715">
                  <c:v>35417.58749730885</c:v>
                </c:pt>
                <c:pt idx="716">
                  <c:v>35417.58749730885</c:v>
                </c:pt>
                <c:pt idx="717">
                  <c:v>35417.58749730885</c:v>
                </c:pt>
                <c:pt idx="718">
                  <c:v>35417.58749730885</c:v>
                </c:pt>
                <c:pt idx="719">
                  <c:v>35417.58749730885</c:v>
                </c:pt>
                <c:pt idx="720">
                  <c:v>35417.58749730885</c:v>
                </c:pt>
                <c:pt idx="721">
                  <c:v>35417.58749730885</c:v>
                </c:pt>
                <c:pt idx="722">
                  <c:v>35417.58749730885</c:v>
                </c:pt>
                <c:pt idx="723">
                  <c:v>35417.58749730885</c:v>
                </c:pt>
                <c:pt idx="724">
                  <c:v>35417.587497306718</c:v>
                </c:pt>
                <c:pt idx="725">
                  <c:v>35417.58749730885</c:v>
                </c:pt>
                <c:pt idx="726">
                  <c:v>35417.587497306718</c:v>
                </c:pt>
                <c:pt idx="727">
                  <c:v>35417.58749730885</c:v>
                </c:pt>
                <c:pt idx="728">
                  <c:v>35417.587497306718</c:v>
                </c:pt>
                <c:pt idx="729">
                  <c:v>35417.587497306718</c:v>
                </c:pt>
                <c:pt idx="730">
                  <c:v>35417.587497306718</c:v>
                </c:pt>
                <c:pt idx="731">
                  <c:v>35417.587497310982</c:v>
                </c:pt>
                <c:pt idx="732">
                  <c:v>35417.587497306718</c:v>
                </c:pt>
                <c:pt idx="733">
                  <c:v>35417.587497310982</c:v>
                </c:pt>
                <c:pt idx="734">
                  <c:v>35417.587497306718</c:v>
                </c:pt>
                <c:pt idx="735">
                  <c:v>35417.58749730885</c:v>
                </c:pt>
                <c:pt idx="736">
                  <c:v>30357.932140550442</c:v>
                </c:pt>
                <c:pt idx="737">
                  <c:v>25298.276783792036</c:v>
                </c:pt>
                <c:pt idx="738">
                  <c:v>20238.621427031499</c:v>
                </c:pt>
                <c:pt idx="739">
                  <c:v>15178.966070275221</c:v>
                </c:pt>
                <c:pt idx="740">
                  <c:v>10119.310713514686</c:v>
                </c:pt>
                <c:pt idx="741">
                  <c:v>5059.6553567584069</c:v>
                </c:pt>
                <c:pt idx="742">
                  <c:v>0</c:v>
                </c:pt>
                <c:pt idx="743">
                  <c:v>0</c:v>
                </c:pt>
                <c:pt idx="744">
                  <c:v>0</c:v>
                </c:pt>
                <c:pt idx="745">
                  <c:v>0</c:v>
                </c:pt>
                <c:pt idx="746">
                  <c:v>0</c:v>
                </c:pt>
              </c:numCache>
            </c:numRef>
          </c:val>
          <c:extLst>
            <c:ext xmlns:c16="http://schemas.microsoft.com/office/drawing/2014/chart" uri="{C3380CC4-5D6E-409C-BE32-E72D297353CC}">
              <c16:uniqueId val="{00000000-6485-4F05-90EA-3C0640AD2471}"/>
            </c:ext>
          </c:extLst>
        </c:ser>
        <c:ser>
          <c:idx val="1"/>
          <c:order val="1"/>
          <c:spPr>
            <a:solidFill>
              <a:schemeClr val="accent2"/>
            </a:solidFill>
            <a:ln>
              <a:noFill/>
            </a:ln>
          </c:spPr>
          <c:val>
            <c:numRef>
              <c:f>Sheet1!$A$2:$ABS$2</c:f>
              <c:numCache>
                <c:formatCode>General</c:formatCode>
                <c:ptCount val="747"/>
                <c:pt idx="0">
                  <c:v>3</c:v>
                </c:pt>
                <c:pt idx="1">
                  <c:v>5.5</c:v>
                </c:pt>
                <c:pt idx="2">
                  <c:v>4.6666666666660603</c:v>
                </c:pt>
                <c:pt idx="3">
                  <c:v>3.75</c:v>
                </c:pt>
                <c:pt idx="4">
                  <c:v>3</c:v>
                </c:pt>
                <c:pt idx="5">
                  <c:v>2.6666666666678793</c:v>
                </c:pt>
                <c:pt idx="6">
                  <c:v>2.571428571427532</c:v>
                </c:pt>
                <c:pt idx="7">
                  <c:v>2.714285714286234</c:v>
                </c:pt>
                <c:pt idx="8">
                  <c:v>1.714285714282596</c:v>
                </c:pt>
                <c:pt idx="9">
                  <c:v>1.571428571427532</c:v>
                </c:pt>
                <c:pt idx="10">
                  <c:v>1.428571428572468</c:v>
                </c:pt>
                <c:pt idx="11">
                  <c:v>1.714285714286234</c:v>
                </c:pt>
                <c:pt idx="12">
                  <c:v>1.571428571427532</c:v>
                </c:pt>
                <c:pt idx="13">
                  <c:v>1.571428571427532</c:v>
                </c:pt>
                <c:pt idx="14">
                  <c:v>1.571428571427532</c:v>
                </c:pt>
                <c:pt idx="15">
                  <c:v>1.714285714286234</c:v>
                </c:pt>
                <c:pt idx="16">
                  <c:v>1.428571428572468</c:v>
                </c:pt>
                <c:pt idx="17">
                  <c:v>2</c:v>
                </c:pt>
                <c:pt idx="18">
                  <c:v>1.857142857141298</c:v>
                </c:pt>
                <c:pt idx="19">
                  <c:v>2</c:v>
                </c:pt>
                <c:pt idx="20">
                  <c:v>2.857142857141298</c:v>
                </c:pt>
                <c:pt idx="21">
                  <c:v>3.428571428572468</c:v>
                </c:pt>
                <c:pt idx="22">
                  <c:v>4.428571428572468</c:v>
                </c:pt>
                <c:pt idx="23">
                  <c:v>4.714285714282596</c:v>
                </c:pt>
                <c:pt idx="24">
                  <c:v>5.571428571427532</c:v>
                </c:pt>
                <c:pt idx="25">
                  <c:v>5.714285714282596</c:v>
                </c:pt>
                <c:pt idx="26">
                  <c:v>5.857142857144936</c:v>
                </c:pt>
                <c:pt idx="27">
                  <c:v>5.285714285717404</c:v>
                </c:pt>
                <c:pt idx="28">
                  <c:v>4.571428571434808</c:v>
                </c:pt>
                <c:pt idx="29">
                  <c:v>4</c:v>
                </c:pt>
                <c:pt idx="30">
                  <c:v>4.571428571434808</c:v>
                </c:pt>
                <c:pt idx="31">
                  <c:v>3.428571428565192</c:v>
                </c:pt>
                <c:pt idx="32">
                  <c:v>3.571428571434808</c:v>
                </c:pt>
                <c:pt idx="33">
                  <c:v>3.428571428565192</c:v>
                </c:pt>
                <c:pt idx="34">
                  <c:v>3.142857142855064</c:v>
                </c:pt>
                <c:pt idx="35">
                  <c:v>3.285714285710128</c:v>
                </c:pt>
                <c:pt idx="36">
                  <c:v>3.285714285710128</c:v>
                </c:pt>
                <c:pt idx="37">
                  <c:v>2.857142857144936</c:v>
                </c:pt>
                <c:pt idx="38">
                  <c:v>3</c:v>
                </c:pt>
                <c:pt idx="39">
                  <c:v>3.142857142855064</c:v>
                </c:pt>
                <c:pt idx="40">
                  <c:v>3</c:v>
                </c:pt>
                <c:pt idx="41">
                  <c:v>4</c:v>
                </c:pt>
                <c:pt idx="42">
                  <c:v>4.428571428572468</c:v>
                </c:pt>
                <c:pt idx="43">
                  <c:v>4.714285714282596</c:v>
                </c:pt>
                <c:pt idx="44">
                  <c:v>5.571428571427532</c:v>
                </c:pt>
                <c:pt idx="45">
                  <c:v>5.857142857144936</c:v>
                </c:pt>
                <c:pt idx="46">
                  <c:v>5.428571428572468</c:v>
                </c:pt>
                <c:pt idx="47">
                  <c:v>5.571428571427532</c:v>
                </c:pt>
                <c:pt idx="48">
                  <c:v>4.857142857144936</c:v>
                </c:pt>
                <c:pt idx="49">
                  <c:v>4.285714285717404</c:v>
                </c:pt>
                <c:pt idx="50">
                  <c:v>4.142857142855064</c:v>
                </c:pt>
                <c:pt idx="51">
                  <c:v>3.714285714289872</c:v>
                </c:pt>
                <c:pt idx="52">
                  <c:v>3.142857142855064</c:v>
                </c:pt>
                <c:pt idx="53">
                  <c:v>3.285714285710128</c:v>
                </c:pt>
                <c:pt idx="54">
                  <c:v>3.285714285710128</c:v>
                </c:pt>
                <c:pt idx="55">
                  <c:v>3.428571428565192</c:v>
                </c:pt>
                <c:pt idx="56">
                  <c:v>3.571428571434808</c:v>
                </c:pt>
                <c:pt idx="57">
                  <c:v>3.714285714289872</c:v>
                </c:pt>
                <c:pt idx="58">
                  <c:v>3.714285714289872</c:v>
                </c:pt>
                <c:pt idx="59">
                  <c:v>4.428571428565192</c:v>
                </c:pt>
                <c:pt idx="60">
                  <c:v>5</c:v>
                </c:pt>
                <c:pt idx="61">
                  <c:v>5.142857142855064</c:v>
                </c:pt>
                <c:pt idx="62">
                  <c:v>4.714285714289872</c:v>
                </c:pt>
                <c:pt idx="63">
                  <c:v>5.571428571434808</c:v>
                </c:pt>
                <c:pt idx="64">
                  <c:v>6.428571428565192</c:v>
                </c:pt>
                <c:pt idx="65">
                  <c:v>7</c:v>
                </c:pt>
                <c:pt idx="66">
                  <c:v>7.571428571434808</c:v>
                </c:pt>
                <c:pt idx="67">
                  <c:v>7.714285714289872</c:v>
                </c:pt>
                <c:pt idx="68">
                  <c:v>8.571428571434808</c:v>
                </c:pt>
                <c:pt idx="69">
                  <c:v>9.714285714289872</c:v>
                </c:pt>
                <c:pt idx="70">
                  <c:v>9.571428571434808</c:v>
                </c:pt>
                <c:pt idx="71">
                  <c:v>9.571428571434808</c:v>
                </c:pt>
                <c:pt idx="72">
                  <c:v>10.142857142855064</c:v>
                </c:pt>
                <c:pt idx="73">
                  <c:v>9.857142857144936</c:v>
                </c:pt>
                <c:pt idx="74">
                  <c:v>10.285714285710128</c:v>
                </c:pt>
                <c:pt idx="75">
                  <c:v>9.571428571434808</c:v>
                </c:pt>
                <c:pt idx="76">
                  <c:v>8.714285714289872</c:v>
                </c:pt>
                <c:pt idx="77">
                  <c:v>8.857142857144936</c:v>
                </c:pt>
                <c:pt idx="78">
                  <c:v>8.571428571420256</c:v>
                </c:pt>
                <c:pt idx="79">
                  <c:v>7.714285714289872</c:v>
                </c:pt>
                <c:pt idx="80">
                  <c:v>7.714285714289872</c:v>
                </c:pt>
                <c:pt idx="81">
                  <c:v>7.714285714289872</c:v>
                </c:pt>
                <c:pt idx="82">
                  <c:v>8</c:v>
                </c:pt>
                <c:pt idx="83">
                  <c:v>9</c:v>
                </c:pt>
                <c:pt idx="84">
                  <c:v>8.714285714289872</c:v>
                </c:pt>
                <c:pt idx="85">
                  <c:v>9.8571428571303841</c:v>
                </c:pt>
                <c:pt idx="86">
                  <c:v>10.428571428579744</c:v>
                </c:pt>
                <c:pt idx="87">
                  <c:v>11.714285714289872</c:v>
                </c:pt>
                <c:pt idx="88">
                  <c:v>10.857142857130384</c:v>
                </c:pt>
                <c:pt idx="89">
                  <c:v>12</c:v>
                </c:pt>
                <c:pt idx="90">
                  <c:v>12.714285714289872</c:v>
                </c:pt>
                <c:pt idx="91">
                  <c:v>14.285714285710128</c:v>
                </c:pt>
                <c:pt idx="92">
                  <c:v>13.857142857130384</c:v>
                </c:pt>
                <c:pt idx="93">
                  <c:v>16</c:v>
                </c:pt>
                <c:pt idx="94">
                  <c:v>16.142857142869616</c:v>
                </c:pt>
                <c:pt idx="95">
                  <c:v>17.428571428579744</c:v>
                </c:pt>
                <c:pt idx="96">
                  <c:v>16.714285714289872</c:v>
                </c:pt>
                <c:pt idx="97">
                  <c:v>15.714285714289872</c:v>
                </c:pt>
                <c:pt idx="98">
                  <c:v>16.571428571420256</c:v>
                </c:pt>
                <c:pt idx="99">
                  <c:v>18</c:v>
                </c:pt>
                <c:pt idx="100">
                  <c:v>16.714285714260768</c:v>
                </c:pt>
                <c:pt idx="101">
                  <c:v>17.142857142840512</c:v>
                </c:pt>
                <c:pt idx="102">
                  <c:v>17.142857142840512</c:v>
                </c:pt>
                <c:pt idx="103">
                  <c:v>19</c:v>
                </c:pt>
                <c:pt idx="104">
                  <c:v>20</c:v>
                </c:pt>
                <c:pt idx="105">
                  <c:v>18.857142857159488</c:v>
                </c:pt>
                <c:pt idx="106">
                  <c:v>18.285714285739232</c:v>
                </c:pt>
                <c:pt idx="107">
                  <c:v>19.428571428579744</c:v>
                </c:pt>
                <c:pt idx="108">
                  <c:v>20.142857142840512</c:v>
                </c:pt>
                <c:pt idx="109">
                  <c:v>21.285714285739232</c:v>
                </c:pt>
                <c:pt idx="110">
                  <c:v>20</c:v>
                </c:pt>
                <c:pt idx="111">
                  <c:v>20.142857142840512</c:v>
                </c:pt>
                <c:pt idx="112">
                  <c:v>20.714285714260768</c:v>
                </c:pt>
                <c:pt idx="113">
                  <c:v>22.714285714260768</c:v>
                </c:pt>
                <c:pt idx="114">
                  <c:v>24.857142857159488</c:v>
                </c:pt>
                <c:pt idx="115">
                  <c:v>25.285714285739232</c:v>
                </c:pt>
                <c:pt idx="116">
                  <c:v>25.857142857159488</c:v>
                </c:pt>
                <c:pt idx="117">
                  <c:v>26</c:v>
                </c:pt>
                <c:pt idx="118">
                  <c:v>27</c:v>
                </c:pt>
                <c:pt idx="119">
                  <c:v>29.714285714260768</c:v>
                </c:pt>
                <c:pt idx="120">
                  <c:v>31.285714285739232</c:v>
                </c:pt>
                <c:pt idx="121">
                  <c:v>32</c:v>
                </c:pt>
                <c:pt idx="122">
                  <c:v>37.142857142840512</c:v>
                </c:pt>
                <c:pt idx="123">
                  <c:v>41.142857142840512</c:v>
                </c:pt>
                <c:pt idx="124">
                  <c:v>43.857142857159488</c:v>
                </c:pt>
                <c:pt idx="125">
                  <c:v>46</c:v>
                </c:pt>
                <c:pt idx="126">
                  <c:v>46.142857142840512</c:v>
                </c:pt>
                <c:pt idx="127">
                  <c:v>47.285714285739232</c:v>
                </c:pt>
                <c:pt idx="128">
                  <c:v>47.714285714260768</c:v>
                </c:pt>
                <c:pt idx="129">
                  <c:v>47.571428571420256</c:v>
                </c:pt>
                <c:pt idx="130">
                  <c:v>50.857142857159488</c:v>
                </c:pt>
                <c:pt idx="131">
                  <c:v>49.714285714260768</c:v>
                </c:pt>
                <c:pt idx="132">
                  <c:v>48.142857142840512</c:v>
                </c:pt>
                <c:pt idx="133">
                  <c:v>48.285714285739232</c:v>
                </c:pt>
                <c:pt idx="134">
                  <c:v>46.142857142840512</c:v>
                </c:pt>
                <c:pt idx="135">
                  <c:v>45.571428571420256</c:v>
                </c:pt>
                <c:pt idx="136">
                  <c:v>43.428571428579744</c:v>
                </c:pt>
                <c:pt idx="137">
                  <c:v>40.142857142840512</c:v>
                </c:pt>
                <c:pt idx="138">
                  <c:v>38.857142857159488</c:v>
                </c:pt>
                <c:pt idx="139">
                  <c:v>37.714285714260768</c:v>
                </c:pt>
                <c:pt idx="140">
                  <c:v>39.714285714260768</c:v>
                </c:pt>
                <c:pt idx="141">
                  <c:v>41.285714285739232</c:v>
                </c:pt>
                <c:pt idx="142">
                  <c:v>40.428571428579744</c:v>
                </c:pt>
                <c:pt idx="143">
                  <c:v>42.428571428579744</c:v>
                </c:pt>
                <c:pt idx="144">
                  <c:v>41</c:v>
                </c:pt>
                <c:pt idx="145">
                  <c:v>43.285714285739232</c:v>
                </c:pt>
                <c:pt idx="146">
                  <c:v>77.142857142840512</c:v>
                </c:pt>
                <c:pt idx="147">
                  <c:v>132</c:v>
                </c:pt>
                <c:pt idx="148">
                  <c:v>806.57142857142026</c:v>
                </c:pt>
                <c:pt idx="149">
                  <c:v>8246</c:v>
                </c:pt>
                <c:pt idx="150">
                  <c:v>16411.71428571429</c:v>
                </c:pt>
                <c:pt idx="151">
                  <c:v>24792.85714285713</c:v>
                </c:pt>
                <c:pt idx="152">
                  <c:v>29265</c:v>
                </c:pt>
                <c:pt idx="153">
                  <c:v>34701.14285714287</c:v>
                </c:pt>
                <c:pt idx="154">
                  <c:v>40372.42857142858</c:v>
                </c:pt>
                <c:pt idx="155">
                  <c:v>45805.28571428571</c:v>
                </c:pt>
                <c:pt idx="156">
                  <c:v>43143.42857142858</c:v>
                </c:pt>
                <c:pt idx="157">
                  <c:v>40032.14285714287</c:v>
                </c:pt>
                <c:pt idx="158">
                  <c:v>36337.28571428571</c:v>
                </c:pt>
                <c:pt idx="159">
                  <c:v>33766.57142857142</c:v>
                </c:pt>
                <c:pt idx="160">
                  <c:v>30771.28571428571</c:v>
                </c:pt>
                <c:pt idx="161">
                  <c:v>27585.28571428571</c:v>
                </c:pt>
                <c:pt idx="162">
                  <c:v>24224.71428571429</c:v>
                </c:pt>
                <c:pt idx="163">
                  <c:v>21797.71428571429</c:v>
                </c:pt>
                <c:pt idx="164">
                  <c:v>19735</c:v>
                </c:pt>
                <c:pt idx="165">
                  <c:v>16666</c:v>
                </c:pt>
                <c:pt idx="166">
                  <c:v>15374.857142857145</c:v>
                </c:pt>
                <c:pt idx="167">
                  <c:v>13050.142857142855</c:v>
                </c:pt>
                <c:pt idx="168">
                  <c:v>12498.71428571429</c:v>
                </c:pt>
                <c:pt idx="169">
                  <c:v>12101.28571428571</c:v>
                </c:pt>
                <c:pt idx="170">
                  <c:v>17054</c:v>
                </c:pt>
                <c:pt idx="171">
                  <c:v>23422.57142857142</c:v>
                </c:pt>
                <c:pt idx="172">
                  <c:v>30581.571428571435</c:v>
                </c:pt>
                <c:pt idx="173">
                  <c:v>34016.142857142855</c:v>
                </c:pt>
                <c:pt idx="174">
                  <c:v>40507.57142857142</c:v>
                </c:pt>
                <c:pt idx="175">
                  <c:v>45546.71428571429</c:v>
                </c:pt>
                <c:pt idx="176">
                  <c:v>49958.71428571429</c:v>
                </c:pt>
                <c:pt idx="177">
                  <c:v>48768.428571428565</c:v>
                </c:pt>
                <c:pt idx="178">
                  <c:v>45746.42857142858</c:v>
                </c:pt>
                <c:pt idx="179">
                  <c:v>42008.57142857142</c:v>
                </c:pt>
                <c:pt idx="180">
                  <c:v>39747.571428571435</c:v>
                </c:pt>
                <c:pt idx="181">
                  <c:v>37180.857142857145</c:v>
                </c:pt>
                <c:pt idx="182">
                  <c:v>34208.428571428565</c:v>
                </c:pt>
                <c:pt idx="183">
                  <c:v>31460.857142857145</c:v>
                </c:pt>
                <c:pt idx="184">
                  <c:v>28900.28571428571</c:v>
                </c:pt>
                <c:pt idx="185">
                  <c:v>26749.42857142858</c:v>
                </c:pt>
                <c:pt idx="186">
                  <c:v>24204</c:v>
                </c:pt>
                <c:pt idx="187">
                  <c:v>23271</c:v>
                </c:pt>
                <c:pt idx="188">
                  <c:v>20996.571428571435</c:v>
                </c:pt>
                <c:pt idx="189">
                  <c:v>19770.71428571429</c:v>
                </c:pt>
                <c:pt idx="190">
                  <c:v>18411.142857142855</c:v>
                </c:pt>
                <c:pt idx="191">
                  <c:v>17347.57142857142</c:v>
                </c:pt>
                <c:pt idx="192">
                  <c:v>16242.71428571429</c:v>
                </c:pt>
                <c:pt idx="193">
                  <c:v>15846.571428571428</c:v>
                </c:pt>
                <c:pt idx="194">
                  <c:v>15834.428571428565</c:v>
                </c:pt>
                <c:pt idx="195">
                  <c:v>16280.428571428572</c:v>
                </c:pt>
                <c:pt idx="196">
                  <c:v>15828.142857142862</c:v>
                </c:pt>
                <c:pt idx="197">
                  <c:v>15417.857142857138</c:v>
                </c:pt>
                <c:pt idx="198">
                  <c:v>15043.28571428571</c:v>
                </c:pt>
                <c:pt idx="199">
                  <c:v>14362.142857142862</c:v>
                </c:pt>
                <c:pt idx="200">
                  <c:v>13465.571428571428</c:v>
                </c:pt>
                <c:pt idx="201">
                  <c:v>12680.428571428572</c:v>
                </c:pt>
                <c:pt idx="202">
                  <c:v>11412.142857142855</c:v>
                </c:pt>
                <c:pt idx="203">
                  <c:v>11496</c:v>
                </c:pt>
                <c:pt idx="204">
                  <c:v>11283.428571428572</c:v>
                </c:pt>
                <c:pt idx="205">
                  <c:v>11065.571428571428</c:v>
                </c:pt>
                <c:pt idx="206">
                  <c:v>10843.28571428571</c:v>
                </c:pt>
                <c:pt idx="207">
                  <c:v>11061.71428571429</c:v>
                </c:pt>
                <c:pt idx="208">
                  <c:v>11575.714285714283</c:v>
                </c:pt>
                <c:pt idx="209">
                  <c:v>12402.28571428571</c:v>
                </c:pt>
                <c:pt idx="210">
                  <c:v>11793.714285714283</c:v>
                </c:pt>
                <c:pt idx="211">
                  <c:v>11520.857142857145</c:v>
                </c:pt>
                <c:pt idx="212">
                  <c:v>11454</c:v>
                </c:pt>
                <c:pt idx="213">
                  <c:v>11438.428571428572</c:v>
                </c:pt>
                <c:pt idx="214">
                  <c:v>11433.857142857145</c:v>
                </c:pt>
                <c:pt idx="215">
                  <c:v>11495.285714285717</c:v>
                </c:pt>
                <c:pt idx="216">
                  <c:v>11484.714285714283</c:v>
                </c:pt>
                <c:pt idx="217">
                  <c:v>11634.714285714283</c:v>
                </c:pt>
                <c:pt idx="218">
                  <c:v>11789.142857142855</c:v>
                </c:pt>
                <c:pt idx="219">
                  <c:v>11854.71428571429</c:v>
                </c:pt>
                <c:pt idx="220">
                  <c:v>11939</c:v>
                </c:pt>
                <c:pt idx="221">
                  <c:v>11779.428571428572</c:v>
                </c:pt>
                <c:pt idx="222">
                  <c:v>11692</c:v>
                </c:pt>
                <c:pt idx="223">
                  <c:v>11532.571428571428</c:v>
                </c:pt>
                <c:pt idx="224">
                  <c:v>11595.857142857145</c:v>
                </c:pt>
                <c:pt idx="225">
                  <c:v>11687.142857142855</c:v>
                </c:pt>
                <c:pt idx="226">
                  <c:v>11791</c:v>
                </c:pt>
                <c:pt idx="227">
                  <c:v>11870.714285714283</c:v>
                </c:pt>
                <c:pt idx="228">
                  <c:v>12088.428571428572</c:v>
                </c:pt>
                <c:pt idx="229">
                  <c:v>12224.428571428572</c:v>
                </c:pt>
                <c:pt idx="230">
                  <c:v>12620.28571428571</c:v>
                </c:pt>
                <c:pt idx="231">
                  <c:v>12837.142857142855</c:v>
                </c:pt>
                <c:pt idx="232">
                  <c:v>12951.142857142862</c:v>
                </c:pt>
                <c:pt idx="233">
                  <c:v>13132.857142857145</c:v>
                </c:pt>
                <c:pt idx="234">
                  <c:v>13489.428571428572</c:v>
                </c:pt>
                <c:pt idx="235">
                  <c:v>13701.857142857138</c:v>
                </c:pt>
                <c:pt idx="236">
                  <c:v>13846.28571428571</c:v>
                </c:pt>
                <c:pt idx="237">
                  <c:v>14054.857142857145</c:v>
                </c:pt>
                <c:pt idx="238">
                  <c:v>14041.857142857138</c:v>
                </c:pt>
                <c:pt idx="239">
                  <c:v>13823.28571428571</c:v>
                </c:pt>
                <c:pt idx="240">
                  <c:v>13573.571428571428</c:v>
                </c:pt>
                <c:pt idx="241">
                  <c:v>13555</c:v>
                </c:pt>
                <c:pt idx="242">
                  <c:v>13384.623425494879</c:v>
                </c:pt>
                <c:pt idx="243">
                  <c:v>13805.799268854047</c:v>
                </c:pt>
                <c:pt idx="244">
                  <c:v>13036.541725271542</c:v>
                </c:pt>
                <c:pt idx="245">
                  <c:v>12372.877361224069</c:v>
                </c:pt>
                <c:pt idx="246">
                  <c:v>12076.39473146091</c:v>
                </c:pt>
                <c:pt idx="247">
                  <c:v>11765.763690305277</c:v>
                </c:pt>
                <c:pt idx="248">
                  <c:v>10869.249806704538</c:v>
                </c:pt>
                <c:pt idx="249">
                  <c:v>10674.052398225685</c:v>
                </c:pt>
                <c:pt idx="250">
                  <c:v>10296.423930421006</c:v>
                </c:pt>
                <c:pt idx="251">
                  <c:v>10457.34082122556</c:v>
                </c:pt>
                <c:pt idx="252">
                  <c:v>10615.149230141353</c:v>
                </c:pt>
                <c:pt idx="253">
                  <c:v>10694.319693202982</c:v>
                </c:pt>
                <c:pt idx="254">
                  <c:v>10801.366807753715</c:v>
                </c:pt>
                <c:pt idx="255">
                  <c:v>10972.903709400052</c:v>
                </c:pt>
                <c:pt idx="256">
                  <c:v>11068.06932865156</c:v>
                </c:pt>
                <c:pt idx="257">
                  <c:v>11140.896690208538</c:v>
                </c:pt>
                <c:pt idx="258">
                  <c:v>11187.350072604531</c:v>
                </c:pt>
                <c:pt idx="259">
                  <c:v>11079.43099667046</c:v>
                </c:pt>
                <c:pt idx="260">
                  <c:v>10850.835909677873</c:v>
                </c:pt>
                <c:pt idx="261">
                  <c:v>10573.26128875927</c:v>
                </c:pt>
                <c:pt idx="262">
                  <c:v>10431.506210152525</c:v>
                </c:pt>
                <c:pt idx="263">
                  <c:v>10249.438888776378</c:v>
                </c:pt>
                <c:pt idx="264">
                  <c:v>10545.040942783002</c:v>
                </c:pt>
                <c:pt idx="265">
                  <c:v>10103.408317687194</c:v>
                </c:pt>
                <c:pt idx="266">
                  <c:v>9677.7281252702523</c:v>
                </c:pt>
                <c:pt idx="267">
                  <c:v>9454.8973498383712</c:v>
                </c:pt>
                <c:pt idx="268">
                  <c:v>9237.7825691999315</c:v>
                </c:pt>
                <c:pt idx="269">
                  <c:v>8668.2618386493268</c:v>
                </c:pt>
                <c:pt idx="270">
                  <c:v>8668.2035007078957</c:v>
                </c:pt>
                <c:pt idx="271">
                  <c:v>8668.1129239767033</c:v>
                </c:pt>
                <c:pt idx="272">
                  <c:v>8668.0775228796701</c:v>
                </c:pt>
                <c:pt idx="273">
                  <c:v>8668.1152496309223</c:v>
                </c:pt>
                <c:pt idx="274">
                  <c:v>8668.1554572756577</c:v>
                </c:pt>
                <c:pt idx="275">
                  <c:v>8668.1652793341491</c:v>
                </c:pt>
                <c:pt idx="276">
                  <c:v>8668.1559674936143</c:v>
                </c:pt>
                <c:pt idx="277">
                  <c:v>8668.1408430426382</c:v>
                </c:pt>
                <c:pt idx="278">
                  <c:v>8668.1318919476325</c:v>
                </c:pt>
                <c:pt idx="279">
                  <c:v>8668.4407241067092</c:v>
                </c:pt>
                <c:pt idx="280">
                  <c:v>8668.7550006669189</c:v>
                </c:pt>
                <c:pt idx="281">
                  <c:v>8669.4936239926901</c:v>
                </c:pt>
                <c:pt idx="282">
                  <c:v>8670.0842075761029</c:v>
                </c:pt>
                <c:pt idx="283">
                  <c:v>8670.6732089868019</c:v>
                </c:pt>
                <c:pt idx="284">
                  <c:v>8671.4059927571361</c:v>
                </c:pt>
                <c:pt idx="285">
                  <c:v>8671.8549500049266</c:v>
                </c:pt>
                <c:pt idx="286">
                  <c:v>8671.5500807478093</c:v>
                </c:pt>
                <c:pt idx="287">
                  <c:v>8671.2450034165231</c:v>
                </c:pt>
                <c:pt idx="288">
                  <c:v>8670.5103390863369</c:v>
                </c:pt>
                <c:pt idx="289">
                  <c:v>8670.0608319131279</c:v>
                </c:pt>
                <c:pt idx="290">
                  <c:v>8669.468571249934</c:v>
                </c:pt>
                <c:pt idx="291">
                  <c:v>8668.7337979288568</c:v>
                </c:pt>
                <c:pt idx="292">
                  <c:v>8668.570714702626</c:v>
                </c:pt>
                <c:pt idx="293">
                  <c:v>8668.5709259860596</c:v>
                </c:pt>
                <c:pt idx="294">
                  <c:v>8668.5709884253884</c:v>
                </c:pt>
                <c:pt idx="295">
                  <c:v>8668.570910481998</c:v>
                </c:pt>
                <c:pt idx="296">
                  <c:v>8668.4279600400478</c:v>
                </c:pt>
                <c:pt idx="297">
                  <c:v>8668.5707859240501</c:v>
                </c:pt>
                <c:pt idx="298">
                  <c:v>8668.8565250466054</c:v>
                </c:pt>
                <c:pt idx="299">
                  <c:v>8668.5708504949289</c:v>
                </c:pt>
                <c:pt idx="300">
                  <c:v>8668.5708698937669</c:v>
                </c:pt>
                <c:pt idx="301">
                  <c:v>8668.7137190233916</c:v>
                </c:pt>
                <c:pt idx="302">
                  <c:v>8668.8565580884751</c:v>
                </c:pt>
                <c:pt idx="303">
                  <c:v>8668.8565485628496</c:v>
                </c:pt>
                <c:pt idx="304">
                  <c:v>8668.7136938619806</c:v>
                </c:pt>
                <c:pt idx="305">
                  <c:v>8668.5708439754526</c:v>
                </c:pt>
                <c:pt idx="306">
                  <c:v>8668.5708487204829</c:v>
                </c:pt>
                <c:pt idx="307">
                  <c:v>8668.7137056098145</c:v>
                </c:pt>
                <c:pt idx="308">
                  <c:v>8668.5708454060368</c:v>
                </c:pt>
                <c:pt idx="309">
                  <c:v>8668.8565573382366</c:v>
                </c:pt>
                <c:pt idx="310">
                  <c:v>8668.8565572310617</c:v>
                </c:pt>
                <c:pt idx="311">
                  <c:v>8668.9994156122411</c:v>
                </c:pt>
                <c:pt idx="312">
                  <c:v>8669.2851309643884</c:v>
                </c:pt>
                <c:pt idx="313">
                  <c:v>8669.5708454321139</c:v>
                </c:pt>
                <c:pt idx="314">
                  <c:v>8669.7137021052476</c:v>
                </c:pt>
                <c:pt idx="315">
                  <c:v>8669.7137016046036</c:v>
                </c:pt>
                <c:pt idx="316">
                  <c:v>8669.285130041113</c:v>
                </c:pt>
                <c:pt idx="317">
                  <c:v>8669.4279873660562</c:v>
                </c:pt>
                <c:pt idx="318">
                  <c:v>8669.2851304465148</c:v>
                </c:pt>
                <c:pt idx="319">
                  <c:v>8669.14227338208</c:v>
                </c:pt>
                <c:pt idx="320">
                  <c:v>8668.9994161764916</c:v>
                </c:pt>
                <c:pt idx="321">
                  <c:v>8668.8565589358477</c:v>
                </c:pt>
                <c:pt idx="322">
                  <c:v>8669.1422731769271</c:v>
                </c:pt>
                <c:pt idx="323">
                  <c:v>8669.142273197489</c:v>
                </c:pt>
                <c:pt idx="324">
                  <c:v>8669.4279875258362</c:v>
                </c:pt>
                <c:pt idx="325">
                  <c:v>8669.9994161201466</c:v>
                </c:pt>
                <c:pt idx="326">
                  <c:v>8670.8565589714417</c:v>
                </c:pt>
                <c:pt idx="327">
                  <c:v>8671.4279875249777</c:v>
                </c:pt>
                <c:pt idx="328">
                  <c:v>8672.1422732278879</c:v>
                </c:pt>
                <c:pt idx="329">
                  <c:v>8671.9994160859642</c:v>
                </c:pt>
                <c:pt idx="330">
                  <c:v>8672.4279875219218</c:v>
                </c:pt>
                <c:pt idx="331">
                  <c:v>8672.7137018132198</c:v>
                </c:pt>
                <c:pt idx="332">
                  <c:v>8673.1422732419742</c:v>
                </c:pt>
                <c:pt idx="333">
                  <c:v>8672.999416096136</c:v>
                </c:pt>
                <c:pt idx="334">
                  <c:v>8673.4279875221837</c:v>
                </c:pt>
                <c:pt idx="335">
                  <c:v>8673.1422732360079</c:v>
                </c:pt>
                <c:pt idx="336">
                  <c:v>8673.1422732371429</c:v>
                </c:pt>
                <c:pt idx="337">
                  <c:v>8673.1422732383362</c:v>
                </c:pt>
                <c:pt idx="338">
                  <c:v>8672.4279875244538</c:v>
                </c:pt>
                <c:pt idx="339">
                  <c:v>8672.4279875239881</c:v>
                </c:pt>
                <c:pt idx="340">
                  <c:v>8672.7137018091453</c:v>
                </c:pt>
                <c:pt idx="341">
                  <c:v>8671.9994160945935</c:v>
                </c:pt>
                <c:pt idx="342">
                  <c:v>8671.9994160947972</c:v>
                </c:pt>
                <c:pt idx="343">
                  <c:v>8671.9994160950009</c:v>
                </c:pt>
                <c:pt idx="344">
                  <c:v>8671.9994160950591</c:v>
                </c:pt>
                <c:pt idx="345">
                  <c:v>8672.4279875235807</c:v>
                </c:pt>
                <c:pt idx="346">
                  <c:v>8671.4279875234351</c:v>
                </c:pt>
                <c:pt idx="347">
                  <c:v>8670.5708446662466</c:v>
                </c:pt>
                <c:pt idx="348">
                  <c:v>8670.4279875234351</c:v>
                </c:pt>
                <c:pt idx="349">
                  <c:v>8669.9994160949427</c:v>
                </c:pt>
                <c:pt idx="350">
                  <c:v>8670.1422732378705</c:v>
                </c:pt>
                <c:pt idx="351">
                  <c:v>8670.4279875236389</c:v>
                </c:pt>
                <c:pt idx="352">
                  <c:v>8670.4279875235225</c:v>
                </c:pt>
                <c:pt idx="353">
                  <c:v>8670.7137018092908</c:v>
                </c:pt>
                <c:pt idx="354">
                  <c:v>8670.7137018092326</c:v>
                </c:pt>
                <c:pt idx="355">
                  <c:v>8671.570844666363</c:v>
                </c:pt>
                <c:pt idx="356">
                  <c:v>8672.1422732377832</c:v>
                </c:pt>
                <c:pt idx="357">
                  <c:v>8672.4279875235225</c:v>
                </c:pt>
                <c:pt idx="358">
                  <c:v>8671.9994160949136</c:v>
                </c:pt>
                <c:pt idx="359">
                  <c:v>8671.8565589521313</c:v>
                </c:pt>
                <c:pt idx="360">
                  <c:v>8672.7137018092035</c:v>
                </c:pt>
                <c:pt idx="361">
                  <c:v>8673.8565589521604</c:v>
                </c:pt>
                <c:pt idx="362">
                  <c:v>8673.7137018092908</c:v>
                </c:pt>
                <c:pt idx="363">
                  <c:v>8674.2851303806528</c:v>
                </c:pt>
                <c:pt idx="364">
                  <c:v>8673.9994160949427</c:v>
                </c:pt>
                <c:pt idx="365">
                  <c:v>8675.4279875235225</c:v>
                </c:pt>
                <c:pt idx="366">
                  <c:v>8676.7137018092326</c:v>
                </c:pt>
                <c:pt idx="367">
                  <c:v>8676.7137018092908</c:v>
                </c:pt>
                <c:pt idx="368">
                  <c:v>8676.570844666363</c:v>
                </c:pt>
                <c:pt idx="369">
                  <c:v>8676.9994160949427</c:v>
                </c:pt>
                <c:pt idx="370">
                  <c:v>8677.5708446664212</c:v>
                </c:pt>
                <c:pt idx="371">
                  <c:v>8678.4279875235225</c:v>
                </c:pt>
                <c:pt idx="372">
                  <c:v>8677.570844666363</c:v>
                </c:pt>
                <c:pt idx="373">
                  <c:v>8677.4279875235225</c:v>
                </c:pt>
                <c:pt idx="374">
                  <c:v>8678.2851303806528</c:v>
                </c:pt>
                <c:pt idx="375">
                  <c:v>8678.4279875235807</c:v>
                </c:pt>
                <c:pt idx="376">
                  <c:v>8679.2851303807111</c:v>
                </c:pt>
                <c:pt idx="377">
                  <c:v>8679.1422732377832</c:v>
                </c:pt>
                <c:pt idx="378">
                  <c:v>8679.7137018092908</c:v>
                </c:pt>
                <c:pt idx="379">
                  <c:v>8679.1422732377832</c:v>
                </c:pt>
                <c:pt idx="380">
                  <c:v>8678.8565589520731</c:v>
                </c:pt>
                <c:pt idx="381">
                  <c:v>8679.1422732377832</c:v>
                </c:pt>
                <c:pt idx="382">
                  <c:v>8679.2851303806528</c:v>
                </c:pt>
                <c:pt idx="383">
                  <c:v>8679.2851303806528</c:v>
                </c:pt>
                <c:pt idx="384">
                  <c:v>8680.4279875235516</c:v>
                </c:pt>
                <c:pt idx="385">
                  <c:v>8680.9994160949136</c:v>
                </c:pt>
                <c:pt idx="386">
                  <c:v>8681.4279875235516</c:v>
                </c:pt>
                <c:pt idx="387">
                  <c:v>8682.1422732378123</c:v>
                </c:pt>
                <c:pt idx="388">
                  <c:v>8682.1422732378123</c:v>
                </c:pt>
                <c:pt idx="389">
                  <c:v>8682.8565589520731</c:v>
                </c:pt>
                <c:pt idx="390">
                  <c:v>8687.7137018092326</c:v>
                </c:pt>
                <c:pt idx="391">
                  <c:v>8696.1422732377832</c:v>
                </c:pt>
                <c:pt idx="392">
                  <c:v>8701.7137018092908</c:v>
                </c:pt>
                <c:pt idx="393">
                  <c:v>8705.2851303807111</c:v>
                </c:pt>
                <c:pt idx="394">
                  <c:v>8708.4279875235807</c:v>
                </c:pt>
                <c:pt idx="395">
                  <c:v>8710.4279875235225</c:v>
                </c:pt>
                <c:pt idx="396">
                  <c:v>8712.570844666363</c:v>
                </c:pt>
                <c:pt idx="397">
                  <c:v>8709.1422732377832</c:v>
                </c:pt>
                <c:pt idx="398">
                  <c:v>8703.1422732377832</c:v>
                </c:pt>
                <c:pt idx="399">
                  <c:v>8698.7137018092326</c:v>
                </c:pt>
                <c:pt idx="400">
                  <c:v>8695.9994160949427</c:v>
                </c:pt>
                <c:pt idx="401">
                  <c:v>8693.7137018092908</c:v>
                </c:pt>
                <c:pt idx="402">
                  <c:v>8692.7137018092908</c:v>
                </c:pt>
                <c:pt idx="403">
                  <c:v>8692.1422732378705</c:v>
                </c:pt>
                <c:pt idx="404">
                  <c:v>8691.7137018092326</c:v>
                </c:pt>
                <c:pt idx="405">
                  <c:v>8690.4279875235079</c:v>
                </c:pt>
                <c:pt idx="406">
                  <c:v>8692.8565589520877</c:v>
                </c:pt>
                <c:pt idx="407">
                  <c:v>8699.713701809218</c:v>
                </c:pt>
                <c:pt idx="408">
                  <c:v>8701.1422732377978</c:v>
                </c:pt>
                <c:pt idx="409">
                  <c:v>8885.142273237856</c:v>
                </c:pt>
                <c:pt idx="410">
                  <c:v>9493.4279875235079</c:v>
                </c:pt>
                <c:pt idx="411">
                  <c:v>15073.285130380726</c:v>
                </c:pt>
                <c:pt idx="412">
                  <c:v>22080.856558952088</c:v>
                </c:pt>
                <c:pt idx="413">
                  <c:v>29115.856558952073</c:v>
                </c:pt>
                <c:pt idx="414">
                  <c:v>32468.713701809233</c:v>
                </c:pt>
                <c:pt idx="415">
                  <c:v>37639.142273237783</c:v>
                </c:pt>
                <c:pt idx="416">
                  <c:v>42854.427987523508</c:v>
                </c:pt>
                <c:pt idx="417">
                  <c:v>47126.012548540195</c:v>
                </c:pt>
                <c:pt idx="418">
                  <c:v>45704.656819807977</c:v>
                </c:pt>
                <c:pt idx="419">
                  <c:v>42923.158233932874</c:v>
                </c:pt>
                <c:pt idx="420">
                  <c:v>39286.945362343511</c:v>
                </c:pt>
                <c:pt idx="421">
                  <c:v>36923.589633611307</c:v>
                </c:pt>
                <c:pt idx="422">
                  <c:v>34154.233904879002</c:v>
                </c:pt>
                <c:pt idx="423">
                  <c:v>30981.449604718146</c:v>
                </c:pt>
                <c:pt idx="424">
                  <c:v>28351.366457826516</c:v>
                </c:pt>
                <c:pt idx="425">
                  <c:v>26037.366457826458</c:v>
                </c:pt>
                <c:pt idx="426">
                  <c:v>24141.937886397878</c:v>
                </c:pt>
                <c:pt idx="427">
                  <c:v>21916.795029255038</c:v>
                </c:pt>
                <c:pt idx="428">
                  <c:v>20974.795029255023</c:v>
                </c:pt>
                <c:pt idx="429">
                  <c:v>18814.937886397893</c:v>
                </c:pt>
                <c:pt idx="430">
                  <c:v>17870.795029255096</c:v>
                </c:pt>
                <c:pt idx="431">
                  <c:v>16738.652172112168</c:v>
                </c:pt>
                <c:pt idx="432">
                  <c:v>15870.223600683603</c:v>
                </c:pt>
                <c:pt idx="433">
                  <c:v>14961.223600683661</c:v>
                </c:pt>
                <c:pt idx="434">
                  <c:v>14576.795029255096</c:v>
                </c:pt>
                <c:pt idx="435">
                  <c:v>14524.795029255023</c:v>
                </c:pt>
                <c:pt idx="436">
                  <c:v>15143.795029255096</c:v>
                </c:pt>
                <c:pt idx="437">
                  <c:v>14777.223600683661</c:v>
                </c:pt>
                <c:pt idx="438">
                  <c:v>13702.098310953676</c:v>
                </c:pt>
                <c:pt idx="439">
                  <c:v>12677.290857794826</c:v>
                </c:pt>
                <c:pt idx="440">
                  <c:v>11370.911976064483</c:v>
                </c:pt>
                <c:pt idx="441">
                  <c:v>10013.104522905574</c:v>
                </c:pt>
                <c:pt idx="442">
                  <c:v>8798.7256411753042</c:v>
                </c:pt>
                <c:pt idx="443">
                  <c:v>7213.2039023021134</c:v>
                </c:pt>
                <c:pt idx="444">
                  <c:v>6589.2535920003429</c:v>
                </c:pt>
                <c:pt idx="445">
                  <c:v>6464.9999999999927</c:v>
                </c:pt>
                <c:pt idx="446">
                  <c:v>6348.1428571428551</c:v>
                </c:pt>
                <c:pt idx="447">
                  <c:v>6178.8571428571449</c:v>
                </c:pt>
                <c:pt idx="448">
                  <c:v>6289.4285714285725</c:v>
                </c:pt>
                <c:pt idx="449">
                  <c:v>6539</c:v>
                </c:pt>
                <c:pt idx="450">
                  <c:v>7007.7142857142826</c:v>
                </c:pt>
                <c:pt idx="451">
                  <c:v>6401.1428571428551</c:v>
                </c:pt>
                <c:pt idx="452">
                  <c:v>6120.2857142857174</c:v>
                </c:pt>
                <c:pt idx="453">
                  <c:v>5946.7142857142899</c:v>
                </c:pt>
                <c:pt idx="454">
                  <c:v>5749.7142857142899</c:v>
                </c:pt>
                <c:pt idx="455">
                  <c:v>5633.5714285714275</c:v>
                </c:pt>
                <c:pt idx="456">
                  <c:v>5641.2857142857101</c:v>
                </c:pt>
                <c:pt idx="457">
                  <c:v>5471.1428571428623</c:v>
                </c:pt>
                <c:pt idx="458">
                  <c:v>5427.8571428571377</c:v>
                </c:pt>
                <c:pt idx="459">
                  <c:v>5410.2857142857101</c:v>
                </c:pt>
                <c:pt idx="460">
                  <c:v>5295.7142857142899</c:v>
                </c:pt>
                <c:pt idx="461">
                  <c:v>5228.8571428571377</c:v>
                </c:pt>
                <c:pt idx="462">
                  <c:v>5063.2857142857174</c:v>
                </c:pt>
                <c:pt idx="463">
                  <c:v>4876.7142857142826</c:v>
                </c:pt>
                <c:pt idx="464">
                  <c:v>4581.1428571428551</c:v>
                </c:pt>
                <c:pt idx="465">
                  <c:v>4494</c:v>
                </c:pt>
                <c:pt idx="466">
                  <c:v>4370</c:v>
                </c:pt>
                <c:pt idx="467">
                  <c:v>4295.8571428571449</c:v>
                </c:pt>
                <c:pt idx="468">
                  <c:v>4245</c:v>
                </c:pt>
                <c:pt idx="469">
                  <c:v>4268.4285714285725</c:v>
                </c:pt>
                <c:pt idx="470">
                  <c:v>4416.5714285714275</c:v>
                </c:pt>
                <c:pt idx="471">
                  <c:v>4630.2857142857174</c:v>
                </c:pt>
                <c:pt idx="472">
                  <c:v>4668.5714285714275</c:v>
                </c:pt>
                <c:pt idx="473">
                  <c:v>4693</c:v>
                </c:pt>
                <c:pt idx="474">
                  <c:v>4753.5714285714275</c:v>
                </c:pt>
                <c:pt idx="475">
                  <c:v>4916</c:v>
                </c:pt>
                <c:pt idx="476">
                  <c:v>5020.7142857142826</c:v>
                </c:pt>
                <c:pt idx="477">
                  <c:v>5082.7142857142826</c:v>
                </c:pt>
                <c:pt idx="478">
                  <c:v>5238.7142857142826</c:v>
                </c:pt>
                <c:pt idx="479">
                  <c:v>5347.8571428571449</c:v>
                </c:pt>
                <c:pt idx="480">
                  <c:v>5388</c:v>
                </c:pt>
                <c:pt idx="481">
                  <c:v>5452.4285714285725</c:v>
                </c:pt>
                <c:pt idx="482">
                  <c:v>5594.2857142857174</c:v>
                </c:pt>
                <c:pt idx="483">
                  <c:v>5629.9615743584727</c:v>
                </c:pt>
                <c:pt idx="484">
                  <c:v>5716.5911700257275</c:v>
                </c:pt>
                <c:pt idx="485">
                  <c:v>5813.9576849861551</c:v>
                </c:pt>
                <c:pt idx="486">
                  <c:v>5998.8249952943443</c:v>
                </c:pt>
                <c:pt idx="487">
                  <c:v>6321.3007985438599</c:v>
                </c:pt>
                <c:pt idx="488">
                  <c:v>6623.176331527924</c:v>
                </c:pt>
                <c:pt idx="489">
                  <c:v>6738.0128953209351</c:v>
                </c:pt>
                <c:pt idx="490">
                  <c:v>6909.6820136731694</c:v>
                </c:pt>
                <c:pt idx="491">
                  <c:v>6898.9526937760966</c:v>
                </c:pt>
                <c:pt idx="492">
                  <c:v>7059.8924922312435</c:v>
                </c:pt>
                <c:pt idx="493">
                  <c:v>7217.6766083637049</c:v>
                </c:pt>
                <c:pt idx="494">
                  <c:v>7296.8211210157242</c:v>
                </c:pt>
                <c:pt idx="495">
                  <c:v>7403.8618654000675</c:v>
                </c:pt>
                <c:pt idx="496">
                  <c:v>7575.4047564591383</c:v>
                </c:pt>
                <c:pt idx="497">
                  <c:v>7670.5801353101997</c:v>
                </c:pt>
                <c:pt idx="498">
                  <c:v>7743.4132833170806</c:v>
                </c:pt>
                <c:pt idx="499">
                  <c:v>7789.864927106406</c:v>
                </c:pt>
                <c:pt idx="500">
                  <c:v>7681.9405916717733</c:v>
                </c:pt>
                <c:pt idx="501">
                  <c:v>7453.3429642191986</c:v>
                </c:pt>
                <c:pt idx="502">
                  <c:v>7175.7691471188227</c:v>
                </c:pt>
                <c:pt idx="503">
                  <c:v>7034.0158971855453</c:v>
                </c:pt>
                <c:pt idx="504">
                  <c:v>6851.9498100912751</c:v>
                </c:pt>
                <c:pt idx="505">
                  <c:v>7147.5518804772655</c:v>
                </c:pt>
                <c:pt idx="506">
                  <c:v>6705.9184474652357</c:v>
                </c:pt>
                <c:pt idx="507">
                  <c:v>6280.237580087698</c:v>
                </c:pt>
                <c:pt idx="508">
                  <c:v>6057.4067846295802</c:v>
                </c:pt>
                <c:pt idx="509">
                  <c:v>5840.2923440269296</c:v>
                </c:pt>
                <c:pt idx="510">
                  <c:v>5270.771887257295</c:v>
                </c:pt>
                <c:pt idx="511">
                  <c:v>5270.7136009694732</c:v>
                </c:pt>
                <c:pt idx="512">
                  <c:v>5270.6229069449837</c:v>
                </c:pt>
                <c:pt idx="513">
                  <c:v>5270.5873694584807</c:v>
                </c:pt>
                <c:pt idx="514">
                  <c:v>5270.6250557526946</c:v>
                </c:pt>
                <c:pt idx="515">
                  <c:v>5270.6653135836677</c:v>
                </c:pt>
                <c:pt idx="516">
                  <c:v>5270.6751958588138</c:v>
                </c:pt>
                <c:pt idx="517">
                  <c:v>5270.6659042609026</c:v>
                </c:pt>
                <c:pt idx="518">
                  <c:v>5270.650763832833</c:v>
                </c:pt>
                <c:pt idx="519">
                  <c:v>5270.6417870988516</c:v>
                </c:pt>
                <c:pt idx="520">
                  <c:v>5270.6444842637138</c:v>
                </c:pt>
                <c:pt idx="521">
                  <c:v>5270.6526435217165</c:v>
                </c:pt>
                <c:pt idx="522">
                  <c:v>5270.6565846313824</c:v>
                </c:pt>
                <c:pt idx="523">
                  <c:v>5270.6553376382217</c:v>
                </c:pt>
                <c:pt idx="524">
                  <c:v>5270.6525007496966</c:v>
                </c:pt>
                <c:pt idx="525">
                  <c:v>5270.6505859623285</c:v>
                </c:pt>
                <c:pt idx="526">
                  <c:v>5270.6505605523853</c:v>
                </c:pt>
                <c:pt idx="527">
                  <c:v>5270.6518139028922</c:v>
                </c:pt>
                <c:pt idx="528">
                  <c:v>5270.6528609940506</c:v>
                </c:pt>
                <c:pt idx="529">
                  <c:v>5270.6528920616402</c:v>
                </c:pt>
                <c:pt idx="530">
                  <c:v>5270.6523645516208</c:v>
                </c:pt>
                <c:pt idx="531">
                  <c:v>5270.6519398248856</c:v>
                </c:pt>
                <c:pt idx="532">
                  <c:v>5270.651859692829</c:v>
                </c:pt>
                <c:pt idx="533">
                  <c:v>5270.6520416542335</c:v>
                </c:pt>
                <c:pt idx="534">
                  <c:v>5270.6522532402159</c:v>
                </c:pt>
                <c:pt idx="535">
                  <c:v>5270.6523160027064</c:v>
                </c:pt>
                <c:pt idx="536">
                  <c:v>5270.6522381469331</c:v>
                </c:pt>
                <c:pt idx="537">
                  <c:v>5270.6521447304913</c:v>
                </c:pt>
                <c:pt idx="538">
                  <c:v>5270.6521133274873</c:v>
                </c:pt>
                <c:pt idx="539">
                  <c:v>5270.6521381135753</c:v>
                </c:pt>
                <c:pt idx="540">
                  <c:v>5270.6521778879687</c:v>
                </c:pt>
                <c:pt idx="541">
                  <c:v>5270.6521973499475</c:v>
                </c:pt>
                <c:pt idx="542">
                  <c:v>5270.6521893657191</c:v>
                </c:pt>
                <c:pt idx="543">
                  <c:v>5270.6521712746471</c:v>
                </c:pt>
                <c:pt idx="544">
                  <c:v>5270.6521617215403</c:v>
                </c:pt>
                <c:pt idx="545">
                  <c:v>5270.6521641486979</c:v>
                </c:pt>
                <c:pt idx="546">
                  <c:v>5270.6521714088885</c:v>
                </c:pt>
                <c:pt idx="547">
                  <c:v>5270.6521761654221</c:v>
                </c:pt>
                <c:pt idx="548">
                  <c:v>5270.6521759192838</c:v>
                </c:pt>
                <c:pt idx="549">
                  <c:v>5270.6521728576263</c:v>
                </c:pt>
                <c:pt idx="550">
                  <c:v>5270.6521704993866</c:v>
                </c:pt>
                <c:pt idx="551">
                  <c:v>5270.6521703885592</c:v>
                </c:pt>
                <c:pt idx="552">
                  <c:v>5270.652171626818</c:v>
                </c:pt>
                <c:pt idx="553">
                  <c:v>5270.652172695045</c:v>
                </c:pt>
                <c:pt idx="554">
                  <c:v>5270.6521728787848</c:v>
                </c:pt>
                <c:pt idx="555">
                  <c:v>5270.6521724093982</c:v>
                </c:pt>
                <c:pt idx="556">
                  <c:v>5270.6521719079465</c:v>
                </c:pt>
                <c:pt idx="557">
                  <c:v>5270.6521717722426</c:v>
                </c:pt>
                <c:pt idx="558">
                  <c:v>5270.6521719541124</c:v>
                </c:pt>
                <c:pt idx="559">
                  <c:v>5270.6521721777608</c:v>
                </c:pt>
                <c:pt idx="560">
                  <c:v>5270.6521722565303</c:v>
                </c:pt>
                <c:pt idx="561">
                  <c:v>5270.6521721938625</c:v>
                </c:pt>
                <c:pt idx="562">
                  <c:v>5270.6521720959427</c:v>
                </c:pt>
                <c:pt idx="563">
                  <c:v>5270.6521720512392</c:v>
                </c:pt>
                <c:pt idx="564">
                  <c:v>5270.6521720717283</c:v>
                </c:pt>
                <c:pt idx="565">
                  <c:v>5270.6521721145691</c:v>
                </c:pt>
                <c:pt idx="566">
                  <c:v>5270.652172137321</c:v>
                </c:pt>
                <c:pt idx="567">
                  <c:v>5270.6521721315949</c:v>
                </c:pt>
                <c:pt idx="568">
                  <c:v>5270.6521721137688</c:v>
                </c:pt>
                <c:pt idx="569">
                  <c:v>5270.6521721023237</c:v>
                </c:pt>
                <c:pt idx="570">
                  <c:v>5270.652172103124</c:v>
                </c:pt>
                <c:pt idx="571">
                  <c:v>5270.6521721105746</c:v>
                </c:pt>
                <c:pt idx="572">
                  <c:v>5270.6521721161625</c:v>
                </c:pt>
                <c:pt idx="573">
                  <c:v>5270.6521721164318</c:v>
                </c:pt>
                <c:pt idx="574">
                  <c:v>5270.6521721133686</c:v>
                </c:pt>
                <c:pt idx="575">
                  <c:v>5270.6521721108438</c:v>
                </c:pt>
                <c:pt idx="576">
                  <c:v>5270.6521721103127</c:v>
                </c:pt>
                <c:pt idx="577">
                  <c:v>5270.6521721116369</c:v>
                </c:pt>
                <c:pt idx="578">
                  <c:v>5270.6521721127065</c:v>
                </c:pt>
                <c:pt idx="579">
                  <c:v>5270.6521721129684</c:v>
                </c:pt>
                <c:pt idx="580">
                  <c:v>5270.6521721127065</c:v>
                </c:pt>
                <c:pt idx="581">
                  <c:v>5270.6521721120371</c:v>
                </c:pt>
                <c:pt idx="582">
                  <c:v>5270.6521721117751</c:v>
                </c:pt>
                <c:pt idx="583">
                  <c:v>5270.6521721120371</c:v>
                </c:pt>
                <c:pt idx="584">
                  <c:v>5270.6521721121753</c:v>
                </c:pt>
                <c:pt idx="585">
                  <c:v>5270.6521721124373</c:v>
                </c:pt>
                <c:pt idx="586">
                  <c:v>5270.6521721123063</c:v>
                </c:pt>
                <c:pt idx="587">
                  <c:v>5270.6521721120371</c:v>
                </c:pt>
                <c:pt idx="588">
                  <c:v>5270.6521721121753</c:v>
                </c:pt>
                <c:pt idx="589">
                  <c:v>5270.6521721121753</c:v>
                </c:pt>
                <c:pt idx="590">
                  <c:v>5270.6521721121753</c:v>
                </c:pt>
                <c:pt idx="591">
                  <c:v>5270.6521721123063</c:v>
                </c:pt>
                <c:pt idx="592">
                  <c:v>5270.6521721121753</c:v>
                </c:pt>
                <c:pt idx="593">
                  <c:v>5270.6521721121753</c:v>
                </c:pt>
                <c:pt idx="594">
                  <c:v>5270.6521721123063</c:v>
                </c:pt>
                <c:pt idx="595">
                  <c:v>5270.6521721121753</c:v>
                </c:pt>
                <c:pt idx="596">
                  <c:v>5270.6521721121753</c:v>
                </c:pt>
                <c:pt idx="597">
                  <c:v>5270.6521721123063</c:v>
                </c:pt>
                <c:pt idx="598">
                  <c:v>5270.6521721121753</c:v>
                </c:pt>
                <c:pt idx="599">
                  <c:v>5270.6521721121753</c:v>
                </c:pt>
                <c:pt idx="600">
                  <c:v>5270.6521721123063</c:v>
                </c:pt>
                <c:pt idx="601">
                  <c:v>5270.6521721121753</c:v>
                </c:pt>
                <c:pt idx="602">
                  <c:v>5270.6521721121753</c:v>
                </c:pt>
                <c:pt idx="603">
                  <c:v>5270.6521721123063</c:v>
                </c:pt>
                <c:pt idx="604">
                  <c:v>5270.6521721121753</c:v>
                </c:pt>
                <c:pt idx="605">
                  <c:v>5270.6521721121753</c:v>
                </c:pt>
                <c:pt idx="606">
                  <c:v>5270.6521721121753</c:v>
                </c:pt>
                <c:pt idx="607">
                  <c:v>5270.6521721121753</c:v>
                </c:pt>
                <c:pt idx="608">
                  <c:v>5270.6521721121753</c:v>
                </c:pt>
                <c:pt idx="609">
                  <c:v>5270.6521721121753</c:v>
                </c:pt>
                <c:pt idx="610">
                  <c:v>5270.6521721120371</c:v>
                </c:pt>
                <c:pt idx="611">
                  <c:v>5270.6521721121753</c:v>
                </c:pt>
                <c:pt idx="612">
                  <c:v>5270.6521721121753</c:v>
                </c:pt>
                <c:pt idx="613">
                  <c:v>5270.6521721121753</c:v>
                </c:pt>
                <c:pt idx="614">
                  <c:v>5270.6521721121753</c:v>
                </c:pt>
                <c:pt idx="615">
                  <c:v>5270.6521721121753</c:v>
                </c:pt>
                <c:pt idx="616">
                  <c:v>5270.6521721121753</c:v>
                </c:pt>
                <c:pt idx="617">
                  <c:v>5270.6521721123063</c:v>
                </c:pt>
                <c:pt idx="618">
                  <c:v>5270.6521721121753</c:v>
                </c:pt>
                <c:pt idx="619">
                  <c:v>5270.6521721121753</c:v>
                </c:pt>
                <c:pt idx="620">
                  <c:v>5270.6521721123063</c:v>
                </c:pt>
                <c:pt idx="621">
                  <c:v>5270.6521721121753</c:v>
                </c:pt>
                <c:pt idx="622">
                  <c:v>5270.6521721121753</c:v>
                </c:pt>
                <c:pt idx="623">
                  <c:v>5270.6521721123063</c:v>
                </c:pt>
                <c:pt idx="624">
                  <c:v>5270.6521721121753</c:v>
                </c:pt>
                <c:pt idx="625">
                  <c:v>5270.6521721121753</c:v>
                </c:pt>
                <c:pt idx="626">
                  <c:v>5270.6521721123063</c:v>
                </c:pt>
                <c:pt idx="627">
                  <c:v>5270.6521721121753</c:v>
                </c:pt>
                <c:pt idx="628">
                  <c:v>5270.6521721121753</c:v>
                </c:pt>
                <c:pt idx="629">
                  <c:v>5270.6521721123063</c:v>
                </c:pt>
                <c:pt idx="630">
                  <c:v>5270.6521721121753</c:v>
                </c:pt>
                <c:pt idx="631">
                  <c:v>5270.6521721121753</c:v>
                </c:pt>
                <c:pt idx="632">
                  <c:v>5270.6521721123063</c:v>
                </c:pt>
                <c:pt idx="633">
                  <c:v>5270.6521721121753</c:v>
                </c:pt>
                <c:pt idx="634">
                  <c:v>5270.6521721121753</c:v>
                </c:pt>
                <c:pt idx="635">
                  <c:v>5270.6521721123063</c:v>
                </c:pt>
                <c:pt idx="636">
                  <c:v>5270.6521721121753</c:v>
                </c:pt>
                <c:pt idx="637">
                  <c:v>5270.6521721121753</c:v>
                </c:pt>
                <c:pt idx="638">
                  <c:v>5270.6521721123063</c:v>
                </c:pt>
                <c:pt idx="639">
                  <c:v>5270.6521721121753</c:v>
                </c:pt>
                <c:pt idx="640">
                  <c:v>5270.6521721121753</c:v>
                </c:pt>
                <c:pt idx="641">
                  <c:v>5270.6521721121753</c:v>
                </c:pt>
                <c:pt idx="642">
                  <c:v>5270.6521721121753</c:v>
                </c:pt>
                <c:pt idx="643">
                  <c:v>5270.6521721121753</c:v>
                </c:pt>
                <c:pt idx="644">
                  <c:v>5270.6521721121753</c:v>
                </c:pt>
                <c:pt idx="645">
                  <c:v>5270.6521721120371</c:v>
                </c:pt>
                <c:pt idx="646">
                  <c:v>5270.6521721121753</c:v>
                </c:pt>
                <c:pt idx="647">
                  <c:v>5270.6521721121753</c:v>
                </c:pt>
                <c:pt idx="648">
                  <c:v>5270.6521721121753</c:v>
                </c:pt>
                <c:pt idx="649">
                  <c:v>5270.6521721121753</c:v>
                </c:pt>
                <c:pt idx="650">
                  <c:v>5270.6521721121753</c:v>
                </c:pt>
                <c:pt idx="651">
                  <c:v>5270.6521721121753</c:v>
                </c:pt>
                <c:pt idx="652">
                  <c:v>5270.6521721123063</c:v>
                </c:pt>
                <c:pt idx="653">
                  <c:v>5270.6521721121753</c:v>
                </c:pt>
                <c:pt idx="654">
                  <c:v>5270.6521721121753</c:v>
                </c:pt>
                <c:pt idx="655">
                  <c:v>5270.6521721123063</c:v>
                </c:pt>
                <c:pt idx="656">
                  <c:v>5270.6521721121753</c:v>
                </c:pt>
                <c:pt idx="657">
                  <c:v>5270.6521721121753</c:v>
                </c:pt>
                <c:pt idx="658">
                  <c:v>5270.6521721123063</c:v>
                </c:pt>
                <c:pt idx="659">
                  <c:v>5270.6521721121753</c:v>
                </c:pt>
                <c:pt idx="660">
                  <c:v>5270.6521721121753</c:v>
                </c:pt>
                <c:pt idx="661">
                  <c:v>5270.6521721123063</c:v>
                </c:pt>
                <c:pt idx="662">
                  <c:v>5270.6521721121753</c:v>
                </c:pt>
                <c:pt idx="663">
                  <c:v>5270.6521721121753</c:v>
                </c:pt>
                <c:pt idx="664">
                  <c:v>5270.6521721123063</c:v>
                </c:pt>
                <c:pt idx="665">
                  <c:v>5270.6521721121753</c:v>
                </c:pt>
                <c:pt idx="666">
                  <c:v>5270.6521721121753</c:v>
                </c:pt>
                <c:pt idx="667">
                  <c:v>5270.6521721123063</c:v>
                </c:pt>
                <c:pt idx="668">
                  <c:v>5270.6521721121753</c:v>
                </c:pt>
                <c:pt idx="669">
                  <c:v>5270.6521721121753</c:v>
                </c:pt>
                <c:pt idx="670">
                  <c:v>5270.6521721123063</c:v>
                </c:pt>
                <c:pt idx="671">
                  <c:v>5270.6521721121753</c:v>
                </c:pt>
                <c:pt idx="672">
                  <c:v>5270.6521721121753</c:v>
                </c:pt>
                <c:pt idx="673">
                  <c:v>5270.6521721123063</c:v>
                </c:pt>
                <c:pt idx="674">
                  <c:v>5270.6521721121753</c:v>
                </c:pt>
                <c:pt idx="675">
                  <c:v>5270.6521721121753</c:v>
                </c:pt>
                <c:pt idx="676">
                  <c:v>5270.6521721121753</c:v>
                </c:pt>
                <c:pt idx="677">
                  <c:v>5270.6521721121753</c:v>
                </c:pt>
                <c:pt idx="678">
                  <c:v>5270.6521721121753</c:v>
                </c:pt>
                <c:pt idx="679">
                  <c:v>4571.2411680966616</c:v>
                </c:pt>
                <c:pt idx="680">
                  <c:v>3818.2908577948256</c:v>
                </c:pt>
                <c:pt idx="681">
                  <c:v>3065.3405474931278</c:v>
                </c:pt>
                <c:pt idx="682">
                  <c:v>2312.3902371914228</c:v>
                </c:pt>
                <c:pt idx="683">
                  <c:v>1559.439926889725</c:v>
                </c:pt>
                <c:pt idx="684">
                  <c:v>806.48961658788903</c:v>
                </c:pt>
                <c:pt idx="685">
                  <c:v>53.539306286191277</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numCache>
            </c:numRef>
          </c:val>
          <c:extLst>
            <c:ext xmlns:c16="http://schemas.microsoft.com/office/drawing/2014/chart" uri="{C3380CC4-5D6E-409C-BE32-E72D297353CC}">
              <c16:uniqueId val="{00000001-6485-4F05-90EA-3C0640AD2471}"/>
            </c:ext>
          </c:extLst>
        </c:ser>
        <c:ser>
          <c:idx val="2"/>
          <c:order val="2"/>
          <c:spPr>
            <a:solidFill>
              <a:schemeClr val="accent1"/>
            </a:solidFill>
            <a:ln w="9525" algn="ctr">
              <a:solidFill>
                <a:schemeClr val="bg1"/>
              </a:solidFill>
              <a:prstDash val="solid"/>
            </a:ln>
          </c:spPr>
          <c:val>
            <c:numRef>
              <c:f>Sheet1!$A$3:$ABS$3</c:f>
              <c:numCache>
                <c:formatCode>General</c:formatCode>
                <c:ptCount val="747"/>
                <c:pt idx="0">
                  <c:v>85</c:v>
                </c:pt>
                <c:pt idx="1">
                  <c:v>377</c:v>
                </c:pt>
                <c:pt idx="2">
                  <c:v>950.33333333333394</c:v>
                </c:pt>
                <c:pt idx="3">
                  <c:v>1560</c:v>
                </c:pt>
                <c:pt idx="4">
                  <c:v>1621</c:v>
                </c:pt>
                <c:pt idx="5">
                  <c:v>1551.6666666666679</c:v>
                </c:pt>
                <c:pt idx="6">
                  <c:v>1833</c:v>
                </c:pt>
                <c:pt idx="7">
                  <c:v>2345.8571428571413</c:v>
                </c:pt>
                <c:pt idx="8">
                  <c:v>2845.4285714285725</c:v>
                </c:pt>
                <c:pt idx="9">
                  <c:v>2847.8571428571449</c:v>
                </c:pt>
                <c:pt idx="10">
                  <c:v>2400.8571428571413</c:v>
                </c:pt>
                <c:pt idx="11">
                  <c:v>2282.7142857142862</c:v>
                </c:pt>
                <c:pt idx="12">
                  <c:v>2206.1428571428587</c:v>
                </c:pt>
                <c:pt idx="13">
                  <c:v>2413.2857142857138</c:v>
                </c:pt>
                <c:pt idx="14">
                  <c:v>2848.2857142857138</c:v>
                </c:pt>
                <c:pt idx="15">
                  <c:v>3582.5714285714275</c:v>
                </c:pt>
                <c:pt idx="16">
                  <c:v>3821</c:v>
                </c:pt>
                <c:pt idx="17">
                  <c:v>4046.8571428571449</c:v>
                </c:pt>
                <c:pt idx="18">
                  <c:v>4350.7142857142862</c:v>
                </c:pt>
                <c:pt idx="19">
                  <c:v>4386.4285714285725</c:v>
                </c:pt>
                <c:pt idx="20">
                  <c:v>4714.8571428571413</c:v>
                </c:pt>
                <c:pt idx="21">
                  <c:v>5051.5714285714312</c:v>
                </c:pt>
                <c:pt idx="22">
                  <c:v>5214.7142857142862</c:v>
                </c:pt>
                <c:pt idx="23">
                  <c:v>6524.2857142857174</c:v>
                </c:pt>
                <c:pt idx="24">
                  <c:v>8241.1428571428551</c:v>
                </c:pt>
                <c:pt idx="25">
                  <c:v>8584.4285714285725</c:v>
                </c:pt>
                <c:pt idx="26">
                  <c:v>8862.4285714285725</c:v>
                </c:pt>
                <c:pt idx="27">
                  <c:v>10416.000000000007</c:v>
                </c:pt>
                <c:pt idx="28">
                  <c:v>12050.571428571435</c:v>
                </c:pt>
                <c:pt idx="29">
                  <c:v>14276.142857142855</c:v>
                </c:pt>
                <c:pt idx="30">
                  <c:v>17524.142857142855</c:v>
                </c:pt>
                <c:pt idx="31">
                  <c:v>21963</c:v>
                </c:pt>
                <c:pt idx="32">
                  <c:v>26258.71428571429</c:v>
                </c:pt>
                <c:pt idx="33">
                  <c:v>29621</c:v>
                </c:pt>
                <c:pt idx="34">
                  <c:v>33093.428571428565</c:v>
                </c:pt>
                <c:pt idx="35">
                  <c:v>39012.428571428565</c:v>
                </c:pt>
                <c:pt idx="36">
                  <c:v>46957.142857142855</c:v>
                </c:pt>
                <c:pt idx="37">
                  <c:v>56788</c:v>
                </c:pt>
                <c:pt idx="38">
                  <c:v>64729.999999999993</c:v>
                </c:pt>
                <c:pt idx="39">
                  <c:v>69968.28571428571</c:v>
                </c:pt>
                <c:pt idx="40">
                  <c:v>72271.142857142841</c:v>
                </c:pt>
                <c:pt idx="41">
                  <c:v>78679.571428571449</c:v>
                </c:pt>
                <c:pt idx="42">
                  <c:v>84743</c:v>
                </c:pt>
                <c:pt idx="43">
                  <c:v>89273.428571428551</c:v>
                </c:pt>
                <c:pt idx="44">
                  <c:v>91790.428571428565</c:v>
                </c:pt>
                <c:pt idx="45">
                  <c:v>93905.28571428571</c:v>
                </c:pt>
                <c:pt idx="46">
                  <c:v>96803.71428571429</c:v>
                </c:pt>
                <c:pt idx="47">
                  <c:v>98764.142857142841</c:v>
                </c:pt>
                <c:pt idx="48">
                  <c:v>101002.42857142855</c:v>
                </c:pt>
                <c:pt idx="49">
                  <c:v>103084.71428571429</c:v>
                </c:pt>
                <c:pt idx="50">
                  <c:v>105708.14285714287</c:v>
                </c:pt>
                <c:pt idx="51">
                  <c:v>108276.57142857143</c:v>
                </c:pt>
                <c:pt idx="52">
                  <c:v>111872.14285714284</c:v>
                </c:pt>
                <c:pt idx="53">
                  <c:v>113652.99999999999</c:v>
                </c:pt>
                <c:pt idx="54">
                  <c:v>112266.85714285714</c:v>
                </c:pt>
                <c:pt idx="55">
                  <c:v>113446.14285714286</c:v>
                </c:pt>
                <c:pt idx="56">
                  <c:v>113801.28571428571</c:v>
                </c:pt>
                <c:pt idx="57">
                  <c:v>115509.14285714284</c:v>
                </c:pt>
                <c:pt idx="58">
                  <c:v>118404.42857142857</c:v>
                </c:pt>
                <c:pt idx="59">
                  <c:v>121422.28571428571</c:v>
                </c:pt>
                <c:pt idx="60">
                  <c:v>122446.57142857143</c:v>
                </c:pt>
                <c:pt idx="61">
                  <c:v>125815</c:v>
                </c:pt>
                <c:pt idx="62">
                  <c:v>124148.42857142858</c:v>
                </c:pt>
                <c:pt idx="63">
                  <c:v>130679.85714285716</c:v>
                </c:pt>
                <c:pt idx="64">
                  <c:v>135030.71428571432</c:v>
                </c:pt>
                <c:pt idx="65">
                  <c:v>137484.57142857142</c:v>
                </c:pt>
                <c:pt idx="66">
                  <c:v>136618</c:v>
                </c:pt>
                <c:pt idx="67">
                  <c:v>134782.42857142858</c:v>
                </c:pt>
                <c:pt idx="68">
                  <c:v>133066.28571428571</c:v>
                </c:pt>
                <c:pt idx="69">
                  <c:v>133759.71428571432</c:v>
                </c:pt>
                <c:pt idx="70">
                  <c:v>131213.28571428571</c:v>
                </c:pt>
                <c:pt idx="71">
                  <c:v>132387.85714285713</c:v>
                </c:pt>
                <c:pt idx="72">
                  <c:v>135542.71428571429</c:v>
                </c:pt>
                <c:pt idx="73">
                  <c:v>143019.28571428571</c:v>
                </c:pt>
                <c:pt idx="74">
                  <c:v>150728</c:v>
                </c:pt>
                <c:pt idx="75">
                  <c:v>153890.85714285716</c:v>
                </c:pt>
                <c:pt idx="76">
                  <c:v>157885</c:v>
                </c:pt>
                <c:pt idx="77">
                  <c:v>158203.57142857142</c:v>
                </c:pt>
                <c:pt idx="78">
                  <c:v>156102.14285714287</c:v>
                </c:pt>
                <c:pt idx="79">
                  <c:v>151840.14285714287</c:v>
                </c:pt>
                <c:pt idx="80">
                  <c:v>142830.57142857139</c:v>
                </c:pt>
                <c:pt idx="81">
                  <c:v>135243.85714285713</c:v>
                </c:pt>
                <c:pt idx="82">
                  <c:v>130811.99999999997</c:v>
                </c:pt>
                <c:pt idx="83">
                  <c:v>123351</c:v>
                </c:pt>
                <c:pt idx="84">
                  <c:v>118439.57142857142</c:v>
                </c:pt>
                <c:pt idx="85">
                  <c:v>112319.14285714287</c:v>
                </c:pt>
                <c:pt idx="86">
                  <c:v>108189.42857142858</c:v>
                </c:pt>
                <c:pt idx="87">
                  <c:v>108273.57142857142</c:v>
                </c:pt>
                <c:pt idx="88">
                  <c:v>107364.42857142858</c:v>
                </c:pt>
                <c:pt idx="89">
                  <c:v>107220.14285714284</c:v>
                </c:pt>
                <c:pt idx="90">
                  <c:v>109600.42857142858</c:v>
                </c:pt>
                <c:pt idx="91">
                  <c:v>109648.14285714287</c:v>
                </c:pt>
                <c:pt idx="92">
                  <c:v>107034.28571428574</c:v>
                </c:pt>
                <c:pt idx="93">
                  <c:v>102598.85714285713</c:v>
                </c:pt>
                <c:pt idx="94">
                  <c:v>96209.142857142841</c:v>
                </c:pt>
                <c:pt idx="95">
                  <c:v>91570.71428571429</c:v>
                </c:pt>
                <c:pt idx="96">
                  <c:v>87763.857142857159</c:v>
                </c:pt>
                <c:pt idx="97">
                  <c:v>81647.285714285681</c:v>
                </c:pt>
                <c:pt idx="98">
                  <c:v>74872.57142857142</c:v>
                </c:pt>
                <c:pt idx="99">
                  <c:v>70528.714285714319</c:v>
                </c:pt>
                <c:pt idx="100">
                  <c:v>66212.142857142841</c:v>
                </c:pt>
                <c:pt idx="101">
                  <c:v>63822.285714285739</c:v>
                </c:pt>
                <c:pt idx="102">
                  <c:v>63027</c:v>
                </c:pt>
                <c:pt idx="103">
                  <c:v>63807.714285714261</c:v>
                </c:pt>
                <c:pt idx="104">
                  <c:v>63933.285714285739</c:v>
                </c:pt>
                <c:pt idx="105">
                  <c:v>63751.714285714261</c:v>
                </c:pt>
                <c:pt idx="106">
                  <c:v>62944</c:v>
                </c:pt>
                <c:pt idx="107">
                  <c:v>61323</c:v>
                </c:pt>
                <c:pt idx="108">
                  <c:v>58058.142857142841</c:v>
                </c:pt>
                <c:pt idx="109">
                  <c:v>55033</c:v>
                </c:pt>
                <c:pt idx="110">
                  <c:v>53022.57142857142</c:v>
                </c:pt>
                <c:pt idx="111">
                  <c:v>51187.714285714261</c:v>
                </c:pt>
                <c:pt idx="112">
                  <c:v>48681.857142857159</c:v>
                </c:pt>
                <c:pt idx="113">
                  <c:v>45679.57142857142</c:v>
                </c:pt>
                <c:pt idx="114">
                  <c:v>43385.285714285739</c:v>
                </c:pt>
                <c:pt idx="115">
                  <c:v>41486.57142857142</c:v>
                </c:pt>
                <c:pt idx="116">
                  <c:v>41157.142857142841</c:v>
                </c:pt>
                <c:pt idx="117">
                  <c:v>41159.142857142841</c:v>
                </c:pt>
                <c:pt idx="118">
                  <c:v>39646.857142857159</c:v>
                </c:pt>
                <c:pt idx="119">
                  <c:v>37318.714285714261</c:v>
                </c:pt>
                <c:pt idx="120">
                  <c:v>35326.714285714261</c:v>
                </c:pt>
                <c:pt idx="121">
                  <c:v>32995.142857142841</c:v>
                </c:pt>
                <c:pt idx="122">
                  <c:v>30923</c:v>
                </c:pt>
                <c:pt idx="123">
                  <c:v>29199.714285714261</c:v>
                </c:pt>
                <c:pt idx="124">
                  <c:v>28496</c:v>
                </c:pt>
                <c:pt idx="125">
                  <c:v>27306.714285714261</c:v>
                </c:pt>
                <c:pt idx="126">
                  <c:v>26351.285714285739</c:v>
                </c:pt>
                <c:pt idx="127">
                  <c:v>25543.142857142841</c:v>
                </c:pt>
                <c:pt idx="128">
                  <c:v>24775.857142857159</c:v>
                </c:pt>
                <c:pt idx="129">
                  <c:v>24170.285714285739</c:v>
                </c:pt>
                <c:pt idx="130">
                  <c:v>23759.285714285739</c:v>
                </c:pt>
                <c:pt idx="131">
                  <c:v>23710.57142857142</c:v>
                </c:pt>
                <c:pt idx="132">
                  <c:v>23471.142857142841</c:v>
                </c:pt>
                <c:pt idx="133">
                  <c:v>23176.857142857159</c:v>
                </c:pt>
                <c:pt idx="134">
                  <c:v>22603.42857142858</c:v>
                </c:pt>
                <c:pt idx="135">
                  <c:v>21872</c:v>
                </c:pt>
                <c:pt idx="136">
                  <c:v>21119.714285714261</c:v>
                </c:pt>
                <c:pt idx="137">
                  <c:v>20520.285714285739</c:v>
                </c:pt>
                <c:pt idx="138">
                  <c:v>20274</c:v>
                </c:pt>
                <c:pt idx="139">
                  <c:v>19572.857142857159</c:v>
                </c:pt>
                <c:pt idx="140">
                  <c:v>18985.142857142841</c:v>
                </c:pt>
                <c:pt idx="141">
                  <c:v>18406.142857142841</c:v>
                </c:pt>
                <c:pt idx="142">
                  <c:v>17706.714285714261</c:v>
                </c:pt>
                <c:pt idx="143">
                  <c:v>17011.285714285739</c:v>
                </c:pt>
                <c:pt idx="144">
                  <c:v>16618</c:v>
                </c:pt>
                <c:pt idx="145">
                  <c:v>16298.142857142841</c:v>
                </c:pt>
                <c:pt idx="146">
                  <c:v>15725.57142857142</c:v>
                </c:pt>
                <c:pt idx="147">
                  <c:v>14967.142857142841</c:v>
                </c:pt>
                <c:pt idx="148">
                  <c:v>14221.28571428571</c:v>
                </c:pt>
                <c:pt idx="149">
                  <c:v>13537</c:v>
                </c:pt>
                <c:pt idx="150">
                  <c:v>13096.28571428571</c:v>
                </c:pt>
                <c:pt idx="151">
                  <c:v>13111.28571428571</c:v>
                </c:pt>
                <c:pt idx="152">
                  <c:v>13223.571428571449</c:v>
                </c:pt>
                <c:pt idx="153">
                  <c:v>13194.714285714261</c:v>
                </c:pt>
                <c:pt idx="154">
                  <c:v>12991.42857142858</c:v>
                </c:pt>
                <c:pt idx="155">
                  <c:v>12784.42857142858</c:v>
                </c:pt>
                <c:pt idx="156">
                  <c:v>12740.14285714287</c:v>
                </c:pt>
                <c:pt idx="157">
                  <c:v>12637</c:v>
                </c:pt>
                <c:pt idx="158">
                  <c:v>12418</c:v>
                </c:pt>
                <c:pt idx="159">
                  <c:v>12345.28571428571</c:v>
                </c:pt>
                <c:pt idx="160">
                  <c:v>12119.28571428571</c:v>
                </c:pt>
                <c:pt idx="161">
                  <c:v>11675.71428571429</c:v>
                </c:pt>
                <c:pt idx="162">
                  <c:v>11196.85714285713</c:v>
                </c:pt>
                <c:pt idx="163">
                  <c:v>10628.71428571429</c:v>
                </c:pt>
                <c:pt idx="164">
                  <c:v>10092</c:v>
                </c:pt>
                <c:pt idx="165">
                  <c:v>9611.1428571428696</c:v>
                </c:pt>
                <c:pt idx="166">
                  <c:v>9383.5714285714203</c:v>
                </c:pt>
                <c:pt idx="167">
                  <c:v>8040.8571428571449</c:v>
                </c:pt>
                <c:pt idx="168">
                  <c:v>7936.7142857142899</c:v>
                </c:pt>
                <c:pt idx="169">
                  <c:v>7634.5714285714348</c:v>
                </c:pt>
                <c:pt idx="170">
                  <c:v>7315.5714285714348</c:v>
                </c:pt>
                <c:pt idx="171">
                  <c:v>7041.4285714285652</c:v>
                </c:pt>
                <c:pt idx="172">
                  <c:v>7040.2857142857101</c:v>
                </c:pt>
                <c:pt idx="173">
                  <c:v>6964.1428571428696</c:v>
                </c:pt>
                <c:pt idx="174">
                  <c:v>7748.4285714285797</c:v>
                </c:pt>
                <c:pt idx="175">
                  <c:v>7288.2857142857101</c:v>
                </c:pt>
                <c:pt idx="176">
                  <c:v>7070.4285714285797</c:v>
                </c:pt>
                <c:pt idx="177">
                  <c:v>6941.8571428571304</c:v>
                </c:pt>
                <c:pt idx="178">
                  <c:v>6788.4285714285797</c:v>
                </c:pt>
                <c:pt idx="179">
                  <c:v>6657.5714285714203</c:v>
                </c:pt>
                <c:pt idx="180">
                  <c:v>6644.5714285714203</c:v>
                </c:pt>
                <c:pt idx="181">
                  <c:v>6579</c:v>
                </c:pt>
                <c:pt idx="182">
                  <c:v>6510.8571428571449</c:v>
                </c:pt>
                <c:pt idx="183">
                  <c:v>6356.2857142857101</c:v>
                </c:pt>
                <c:pt idx="184">
                  <c:v>6112.1428571428551</c:v>
                </c:pt>
                <c:pt idx="185">
                  <c:v>5871.4285714285652</c:v>
                </c:pt>
                <c:pt idx="186">
                  <c:v>5679.2857142857101</c:v>
                </c:pt>
                <c:pt idx="187">
                  <c:v>5620</c:v>
                </c:pt>
                <c:pt idx="188">
                  <c:v>5312</c:v>
                </c:pt>
                <c:pt idx="189">
                  <c:v>5085.7142857142899</c:v>
                </c:pt>
                <c:pt idx="190">
                  <c:v>4934.4285714285652</c:v>
                </c:pt>
                <c:pt idx="191">
                  <c:v>4824.2857142857101</c:v>
                </c:pt>
                <c:pt idx="192">
                  <c:v>4729</c:v>
                </c:pt>
                <c:pt idx="193">
                  <c:v>4706.1428571428551</c:v>
                </c:pt>
                <c:pt idx="194">
                  <c:v>4708.4285714285652</c:v>
                </c:pt>
                <c:pt idx="195">
                  <c:v>4663.2857142857101</c:v>
                </c:pt>
                <c:pt idx="196">
                  <c:v>4506.4285714285652</c:v>
                </c:pt>
                <c:pt idx="197">
                  <c:v>4392.2857142857101</c:v>
                </c:pt>
                <c:pt idx="198">
                  <c:v>4257.2857142857101</c:v>
                </c:pt>
                <c:pt idx="199">
                  <c:v>4152.7142857142899</c:v>
                </c:pt>
                <c:pt idx="200">
                  <c:v>4045.0000000000073</c:v>
                </c:pt>
                <c:pt idx="201">
                  <c:v>3873.5714285714275</c:v>
                </c:pt>
                <c:pt idx="202">
                  <c:v>3671</c:v>
                </c:pt>
                <c:pt idx="203">
                  <c:v>3730.7142857142826</c:v>
                </c:pt>
                <c:pt idx="204">
                  <c:v>3688.7142857142826</c:v>
                </c:pt>
                <c:pt idx="205">
                  <c:v>3668</c:v>
                </c:pt>
                <c:pt idx="206">
                  <c:v>3625</c:v>
                </c:pt>
                <c:pt idx="207">
                  <c:v>3626.2857142857174</c:v>
                </c:pt>
                <c:pt idx="208">
                  <c:v>3758.1428571428551</c:v>
                </c:pt>
                <c:pt idx="209">
                  <c:v>3969.4285714285652</c:v>
                </c:pt>
                <c:pt idx="210">
                  <c:v>3804.1428571428551</c:v>
                </c:pt>
                <c:pt idx="211">
                  <c:v>3736</c:v>
                </c:pt>
                <c:pt idx="212">
                  <c:v>3680.7142857142826</c:v>
                </c:pt>
                <c:pt idx="213">
                  <c:v>3680.8571428571449</c:v>
                </c:pt>
                <c:pt idx="214">
                  <c:v>3715</c:v>
                </c:pt>
                <c:pt idx="215">
                  <c:v>3723.8571428571449</c:v>
                </c:pt>
                <c:pt idx="216">
                  <c:v>3739.5714285714275</c:v>
                </c:pt>
                <c:pt idx="217">
                  <c:v>3797.2857142857174</c:v>
                </c:pt>
                <c:pt idx="218">
                  <c:v>3867.4285714285725</c:v>
                </c:pt>
                <c:pt idx="219">
                  <c:v>3967.4285714285652</c:v>
                </c:pt>
                <c:pt idx="220">
                  <c:v>4050.4285714285652</c:v>
                </c:pt>
                <c:pt idx="221">
                  <c:v>4077.4285714285725</c:v>
                </c:pt>
                <c:pt idx="222">
                  <c:v>4077.9999999999927</c:v>
                </c:pt>
                <c:pt idx="223">
                  <c:v>4121.8571428571449</c:v>
                </c:pt>
                <c:pt idx="224">
                  <c:v>4190.2857142857101</c:v>
                </c:pt>
                <c:pt idx="225">
                  <c:v>4248.2857142857101</c:v>
                </c:pt>
                <c:pt idx="226">
                  <c:v>4275.7142857142826</c:v>
                </c:pt>
                <c:pt idx="227">
                  <c:v>4271.2857142857101</c:v>
                </c:pt>
                <c:pt idx="228">
                  <c:v>4262.4285714285652</c:v>
                </c:pt>
                <c:pt idx="229">
                  <c:v>4276.7142857142899</c:v>
                </c:pt>
                <c:pt idx="230">
                  <c:v>4298</c:v>
                </c:pt>
                <c:pt idx="231">
                  <c:v>4271.7142857142899</c:v>
                </c:pt>
                <c:pt idx="232">
                  <c:v>4235.5714285714348</c:v>
                </c:pt>
                <c:pt idx="233">
                  <c:v>4212.5714285714348</c:v>
                </c:pt>
                <c:pt idx="234">
                  <c:v>4221.8571428571449</c:v>
                </c:pt>
                <c:pt idx="235">
                  <c:v>4221.2857142857101</c:v>
                </c:pt>
                <c:pt idx="236">
                  <c:v>4252.1428571428551</c:v>
                </c:pt>
                <c:pt idx="237">
                  <c:v>4278.4285714285652</c:v>
                </c:pt>
                <c:pt idx="238">
                  <c:v>4284.1428571428551</c:v>
                </c:pt>
                <c:pt idx="239">
                  <c:v>4219.2857142857101</c:v>
                </c:pt>
                <c:pt idx="240">
                  <c:v>4231.7142857142899</c:v>
                </c:pt>
                <c:pt idx="241">
                  <c:v>4240.8571428571449</c:v>
                </c:pt>
                <c:pt idx="242">
                  <c:v>4402.6119356642303</c:v>
                </c:pt>
                <c:pt idx="243">
                  <c:v>4679.2787361964583</c:v>
                </c:pt>
                <c:pt idx="244">
                  <c:v>4766.1423859617498</c:v>
                </c:pt>
                <c:pt idx="245">
                  <c:v>4815.3207205398212</c:v>
                </c:pt>
                <c:pt idx="246">
                  <c:v>4950.6200985844625</c:v>
                </c:pt>
                <c:pt idx="247">
                  <c:v>5005.0813619217661</c:v>
                </c:pt>
                <c:pt idx="248">
                  <c:v>5002.2112708693166</c:v>
                </c:pt>
                <c:pt idx="249">
                  <c:v>5039.4452756824176</c:v>
                </c:pt>
                <c:pt idx="250">
                  <c:v>5060.9459198902186</c:v>
                </c:pt>
                <c:pt idx="251">
                  <c:v>5065.3001863565296</c:v>
                </c:pt>
                <c:pt idx="252">
                  <c:v>5056.7847246224264</c:v>
                </c:pt>
                <c:pt idx="253">
                  <c:v>5048.6588516799529</c:v>
                </c:pt>
                <c:pt idx="254">
                  <c:v>5044.9875833589031</c:v>
                </c:pt>
                <c:pt idx="255">
                  <c:v>5049.1667074707511</c:v>
                </c:pt>
                <c:pt idx="256">
                  <c:v>5052.8649407909979</c:v>
                </c:pt>
                <c:pt idx="257">
                  <c:v>5065.7638074558781</c:v>
                </c:pt>
                <c:pt idx="258">
                  <c:v>5044.8647445834067</c:v>
                </c:pt>
                <c:pt idx="259">
                  <c:v>5022.310776299928</c:v>
                </c:pt>
                <c:pt idx="260">
                  <c:v>4961.2409471768333</c:v>
                </c:pt>
                <c:pt idx="261">
                  <c:v>4932.8980781880382</c:v>
                </c:pt>
                <c:pt idx="262">
                  <c:v>4901.6218831781298</c:v>
                </c:pt>
                <c:pt idx="263">
                  <c:v>4990.7379784059885</c:v>
                </c:pt>
                <c:pt idx="264">
                  <c:v>5177.2056639165239</c:v>
                </c:pt>
                <c:pt idx="265">
                  <c:v>5172.3447625453409</c:v>
                </c:pt>
                <c:pt idx="266">
                  <c:v>5150.7136812055687</c:v>
                </c:pt>
                <c:pt idx="267">
                  <c:v>5167.2833882559644</c:v>
                </c:pt>
                <c:pt idx="268">
                  <c:v>5146.1624605509278</c:v>
                </c:pt>
                <c:pt idx="269">
                  <c:v>5100.8671168658329</c:v>
                </c:pt>
                <c:pt idx="270">
                  <c:v>5129.3307216782123</c:v>
                </c:pt>
                <c:pt idx="271">
                  <c:v>5149.1296850025101</c:v>
                </c:pt>
                <c:pt idx="272">
                  <c:v>5145.1188308718993</c:v>
                </c:pt>
                <c:pt idx="273">
                  <c:v>5141.2294120618317</c:v>
                </c:pt>
                <c:pt idx="274">
                  <c:v>5139.8745164692955</c:v>
                </c:pt>
                <c:pt idx="275">
                  <c:v>5135.9589633569121</c:v>
                </c:pt>
                <c:pt idx="276">
                  <c:v>5134.5013209006574</c:v>
                </c:pt>
                <c:pt idx="277">
                  <c:v>5139.3062071917375</c:v>
                </c:pt>
                <c:pt idx="278">
                  <c:v>5140.7312765507231</c:v>
                </c:pt>
                <c:pt idx="279">
                  <c:v>6132.30701411888</c:v>
                </c:pt>
                <c:pt idx="280">
                  <c:v>6913.8557633286546</c:v>
                </c:pt>
                <c:pt idx="281">
                  <c:v>8134.1318310028146</c:v>
                </c:pt>
                <c:pt idx="282">
                  <c:v>9500.1219429916528</c:v>
                </c:pt>
                <c:pt idx="283">
                  <c:v>10743.783709761818</c:v>
                </c:pt>
                <c:pt idx="284">
                  <c:v>11994.841543738323</c:v>
                </c:pt>
                <c:pt idx="285">
                  <c:v>13274.436970825162</c:v>
                </c:pt>
                <c:pt idx="286">
                  <c:v>12281.415335313824</c:v>
                </c:pt>
                <c:pt idx="287">
                  <c:v>11706.958506563155</c:v>
                </c:pt>
                <c:pt idx="288">
                  <c:v>10599.314292039984</c:v>
                </c:pt>
                <c:pt idx="289">
                  <c:v>10449.57650950551</c:v>
                </c:pt>
                <c:pt idx="290">
                  <c:v>10270.303255158869</c:v>
                </c:pt>
                <c:pt idx="291">
                  <c:v>10268.28126601821</c:v>
                </c:pt>
                <c:pt idx="292">
                  <c:v>10259.040876489395</c:v>
                </c:pt>
                <c:pt idx="293">
                  <c:v>13050.065924236813</c:v>
                </c:pt>
                <c:pt idx="294">
                  <c:v>14896.978107494433</c:v>
                </c:pt>
                <c:pt idx="295">
                  <c:v>17208.333677306509</c:v>
                </c:pt>
                <c:pt idx="296">
                  <c:v>19856.120703190565</c:v>
                </c:pt>
                <c:pt idx="297">
                  <c:v>24199.189698789531</c:v>
                </c:pt>
                <c:pt idx="298">
                  <c:v>30666.677849628817</c:v>
                </c:pt>
                <c:pt idx="299">
                  <c:v>38794.445874693134</c:v>
                </c:pt>
                <c:pt idx="300">
                  <c:v>40676.666996885906</c:v>
                </c:pt>
                <c:pt idx="301">
                  <c:v>44852.178520383575</c:v>
                </c:pt>
                <c:pt idx="302">
                  <c:v>46771.262544382102</c:v>
                </c:pt>
                <c:pt idx="303">
                  <c:v>48723.345676996076</c:v>
                </c:pt>
                <c:pt idx="304">
                  <c:v>53829.713093079627</c:v>
                </c:pt>
                <c:pt idx="305">
                  <c:v>58504.365123167619</c:v>
                </c:pt>
                <c:pt idx="306">
                  <c:v>62509.87438381862</c:v>
                </c:pt>
                <c:pt idx="307">
                  <c:v>69337.302946346434</c:v>
                </c:pt>
                <c:pt idx="308">
                  <c:v>70707.731988688931</c:v>
                </c:pt>
                <c:pt idx="309">
                  <c:v>71244.58948124625</c:v>
                </c:pt>
                <c:pt idx="310">
                  <c:v>73798.303824996576</c:v>
                </c:pt>
                <c:pt idx="311">
                  <c:v>75726.732248471526</c:v>
                </c:pt>
                <c:pt idx="312">
                  <c:v>79048.874926646924</c:v>
                </c:pt>
                <c:pt idx="313">
                  <c:v>81822.589155132737</c:v>
                </c:pt>
                <c:pt idx="314">
                  <c:v>86504.446367361452</c:v>
                </c:pt>
                <c:pt idx="315">
                  <c:v>91738.44644791499</c:v>
                </c:pt>
                <c:pt idx="316">
                  <c:v>93789.732186987734</c:v>
                </c:pt>
                <c:pt idx="317">
                  <c:v>96788.589308216367</c:v>
                </c:pt>
                <c:pt idx="318">
                  <c:v>97366.44641806373</c:v>
                </c:pt>
                <c:pt idx="319">
                  <c:v>96894.446401474997</c:v>
                </c:pt>
                <c:pt idx="320">
                  <c:v>96158.017836654297</c:v>
                </c:pt>
                <c:pt idx="321">
                  <c:v>92906.446423810499</c:v>
                </c:pt>
                <c:pt idx="322">
                  <c:v>89675.30357473185</c:v>
                </c:pt>
                <c:pt idx="323">
                  <c:v>87615.589286725968</c:v>
                </c:pt>
                <c:pt idx="324">
                  <c:v>82843.303566280214</c:v>
                </c:pt>
                <c:pt idx="325">
                  <c:v>81334.160705187489</c:v>
                </c:pt>
                <c:pt idx="326">
                  <c:v>78500.732133960351</c:v>
                </c:pt>
                <c:pt idx="327">
                  <c:v>77783.3035651315</c:v>
                </c:pt>
                <c:pt idx="328">
                  <c:v>80120.160710016004</c:v>
                </c:pt>
                <c:pt idx="329">
                  <c:v>80006.44642437197</c:v>
                </c:pt>
                <c:pt idx="330">
                  <c:v>80625.446423300134</c:v>
                </c:pt>
                <c:pt idx="331">
                  <c:v>84580.446422402601</c:v>
                </c:pt>
                <c:pt idx="332">
                  <c:v>85872.303565114737</c:v>
                </c:pt>
                <c:pt idx="333">
                  <c:v>84582.017851226032</c:v>
                </c:pt>
                <c:pt idx="334">
                  <c:v>81195.446423081157</c:v>
                </c:pt>
                <c:pt idx="335">
                  <c:v>76357.303566052957</c:v>
                </c:pt>
                <c:pt idx="336">
                  <c:v>72900.017851609184</c:v>
                </c:pt>
                <c:pt idx="337">
                  <c:v>69708.303565704409</c:v>
                </c:pt>
                <c:pt idx="338">
                  <c:v>64247.874994211161</c:v>
                </c:pt>
                <c:pt idx="339">
                  <c:v>58154.732137122075</c:v>
                </c:pt>
                <c:pt idx="340">
                  <c:v>54798.87499434792</c:v>
                </c:pt>
                <c:pt idx="341">
                  <c:v>51651.446422956622</c:v>
                </c:pt>
                <c:pt idx="342">
                  <c:v>50079.589280082437</c:v>
                </c:pt>
                <c:pt idx="343">
                  <c:v>50359.732137188577</c:v>
                </c:pt>
                <c:pt idx="344">
                  <c:v>50960.303565740585</c:v>
                </c:pt>
                <c:pt idx="345">
                  <c:v>51164.732137174491</c:v>
                </c:pt>
                <c:pt idx="346">
                  <c:v>51098.874994332495</c:v>
                </c:pt>
                <c:pt idx="347">
                  <c:v>50175.446422913781</c:v>
                </c:pt>
                <c:pt idx="348">
                  <c:v>48707.874994341284</c:v>
                </c:pt>
                <c:pt idx="349">
                  <c:v>45843.732137192041</c:v>
                </c:pt>
                <c:pt idx="350">
                  <c:v>43106.732137186977</c:v>
                </c:pt>
                <c:pt idx="351">
                  <c:v>41528.017851472949</c:v>
                </c:pt>
                <c:pt idx="352">
                  <c:v>40513.589280046814</c:v>
                </c:pt>
                <c:pt idx="353">
                  <c:v>39065.874994334619</c:v>
                </c:pt>
                <c:pt idx="354">
                  <c:v>37097.160708620358</c:v>
                </c:pt>
                <c:pt idx="355">
                  <c:v>35719.874994333863</c:v>
                </c:pt>
                <c:pt idx="356">
                  <c:v>34593.017851475597</c:v>
                </c:pt>
                <c:pt idx="357">
                  <c:v>34451.160708618467</c:v>
                </c:pt>
                <c:pt idx="358">
                  <c:v>34420.160708618467</c:v>
                </c:pt>
                <c:pt idx="359">
                  <c:v>33191.01785147615</c:v>
                </c:pt>
                <c:pt idx="360">
                  <c:v>30992.017851476441</c:v>
                </c:pt>
                <c:pt idx="361">
                  <c:v>29246.160708619573</c:v>
                </c:pt>
                <c:pt idx="362">
                  <c:v>27340.303565762151</c:v>
                </c:pt>
                <c:pt idx="363">
                  <c:v>25684.874994333542</c:v>
                </c:pt>
                <c:pt idx="364">
                  <c:v>24098.589280047832</c:v>
                </c:pt>
                <c:pt idx="365">
                  <c:v>23573.732137190702</c:v>
                </c:pt>
                <c:pt idx="366">
                  <c:v>22859.874994333572</c:v>
                </c:pt>
                <c:pt idx="367">
                  <c:v>22508.446422904992</c:v>
                </c:pt>
                <c:pt idx="368">
                  <c:v>22142.87499433328</c:v>
                </c:pt>
                <c:pt idx="369">
                  <c:v>21507.874994333048</c:v>
                </c:pt>
                <c:pt idx="370">
                  <c:v>20934.303565761598</c:v>
                </c:pt>
                <c:pt idx="371">
                  <c:v>20483.160708618758</c:v>
                </c:pt>
                <c:pt idx="372">
                  <c:v>20344.446422904439</c:v>
                </c:pt>
                <c:pt idx="373">
                  <c:v>19900.160708618496</c:v>
                </c:pt>
                <c:pt idx="374">
                  <c:v>19655.589280047338</c:v>
                </c:pt>
                <c:pt idx="375">
                  <c:v>19231.589280047308</c:v>
                </c:pt>
                <c:pt idx="376">
                  <c:v>18798.017851476179</c:v>
                </c:pt>
                <c:pt idx="377">
                  <c:v>18318.017851475888</c:v>
                </c:pt>
                <c:pt idx="378">
                  <c:v>18125.160708618729</c:v>
                </c:pt>
                <c:pt idx="379">
                  <c:v>18051.87499433331</c:v>
                </c:pt>
                <c:pt idx="380">
                  <c:v>17769.160708618729</c:v>
                </c:pt>
                <c:pt idx="381">
                  <c:v>17492.874994333019</c:v>
                </c:pt>
                <c:pt idx="382">
                  <c:v>17265.017851475917</c:v>
                </c:pt>
                <c:pt idx="383">
                  <c:v>16766.732137190178</c:v>
                </c:pt>
                <c:pt idx="384">
                  <c:v>16393.01785147615</c:v>
                </c:pt>
                <c:pt idx="385">
                  <c:v>16151.446422904439</c:v>
                </c:pt>
                <c:pt idx="386">
                  <c:v>15949.589280047338</c:v>
                </c:pt>
                <c:pt idx="387">
                  <c:v>15555.732137190469</c:v>
                </c:pt>
                <c:pt idx="388">
                  <c:v>15023.303565761598</c:v>
                </c:pt>
                <c:pt idx="389">
                  <c:v>14524.589280047308</c:v>
                </c:pt>
                <c:pt idx="390">
                  <c:v>14144.732137190207</c:v>
                </c:pt>
                <c:pt idx="391">
                  <c:v>13863.874994333048</c:v>
                </c:pt>
                <c:pt idx="392">
                  <c:v>13936.01785147615</c:v>
                </c:pt>
                <c:pt idx="393">
                  <c:v>14038.589280047308</c:v>
                </c:pt>
                <c:pt idx="394">
                  <c:v>13990.303565761598</c:v>
                </c:pt>
                <c:pt idx="395">
                  <c:v>13853.73213719044</c:v>
                </c:pt>
                <c:pt idx="396">
                  <c:v>13670.017851475888</c:v>
                </c:pt>
                <c:pt idx="397">
                  <c:v>13630.732137190178</c:v>
                </c:pt>
                <c:pt idx="398">
                  <c:v>13601.303565761598</c:v>
                </c:pt>
                <c:pt idx="399">
                  <c:v>13435.017851475888</c:v>
                </c:pt>
                <c:pt idx="400">
                  <c:v>13357.01785147615</c:v>
                </c:pt>
                <c:pt idx="401">
                  <c:v>13223.446422904468</c:v>
                </c:pt>
                <c:pt idx="402">
                  <c:v>12946.732137190178</c:v>
                </c:pt>
                <c:pt idx="403">
                  <c:v>12654.87499433331</c:v>
                </c:pt>
                <c:pt idx="404">
                  <c:v>12259.160708618758</c:v>
                </c:pt>
                <c:pt idx="405">
                  <c:v>11828.446422904206</c:v>
                </c:pt>
                <c:pt idx="406">
                  <c:v>11431.732137190178</c:v>
                </c:pt>
                <c:pt idx="407">
                  <c:v>11267.017851475626</c:v>
                </c:pt>
                <c:pt idx="408">
                  <c:v>10373.874994333295</c:v>
                </c:pt>
                <c:pt idx="409">
                  <c:v>10352.874994333033</c:v>
                </c:pt>
                <c:pt idx="410">
                  <c:v>10141.160708618743</c:v>
                </c:pt>
                <c:pt idx="411">
                  <c:v>9956.874994333295</c:v>
                </c:pt>
                <c:pt idx="412">
                  <c:v>9821.1607086187432</c:v>
                </c:pt>
                <c:pt idx="413">
                  <c:v>9888.5892800473084</c:v>
                </c:pt>
                <c:pt idx="414">
                  <c:v>9846.0178514761501</c:v>
                </c:pt>
                <c:pt idx="415">
                  <c:v>10350.303565761598</c:v>
                </c:pt>
                <c:pt idx="416">
                  <c:v>9989.8749943333096</c:v>
                </c:pt>
                <c:pt idx="417">
                  <c:v>9850.5892800473084</c:v>
                </c:pt>
                <c:pt idx="418">
                  <c:v>9773.1607086187578</c:v>
                </c:pt>
                <c:pt idx="419">
                  <c:v>9629.8749943333096</c:v>
                </c:pt>
                <c:pt idx="420">
                  <c:v>9538.8749943330477</c:v>
                </c:pt>
                <c:pt idx="421">
                  <c:v>9549.4464229044679</c:v>
                </c:pt>
                <c:pt idx="422">
                  <c:v>9494.0178514758882</c:v>
                </c:pt>
                <c:pt idx="423">
                  <c:v>9430.8749943330477</c:v>
                </c:pt>
                <c:pt idx="424">
                  <c:v>9304.1607086190197</c:v>
                </c:pt>
                <c:pt idx="425">
                  <c:v>9108.1607086187432</c:v>
                </c:pt>
                <c:pt idx="426">
                  <c:v>8949.732137190178</c:v>
                </c:pt>
                <c:pt idx="427">
                  <c:v>8807.4464229047298</c:v>
                </c:pt>
                <c:pt idx="428">
                  <c:v>8748.1607086190197</c:v>
                </c:pt>
                <c:pt idx="429">
                  <c:v>8479.8749943330331</c:v>
                </c:pt>
                <c:pt idx="430">
                  <c:v>8296.0178514758882</c:v>
                </c:pt>
                <c:pt idx="431">
                  <c:v>8147.8749943330331</c:v>
                </c:pt>
                <c:pt idx="432">
                  <c:v>8060.4464229047298</c:v>
                </c:pt>
                <c:pt idx="433">
                  <c:v>7962.4464229044679</c:v>
                </c:pt>
                <c:pt idx="434">
                  <c:v>7929.589280047323</c:v>
                </c:pt>
                <c:pt idx="435">
                  <c:v>7930.1607086187432</c:v>
                </c:pt>
                <c:pt idx="436">
                  <c:v>7910.0178514758882</c:v>
                </c:pt>
                <c:pt idx="437">
                  <c:v>7785.589280047061</c:v>
                </c:pt>
                <c:pt idx="438">
                  <c:v>7702.4464229044679</c:v>
                </c:pt>
                <c:pt idx="439">
                  <c:v>7585.1607086187432</c:v>
                </c:pt>
                <c:pt idx="440">
                  <c:v>7505.3035657616128</c:v>
                </c:pt>
                <c:pt idx="441">
                  <c:v>7422.4464229044679</c:v>
                </c:pt>
                <c:pt idx="442">
                  <c:v>7318.589280047323</c:v>
                </c:pt>
                <c:pt idx="443">
                  <c:v>7217.3035657618748</c:v>
                </c:pt>
                <c:pt idx="444">
                  <c:v>7283.1607086187432</c:v>
                </c:pt>
                <c:pt idx="445">
                  <c:v>7256.3035657616128</c:v>
                </c:pt>
                <c:pt idx="446">
                  <c:v>7246.1607086187432</c:v>
                </c:pt>
                <c:pt idx="447">
                  <c:v>7222.1607086190197</c:v>
                </c:pt>
                <c:pt idx="448">
                  <c:v>7230.0178514758882</c:v>
                </c:pt>
                <c:pt idx="449">
                  <c:v>7303.589280047323</c:v>
                </c:pt>
                <c:pt idx="450">
                  <c:v>7427.3035657616128</c:v>
                </c:pt>
                <c:pt idx="451">
                  <c:v>7285.874994333295</c:v>
                </c:pt>
                <c:pt idx="452">
                  <c:v>7239.4464229044679</c:v>
                </c:pt>
                <c:pt idx="453">
                  <c:v>7186.8749943330331</c:v>
                </c:pt>
                <c:pt idx="454">
                  <c:v>7155.8749943330331</c:v>
                </c:pt>
                <c:pt idx="455">
                  <c:v>7153.5892800475849</c:v>
                </c:pt>
                <c:pt idx="456">
                  <c:v>7147.1607086187432</c:v>
                </c:pt>
                <c:pt idx="457">
                  <c:v>7114.8749943330331</c:v>
                </c:pt>
                <c:pt idx="458">
                  <c:v>7096.0178514758882</c:v>
                </c:pt>
                <c:pt idx="459">
                  <c:v>7080.4464229047298</c:v>
                </c:pt>
                <c:pt idx="460">
                  <c:v>7090.0178514758882</c:v>
                </c:pt>
                <c:pt idx="461">
                  <c:v>7083.732137190178</c:v>
                </c:pt>
                <c:pt idx="462">
                  <c:v>7073.4464229044679</c:v>
                </c:pt>
                <c:pt idx="463">
                  <c:v>7035.4464229047226</c:v>
                </c:pt>
                <c:pt idx="464">
                  <c:v>6977.73213719044</c:v>
                </c:pt>
                <c:pt idx="465">
                  <c:v>6982.732137190178</c:v>
                </c:pt>
                <c:pt idx="466">
                  <c:v>6975.8749943330331</c:v>
                </c:pt>
                <c:pt idx="467">
                  <c:v>6954.0178514761574</c:v>
                </c:pt>
                <c:pt idx="468">
                  <c:v>6928.3035657616056</c:v>
                </c:pt>
                <c:pt idx="469">
                  <c:v>6919.8749943327712</c:v>
                </c:pt>
                <c:pt idx="470">
                  <c:v>6939.3035657616056</c:v>
                </c:pt>
                <c:pt idx="471">
                  <c:v>6950.0178514758882</c:v>
                </c:pt>
                <c:pt idx="472">
                  <c:v>6927.3035657618675</c:v>
                </c:pt>
                <c:pt idx="473">
                  <c:v>6897.8749943330404</c:v>
                </c:pt>
                <c:pt idx="474">
                  <c:v>6873.1607086187432</c:v>
                </c:pt>
                <c:pt idx="475">
                  <c:v>6875.874994333295</c:v>
                </c:pt>
                <c:pt idx="476">
                  <c:v>6878.3035657616056</c:v>
                </c:pt>
                <c:pt idx="477">
                  <c:v>6896.5892800473157</c:v>
                </c:pt>
                <c:pt idx="478">
                  <c:v>6944.8749943330331</c:v>
                </c:pt>
                <c:pt idx="479">
                  <c:v>6975.0178514758954</c:v>
                </c:pt>
                <c:pt idx="480">
                  <c:v>6979.1607086187432</c:v>
                </c:pt>
                <c:pt idx="481">
                  <c:v>7023.5892800473157</c:v>
                </c:pt>
                <c:pt idx="482">
                  <c:v>7068.8749943330404</c:v>
                </c:pt>
                <c:pt idx="483">
                  <c:v>7129.9563177525997</c:v>
                </c:pt>
                <c:pt idx="484">
                  <c:v>7194.1391532700509</c:v>
                </c:pt>
                <c:pt idx="485">
                  <c:v>7286.1639858755661</c:v>
                </c:pt>
                <c:pt idx="486">
                  <c:v>7359.8122437002894</c:v>
                </c:pt>
                <c:pt idx="487">
                  <c:v>7476.2201054548641</c:v>
                </c:pt>
                <c:pt idx="488">
                  <c:v>7554.8053501748655</c:v>
                </c:pt>
                <c:pt idx="489">
                  <c:v>7603.6483807028999</c:v>
                </c:pt>
                <c:pt idx="490">
                  <c:v>7608.5137081385765</c:v>
                </c:pt>
                <c:pt idx="491">
                  <c:v>7607.4035023991019</c:v>
                </c:pt>
                <c:pt idx="492">
                  <c:v>7616.2716496421781</c:v>
                </c:pt>
                <c:pt idx="493">
                  <c:v>7612.1775969602168</c:v>
                </c:pt>
                <c:pt idx="494">
                  <c:v>7605.6090596150607</c:v>
                </c:pt>
                <c:pt idx="495">
                  <c:v>7606.4163914461242</c:v>
                </c:pt>
                <c:pt idx="496">
                  <c:v>7612.2676326770816</c:v>
                </c:pt>
                <c:pt idx="497">
                  <c:v>7610.4892681932906</c:v>
                </c:pt>
                <c:pt idx="498">
                  <c:v>7621.7532627074324</c:v>
                </c:pt>
                <c:pt idx="499">
                  <c:v>7602.2158959412118</c:v>
                </c:pt>
                <c:pt idx="500">
                  <c:v>7580.5733116689516</c:v>
                </c:pt>
                <c:pt idx="501">
                  <c:v>7519.9134344064732</c:v>
                </c:pt>
                <c:pt idx="502">
                  <c:v>7491.8166053175373</c:v>
                </c:pt>
                <c:pt idx="503">
                  <c:v>7460.1817987422837</c:v>
                </c:pt>
                <c:pt idx="504">
                  <c:v>7548.6491783069723</c:v>
                </c:pt>
                <c:pt idx="505">
                  <c:v>7735.157845602771</c:v>
                </c:pt>
                <c:pt idx="506">
                  <c:v>7730.5773337222636</c:v>
                </c:pt>
                <c:pt idx="507">
                  <c:v>7709.0721694992026</c:v>
                </c:pt>
                <c:pt idx="508">
                  <c:v>7725.6555841104782</c:v>
                </c:pt>
                <c:pt idx="509">
                  <c:v>7704.491757637159</c:v>
                </c:pt>
                <c:pt idx="510">
                  <c:v>7659.1122382315152</c:v>
                </c:pt>
                <c:pt idx="511">
                  <c:v>7687.5308724439601</c:v>
                </c:pt>
                <c:pt idx="512">
                  <c:v>7707.3711144639456</c:v>
                </c:pt>
                <c:pt idx="513">
                  <c:v>7703.4015814438462</c:v>
                </c:pt>
                <c:pt idx="514">
                  <c:v>7699.5193311183612</c:v>
                </c:pt>
                <c:pt idx="515">
                  <c:v>7698.1546399210201</c:v>
                </c:pt>
                <c:pt idx="516">
                  <c:v>7694.225933608468</c:v>
                </c:pt>
                <c:pt idx="517">
                  <c:v>7692.759387318576</c:v>
                </c:pt>
                <c:pt idx="518">
                  <c:v>7697.5661229028265</c:v>
                </c:pt>
                <c:pt idx="519">
                  <c:v>7698.9997301112307</c:v>
                </c:pt>
                <c:pt idx="520">
                  <c:v>7697.8038180608855</c:v>
                </c:pt>
                <c:pt idx="521">
                  <c:v>7697.0041375772198</c:v>
                </c:pt>
                <c:pt idx="522">
                  <c:v>7696.6448242145489</c:v>
                </c:pt>
                <c:pt idx="523">
                  <c:v>7696.4291362562872</c:v>
                </c:pt>
                <c:pt idx="524">
                  <c:v>7696.7438794917325</c:v>
                </c:pt>
                <c:pt idx="525">
                  <c:v>7697.3130926590966</c:v>
                </c:pt>
                <c:pt idx="526">
                  <c:v>7697.276945481346</c:v>
                </c:pt>
                <c:pt idx="527">
                  <c:v>7697.0308333912035</c:v>
                </c:pt>
                <c:pt idx="528">
                  <c:v>7696.9204070102423</c:v>
                </c:pt>
                <c:pt idx="529">
                  <c:v>7696.9084455006378</c:v>
                </c:pt>
                <c:pt idx="530">
                  <c:v>7696.9461056842847</c:v>
                </c:pt>
                <c:pt idx="531">
                  <c:v>7697.0199584599031</c:v>
                </c:pt>
                <c:pt idx="532">
                  <c:v>7697.0593983126528</c:v>
                </c:pt>
                <c:pt idx="533">
                  <c:v>7697.0231562624031</c:v>
                </c:pt>
                <c:pt idx="534">
                  <c:v>7696.9869006606095</c:v>
                </c:pt>
                <c:pt idx="535">
                  <c:v>7696.9806245557411</c:v>
                </c:pt>
                <c:pt idx="536">
                  <c:v>7696.9892270623604</c:v>
                </c:pt>
                <c:pt idx="537">
                  <c:v>7697.0007672852735</c:v>
                </c:pt>
                <c:pt idx="538">
                  <c:v>7697.0085760855218</c:v>
                </c:pt>
                <c:pt idx="539">
                  <c:v>7697.0069500322352</c:v>
                </c:pt>
                <c:pt idx="540">
                  <c:v>7696.9994574207813</c:v>
                </c:pt>
                <c:pt idx="541">
                  <c:v>7696.9960718713701</c:v>
                </c:pt>
                <c:pt idx="542">
                  <c:v>7696.9973820450614</c:v>
                </c:pt>
                <c:pt idx="543">
                  <c:v>7696.9997759719481</c:v>
                </c:pt>
                <c:pt idx="544">
                  <c:v>7697.0012829591142</c:v>
                </c:pt>
                <c:pt idx="545">
                  <c:v>7697.0013566264606</c:v>
                </c:pt>
                <c:pt idx="546">
                  <c:v>7697.0003252750539</c:v>
                </c:pt>
                <c:pt idx="547">
                  <c:v>7696.9993788815482</c:v>
                </c:pt>
                <c:pt idx="548">
                  <c:v>7696.9993676617742</c:v>
                </c:pt>
                <c:pt idx="549">
                  <c:v>7696.9998384887076</c:v>
                </c:pt>
                <c:pt idx="550">
                  <c:v>7697.0001894089291</c:v>
                </c:pt>
                <c:pt idx="551">
                  <c:v>7697.0002484718061</c:v>
                </c:pt>
                <c:pt idx="552">
                  <c:v>7697.0001006879465</c:v>
                </c:pt>
                <c:pt idx="553">
                  <c:v>7696.9999212681214</c:v>
                </c:pt>
                <c:pt idx="554">
                  <c:v>7696.9998635524607</c:v>
                </c:pt>
                <c:pt idx="555">
                  <c:v>7696.9999327912374</c:v>
                </c:pt>
                <c:pt idx="556">
                  <c:v>7697.0000135238661</c:v>
                </c:pt>
                <c:pt idx="557">
                  <c:v>7697.0000385290841</c:v>
                </c:pt>
                <c:pt idx="558">
                  <c:v>7697.0000169748164</c:v>
                </c:pt>
                <c:pt idx="559">
                  <c:v>7696.999983903821</c:v>
                </c:pt>
                <c:pt idx="560">
                  <c:v>7696.9999672203703</c:v>
                </c:pt>
                <c:pt idx="561">
                  <c:v>7696.9999737851322</c:v>
                </c:pt>
                <c:pt idx="562">
                  <c:v>7696.9999895327346</c:v>
                </c:pt>
                <c:pt idx="563">
                  <c:v>7696.9999976386971</c:v>
                </c:pt>
                <c:pt idx="564">
                  <c:v>7696.9999953694642</c:v>
                </c:pt>
                <c:pt idx="565">
                  <c:v>7696.9999892033084</c:v>
                </c:pt>
                <c:pt idx="566">
                  <c:v>7696.9999852361434</c:v>
                </c:pt>
                <c:pt idx="567">
                  <c:v>7696.9999854266644</c:v>
                </c:pt>
                <c:pt idx="568">
                  <c:v>7696.9999880277173</c:v>
                </c:pt>
                <c:pt idx="569">
                  <c:v>7696.999990062257</c:v>
                </c:pt>
                <c:pt idx="570">
                  <c:v>7696.9999901378251</c:v>
                </c:pt>
                <c:pt idx="571">
                  <c:v>7696.999989066273</c:v>
                </c:pt>
                <c:pt idx="572">
                  <c:v>7696.999988165815</c:v>
                </c:pt>
                <c:pt idx="573">
                  <c:v>7696.9999880176038</c:v>
                </c:pt>
                <c:pt idx="574">
                  <c:v>7696.9999884146164</c:v>
                </c:pt>
                <c:pt idx="575">
                  <c:v>7696.9999888416933</c:v>
                </c:pt>
                <c:pt idx="576">
                  <c:v>7696.9999889579703</c:v>
                </c:pt>
                <c:pt idx="577">
                  <c:v>7696.9999888001839</c:v>
                </c:pt>
                <c:pt idx="578">
                  <c:v>7696.9999886091246</c:v>
                </c:pt>
                <c:pt idx="579">
                  <c:v>7696.999988543932</c:v>
                </c:pt>
                <c:pt idx="580">
                  <c:v>7696.9999885979487</c:v>
                </c:pt>
                <c:pt idx="581">
                  <c:v>7696.9999886807054</c:v>
                </c:pt>
                <c:pt idx="582">
                  <c:v>7696.9999887184895</c:v>
                </c:pt>
                <c:pt idx="583">
                  <c:v>7696.9999887011945</c:v>
                </c:pt>
                <c:pt idx="584">
                  <c:v>7696.999988664742</c:v>
                </c:pt>
                <c:pt idx="585">
                  <c:v>7696.9999886453152</c:v>
                </c:pt>
                <c:pt idx="586">
                  <c:v>7696.999988650372</c:v>
                </c:pt>
                <c:pt idx="587">
                  <c:v>7696.9999886658043</c:v>
                </c:pt>
                <c:pt idx="588">
                  <c:v>7696.9999886756486</c:v>
                </c:pt>
                <c:pt idx="589">
                  <c:v>7696.9999886745863</c:v>
                </c:pt>
                <c:pt idx="590">
                  <c:v>7696.9999886681981</c:v>
                </c:pt>
                <c:pt idx="591">
                  <c:v>7696.9999886634105</c:v>
                </c:pt>
                <c:pt idx="592">
                  <c:v>7696.9999886631413</c:v>
                </c:pt>
                <c:pt idx="593">
                  <c:v>7696.9999886655351</c:v>
                </c:pt>
                <c:pt idx="594">
                  <c:v>7696.9999886676669</c:v>
                </c:pt>
                <c:pt idx="595">
                  <c:v>7696.9999886679361</c:v>
                </c:pt>
                <c:pt idx="596">
                  <c:v>7696.9999886671358</c:v>
                </c:pt>
                <c:pt idx="597">
                  <c:v>7696.9999886660735</c:v>
                </c:pt>
                <c:pt idx="598">
                  <c:v>7696.9999886658043</c:v>
                </c:pt>
                <c:pt idx="599">
                  <c:v>7696.9999886663354</c:v>
                </c:pt>
                <c:pt idx="600">
                  <c:v>7696.9999886668666</c:v>
                </c:pt>
                <c:pt idx="601">
                  <c:v>7696.9999886668666</c:v>
                </c:pt>
                <c:pt idx="602">
                  <c:v>7696.9999886671358</c:v>
                </c:pt>
                <c:pt idx="603">
                  <c:v>7696.9999886668666</c:v>
                </c:pt>
                <c:pt idx="604">
                  <c:v>7696.9999886663354</c:v>
                </c:pt>
                <c:pt idx="605">
                  <c:v>7696.9999886666046</c:v>
                </c:pt>
                <c:pt idx="606">
                  <c:v>7696.9999886666046</c:v>
                </c:pt>
                <c:pt idx="607">
                  <c:v>7696.9999886668666</c:v>
                </c:pt>
                <c:pt idx="608">
                  <c:v>7696.9999886666046</c:v>
                </c:pt>
                <c:pt idx="609">
                  <c:v>7696.9999886663354</c:v>
                </c:pt>
                <c:pt idx="610">
                  <c:v>7696.9999886663354</c:v>
                </c:pt>
                <c:pt idx="611">
                  <c:v>7696.9999886666046</c:v>
                </c:pt>
                <c:pt idx="612">
                  <c:v>7696.9999886663354</c:v>
                </c:pt>
                <c:pt idx="613">
                  <c:v>7696.9999886663354</c:v>
                </c:pt>
                <c:pt idx="614">
                  <c:v>7696.9999886660735</c:v>
                </c:pt>
                <c:pt idx="615">
                  <c:v>7696.9999886666046</c:v>
                </c:pt>
                <c:pt idx="616">
                  <c:v>7696.9999886666046</c:v>
                </c:pt>
                <c:pt idx="617">
                  <c:v>7696.9999886663354</c:v>
                </c:pt>
                <c:pt idx="618">
                  <c:v>7696.9999886663354</c:v>
                </c:pt>
                <c:pt idx="619">
                  <c:v>7696.9999886666046</c:v>
                </c:pt>
                <c:pt idx="620">
                  <c:v>7696.9999886666046</c:v>
                </c:pt>
                <c:pt idx="621">
                  <c:v>7696.9999886666046</c:v>
                </c:pt>
                <c:pt idx="622">
                  <c:v>7696.9999886660735</c:v>
                </c:pt>
                <c:pt idx="623">
                  <c:v>7696.9999886663354</c:v>
                </c:pt>
                <c:pt idx="624">
                  <c:v>7696.9999886663354</c:v>
                </c:pt>
                <c:pt idx="625">
                  <c:v>7696.9999886663354</c:v>
                </c:pt>
                <c:pt idx="626">
                  <c:v>7696.9999886663354</c:v>
                </c:pt>
                <c:pt idx="627">
                  <c:v>7696.9999886663354</c:v>
                </c:pt>
                <c:pt idx="628">
                  <c:v>7696.9999886660735</c:v>
                </c:pt>
                <c:pt idx="629">
                  <c:v>7696.9999886663354</c:v>
                </c:pt>
                <c:pt idx="630">
                  <c:v>7696.9999886663354</c:v>
                </c:pt>
                <c:pt idx="631">
                  <c:v>7696.9999886668666</c:v>
                </c:pt>
                <c:pt idx="632">
                  <c:v>7696.9999886663354</c:v>
                </c:pt>
                <c:pt idx="633">
                  <c:v>7696.9999886663354</c:v>
                </c:pt>
                <c:pt idx="634">
                  <c:v>7696.9999886660735</c:v>
                </c:pt>
                <c:pt idx="635">
                  <c:v>7696.9999886671358</c:v>
                </c:pt>
                <c:pt idx="636">
                  <c:v>7696.9999886666046</c:v>
                </c:pt>
                <c:pt idx="637">
                  <c:v>7696.9999886660735</c:v>
                </c:pt>
                <c:pt idx="638">
                  <c:v>7696.9999886660735</c:v>
                </c:pt>
                <c:pt idx="639">
                  <c:v>7696.9999886666046</c:v>
                </c:pt>
                <c:pt idx="640">
                  <c:v>7696.9999886666046</c:v>
                </c:pt>
                <c:pt idx="641">
                  <c:v>7696.9999886666046</c:v>
                </c:pt>
                <c:pt idx="642">
                  <c:v>7696.9999886660735</c:v>
                </c:pt>
                <c:pt idx="643">
                  <c:v>7696.9999886660735</c:v>
                </c:pt>
                <c:pt idx="644">
                  <c:v>7696.9999886666046</c:v>
                </c:pt>
                <c:pt idx="645">
                  <c:v>7696.9999886666046</c:v>
                </c:pt>
                <c:pt idx="646">
                  <c:v>7696.9999886666046</c:v>
                </c:pt>
                <c:pt idx="647">
                  <c:v>7696.9999886660735</c:v>
                </c:pt>
                <c:pt idx="648">
                  <c:v>7696.9999886666046</c:v>
                </c:pt>
                <c:pt idx="649">
                  <c:v>7696.9999886666046</c:v>
                </c:pt>
                <c:pt idx="650">
                  <c:v>7696.9999886666046</c:v>
                </c:pt>
                <c:pt idx="651">
                  <c:v>7696.9999886666046</c:v>
                </c:pt>
                <c:pt idx="652">
                  <c:v>7696.9999886660735</c:v>
                </c:pt>
                <c:pt idx="653">
                  <c:v>7696.9999886660735</c:v>
                </c:pt>
                <c:pt idx="654">
                  <c:v>7696.9999886660735</c:v>
                </c:pt>
                <c:pt idx="655">
                  <c:v>7696.9999886660735</c:v>
                </c:pt>
                <c:pt idx="656">
                  <c:v>7696.9999886660735</c:v>
                </c:pt>
                <c:pt idx="657">
                  <c:v>7696.9999886660735</c:v>
                </c:pt>
                <c:pt idx="658">
                  <c:v>7696.9999886660735</c:v>
                </c:pt>
                <c:pt idx="659">
                  <c:v>7696.9999886666046</c:v>
                </c:pt>
                <c:pt idx="660">
                  <c:v>7696.9999886666046</c:v>
                </c:pt>
                <c:pt idx="661">
                  <c:v>7696.9999886666046</c:v>
                </c:pt>
                <c:pt idx="662">
                  <c:v>7696.9999886666046</c:v>
                </c:pt>
                <c:pt idx="663">
                  <c:v>7696.9999886666046</c:v>
                </c:pt>
                <c:pt idx="664">
                  <c:v>7696.9999886666046</c:v>
                </c:pt>
                <c:pt idx="665">
                  <c:v>7696.9999886660735</c:v>
                </c:pt>
                <c:pt idx="666">
                  <c:v>7696.9999886660735</c:v>
                </c:pt>
                <c:pt idx="667">
                  <c:v>7696.9999886666046</c:v>
                </c:pt>
                <c:pt idx="668">
                  <c:v>7696.9999886666046</c:v>
                </c:pt>
                <c:pt idx="669">
                  <c:v>7696.9999886666046</c:v>
                </c:pt>
                <c:pt idx="670">
                  <c:v>7696.9999886660735</c:v>
                </c:pt>
                <c:pt idx="671">
                  <c:v>7696.9999886666046</c:v>
                </c:pt>
                <c:pt idx="672">
                  <c:v>7696.9999886671358</c:v>
                </c:pt>
                <c:pt idx="673">
                  <c:v>7696.9999886666046</c:v>
                </c:pt>
                <c:pt idx="674">
                  <c:v>7696.9999886660735</c:v>
                </c:pt>
                <c:pt idx="675">
                  <c:v>7696.9999886660735</c:v>
                </c:pt>
                <c:pt idx="676">
                  <c:v>7696.9999886660735</c:v>
                </c:pt>
                <c:pt idx="677">
                  <c:v>7696.9999886666046</c:v>
                </c:pt>
                <c:pt idx="678">
                  <c:v>7696.9999886660735</c:v>
                </c:pt>
                <c:pt idx="679">
                  <c:v>7696.9999886655351</c:v>
                </c:pt>
                <c:pt idx="680">
                  <c:v>7696.9999886660735</c:v>
                </c:pt>
                <c:pt idx="681">
                  <c:v>7696.9999886666046</c:v>
                </c:pt>
                <c:pt idx="682">
                  <c:v>7696.9999886666046</c:v>
                </c:pt>
                <c:pt idx="683">
                  <c:v>7696.9999886666046</c:v>
                </c:pt>
                <c:pt idx="684">
                  <c:v>7696.9999886660735</c:v>
                </c:pt>
                <c:pt idx="685">
                  <c:v>7696.9999886666046</c:v>
                </c:pt>
                <c:pt idx="686">
                  <c:v>7696.9999886666046</c:v>
                </c:pt>
                <c:pt idx="687">
                  <c:v>7328.3622335647888</c:v>
                </c:pt>
                <c:pt idx="688">
                  <c:v>6959.7244784619106</c:v>
                </c:pt>
                <c:pt idx="689">
                  <c:v>6591.0867233606332</c:v>
                </c:pt>
                <c:pt idx="690">
                  <c:v>6222.4489682582862</c:v>
                </c:pt>
                <c:pt idx="691">
                  <c:v>5853.8112131564776</c:v>
                </c:pt>
                <c:pt idx="692">
                  <c:v>5485.1734580546618</c:v>
                </c:pt>
                <c:pt idx="693">
                  <c:v>5116.5357029523148</c:v>
                </c:pt>
                <c:pt idx="694">
                  <c:v>5116.5357029523148</c:v>
                </c:pt>
                <c:pt idx="695">
                  <c:v>5116.5357029528459</c:v>
                </c:pt>
                <c:pt idx="696">
                  <c:v>5116.5357029523148</c:v>
                </c:pt>
                <c:pt idx="697">
                  <c:v>5116.5357029523148</c:v>
                </c:pt>
                <c:pt idx="698">
                  <c:v>5116.5357029523148</c:v>
                </c:pt>
                <c:pt idx="699">
                  <c:v>5116.5357029517836</c:v>
                </c:pt>
                <c:pt idx="700">
                  <c:v>5116.5357029523148</c:v>
                </c:pt>
                <c:pt idx="701">
                  <c:v>5116.5357029523148</c:v>
                </c:pt>
                <c:pt idx="702">
                  <c:v>5116.5357029517836</c:v>
                </c:pt>
                <c:pt idx="703">
                  <c:v>5116.5357029523148</c:v>
                </c:pt>
                <c:pt idx="704">
                  <c:v>5116.5357029523148</c:v>
                </c:pt>
                <c:pt idx="705">
                  <c:v>5116.5357029523148</c:v>
                </c:pt>
                <c:pt idx="706">
                  <c:v>5116.5357029528459</c:v>
                </c:pt>
                <c:pt idx="707">
                  <c:v>5116.5357029523148</c:v>
                </c:pt>
                <c:pt idx="708">
                  <c:v>5116.5357029523148</c:v>
                </c:pt>
                <c:pt idx="709">
                  <c:v>5116.5357029523148</c:v>
                </c:pt>
                <c:pt idx="710">
                  <c:v>5116.5357029523148</c:v>
                </c:pt>
                <c:pt idx="711">
                  <c:v>5116.5357029523148</c:v>
                </c:pt>
                <c:pt idx="712">
                  <c:v>5116.5357029523148</c:v>
                </c:pt>
                <c:pt idx="713">
                  <c:v>5116.5357029517836</c:v>
                </c:pt>
                <c:pt idx="714">
                  <c:v>5116.5357029523148</c:v>
                </c:pt>
                <c:pt idx="715">
                  <c:v>5116.5357029523148</c:v>
                </c:pt>
                <c:pt idx="716">
                  <c:v>5116.5357029517836</c:v>
                </c:pt>
                <c:pt idx="717">
                  <c:v>5116.5357029523148</c:v>
                </c:pt>
                <c:pt idx="718">
                  <c:v>5116.5357029523148</c:v>
                </c:pt>
                <c:pt idx="719">
                  <c:v>5116.5357029523148</c:v>
                </c:pt>
                <c:pt idx="720">
                  <c:v>5116.5357029528459</c:v>
                </c:pt>
                <c:pt idx="721">
                  <c:v>5116.5357029523148</c:v>
                </c:pt>
                <c:pt idx="722">
                  <c:v>5116.5357029523148</c:v>
                </c:pt>
                <c:pt idx="723">
                  <c:v>5116.5357029528459</c:v>
                </c:pt>
                <c:pt idx="724">
                  <c:v>5116.5357029523148</c:v>
                </c:pt>
                <c:pt idx="725">
                  <c:v>5116.5357029523148</c:v>
                </c:pt>
                <c:pt idx="726">
                  <c:v>5116.5357029523148</c:v>
                </c:pt>
                <c:pt idx="727">
                  <c:v>5116.5357029517836</c:v>
                </c:pt>
                <c:pt idx="728">
                  <c:v>5116.5357029523148</c:v>
                </c:pt>
                <c:pt idx="729">
                  <c:v>5116.5357029523148</c:v>
                </c:pt>
                <c:pt idx="730">
                  <c:v>5116.5357029517836</c:v>
                </c:pt>
                <c:pt idx="731">
                  <c:v>5116.5357029523148</c:v>
                </c:pt>
                <c:pt idx="732">
                  <c:v>5116.5357029523148</c:v>
                </c:pt>
                <c:pt idx="733">
                  <c:v>5116.5357029523148</c:v>
                </c:pt>
                <c:pt idx="734">
                  <c:v>5116.5357029523148</c:v>
                </c:pt>
                <c:pt idx="735">
                  <c:v>5116.5357029523148</c:v>
                </c:pt>
                <c:pt idx="736">
                  <c:v>5116.5357029523184</c:v>
                </c:pt>
                <c:pt idx="737">
                  <c:v>5116.5357029528495</c:v>
                </c:pt>
                <c:pt idx="738">
                  <c:v>5116.5357029523184</c:v>
                </c:pt>
                <c:pt idx="739">
                  <c:v>5116.5357029523166</c:v>
                </c:pt>
                <c:pt idx="740">
                  <c:v>5116.5357029523166</c:v>
                </c:pt>
                <c:pt idx="741">
                  <c:v>5116.5357029523166</c:v>
                </c:pt>
                <c:pt idx="742">
                  <c:v>5116.5357029523166</c:v>
                </c:pt>
                <c:pt idx="743">
                  <c:v>5116.5357029523166</c:v>
                </c:pt>
                <c:pt idx="744">
                  <c:v>5116.5357029517845</c:v>
                </c:pt>
                <c:pt idx="745">
                  <c:v>5116.5357029523166</c:v>
                </c:pt>
                <c:pt idx="746">
                  <c:v>5116.5357029523166</c:v>
                </c:pt>
              </c:numCache>
            </c:numRef>
          </c:val>
          <c:extLst>
            <c:ext xmlns:c16="http://schemas.microsoft.com/office/drawing/2014/chart" uri="{C3380CC4-5D6E-409C-BE32-E72D297353CC}">
              <c16:uniqueId val="{00000002-6485-4F05-90EA-3C0640AD2471}"/>
            </c:ext>
          </c:extLst>
        </c:ser>
        <c:ser>
          <c:idx val="3"/>
          <c:order val="3"/>
          <c:spPr>
            <a:solidFill>
              <a:srgbClr val="FF0000"/>
            </a:solidFill>
            <a:ln w="9525" algn="ctr">
              <a:solidFill>
                <a:schemeClr val="bg1"/>
              </a:solidFill>
              <a:prstDash val="solid"/>
            </a:ln>
          </c:spPr>
          <c:val>
            <c:numRef>
              <c:f>Sheet1!$A$4:$ABS$4</c:f>
              <c:numCache>
                <c:formatCode>General</c:formatCode>
                <c:ptCount val="74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15311.592739285712</c:v>
                </c:pt>
                <c:pt idx="242">
                  <c:v>16196.857939285677</c:v>
                </c:pt>
                <c:pt idx="243">
                  <c:v>15960.586113729994</c:v>
                </c:pt>
                <c:pt idx="244">
                  <c:v>15732.257275829514</c:v>
                </c:pt>
                <c:pt idx="245">
                  <c:v>16184.016063794727</c:v>
                </c:pt>
                <c:pt idx="246">
                  <c:v>16257.550094546459</c:v>
                </c:pt>
                <c:pt idx="247">
                  <c:v>16275.763730593811</c:v>
                </c:pt>
                <c:pt idx="248">
                  <c:v>16122.970643496315</c:v>
                </c:pt>
                <c:pt idx="249">
                  <c:v>16153.29504290456</c:v>
                </c:pt>
                <c:pt idx="250">
                  <c:v>16164.159564168789</c:v>
                </c:pt>
                <c:pt idx="251">
                  <c:v>16168.243237863906</c:v>
                </c:pt>
                <c:pt idx="252">
                  <c:v>16181.876589470092</c:v>
                </c:pt>
                <c:pt idx="253">
                  <c:v>16195.265035260789</c:v>
                </c:pt>
                <c:pt idx="254">
                  <c:v>16198.441671523135</c:v>
                </c:pt>
                <c:pt idx="255">
                  <c:v>16205.844031065353</c:v>
                </c:pt>
                <c:pt idx="256">
                  <c:v>16218.595582077804</c:v>
                </c:pt>
                <c:pt idx="257">
                  <c:v>16223.94695709752</c:v>
                </c:pt>
                <c:pt idx="258">
                  <c:v>16229.31002108434</c:v>
                </c:pt>
                <c:pt idx="259">
                  <c:v>16232.19875903058</c:v>
                </c:pt>
                <c:pt idx="260">
                  <c:v>16226.370500381672</c:v>
                </c:pt>
                <c:pt idx="261">
                  <c:v>16214.652967179558</c:v>
                </c:pt>
                <c:pt idx="262">
                  <c:v>16212.911712829155</c:v>
                </c:pt>
                <c:pt idx="263">
                  <c:v>16208.593796384564</c:v>
                </c:pt>
                <c:pt idx="264">
                  <c:v>16227.807569051263</c:v>
                </c:pt>
                <c:pt idx="265">
                  <c:v>16289.153730400998</c:v>
                </c:pt>
                <c:pt idx="266">
                  <c:v>16287.651307506603</c:v>
                </c:pt>
                <c:pt idx="267">
                  <c:v>16284.391293644832</c:v>
                </c:pt>
                <c:pt idx="268">
                  <c:v>16294.1646995919</c:v>
                </c:pt>
                <c:pt idx="269">
                  <c:v>14106.904833487497</c:v>
                </c:pt>
                <c:pt idx="270">
                  <c:v>11894.693163260366</c:v>
                </c:pt>
                <c:pt idx="271">
                  <c:v>9716.0142218665278</c:v>
                </c:pt>
                <c:pt idx="272">
                  <c:v>7535.8320915107033</c:v>
                </c:pt>
                <c:pt idx="273">
                  <c:v>5347.9131182435813</c:v>
                </c:pt>
                <c:pt idx="274">
                  <c:v>3160.1304079698457</c:v>
                </c:pt>
                <c:pt idx="275">
                  <c:v>972.75451125534892</c:v>
                </c:pt>
                <c:pt idx="276">
                  <c:v>971.3520185338275</c:v>
                </c:pt>
                <c:pt idx="277">
                  <c:v>969.73338039177179</c:v>
                </c:pt>
                <c:pt idx="278">
                  <c:v>971.43226235805196</c:v>
                </c:pt>
                <c:pt idx="279">
                  <c:v>972.13220604343223</c:v>
                </c:pt>
                <c:pt idx="280">
                  <c:v>971.90524725947762</c:v>
                </c:pt>
                <c:pt idx="281">
                  <c:v>971.72423464077292</c:v>
                </c:pt>
                <c:pt idx="282">
                  <c:v>971.57626578326744</c:v>
                </c:pt>
                <c:pt idx="283">
                  <c:v>971.40794500152697</c:v>
                </c:pt>
                <c:pt idx="284">
                  <c:v>971.41593449690845</c:v>
                </c:pt>
                <c:pt idx="285">
                  <c:v>971.65629936908954</c:v>
                </c:pt>
                <c:pt idx="286">
                  <c:v>971.68830465635983</c:v>
                </c:pt>
                <c:pt idx="287">
                  <c:v>971.62489017247572</c:v>
                </c:pt>
                <c:pt idx="288">
                  <c:v>971.58483916003024</c:v>
                </c:pt>
                <c:pt idx="289">
                  <c:v>971.56492551995325</c:v>
                </c:pt>
                <c:pt idx="290">
                  <c:v>971.56330548232654</c:v>
                </c:pt>
                <c:pt idx="291">
                  <c:v>971.58549983674311</c:v>
                </c:pt>
                <c:pt idx="292">
                  <c:v>971.6097234566987</c:v>
                </c:pt>
                <c:pt idx="293">
                  <c:v>971.60306975492858</c:v>
                </c:pt>
                <c:pt idx="294">
                  <c:v>971.59089334045711</c:v>
                </c:pt>
                <c:pt idx="295">
                  <c:v>971.5860366501729</c:v>
                </c:pt>
                <c:pt idx="296">
                  <c:v>971.58620772016002</c:v>
                </c:pt>
                <c:pt idx="297">
                  <c:v>971.5892480344919</c:v>
                </c:pt>
                <c:pt idx="298">
                  <c:v>971.59295411338098</c:v>
                </c:pt>
                <c:pt idx="299">
                  <c:v>971.59401901002275</c:v>
                </c:pt>
                <c:pt idx="300">
                  <c:v>971.59177551764878</c:v>
                </c:pt>
                <c:pt idx="301">
                  <c:v>971.59016205518856</c:v>
                </c:pt>
                <c:pt idx="302">
                  <c:v>971.59005758588319</c:v>
                </c:pt>
                <c:pt idx="303">
                  <c:v>971.59063200527453</c:v>
                </c:pt>
                <c:pt idx="304">
                  <c:v>971.59126404597191</c:v>
                </c:pt>
                <c:pt idx="305">
                  <c:v>971.59155204761191</c:v>
                </c:pt>
                <c:pt idx="306">
                  <c:v>971.59135175251868</c:v>
                </c:pt>
                <c:pt idx="307">
                  <c:v>971.59097071571159</c:v>
                </c:pt>
                <c:pt idx="308">
                  <c:v>971.59085574402707</c:v>
                </c:pt>
                <c:pt idx="309">
                  <c:v>971.59095484242425</c:v>
                </c:pt>
                <c:pt idx="310">
                  <c:v>971.5910830219218</c:v>
                </c:pt>
                <c:pt idx="311">
                  <c:v>971.59114745288389</c:v>
                </c:pt>
                <c:pt idx="312">
                  <c:v>971.59113079673261</c:v>
                </c:pt>
                <c:pt idx="313">
                  <c:v>971.59107061804389</c:v>
                </c:pt>
                <c:pt idx="314">
                  <c:v>971.59103045598022</c:v>
                </c:pt>
                <c:pt idx="315">
                  <c:v>971.59103899027104</c:v>
                </c:pt>
                <c:pt idx="316">
                  <c:v>971.59106516832253</c:v>
                </c:pt>
                <c:pt idx="317">
                  <c:v>971.59108092918177</c:v>
                </c:pt>
                <c:pt idx="318">
                  <c:v>971.59108063019812</c:v>
                </c:pt>
                <c:pt idx="319">
                  <c:v>971.59107108408352</c:v>
                </c:pt>
                <c:pt idx="320">
                  <c:v>971.59106255372171</c:v>
                </c:pt>
                <c:pt idx="321">
                  <c:v>971.59106140167569</c:v>
                </c:pt>
                <c:pt idx="322">
                  <c:v>971.59106582248933</c:v>
                </c:pt>
                <c:pt idx="323">
                  <c:v>971.59106965566752</c:v>
                </c:pt>
                <c:pt idx="324">
                  <c:v>971.59107029670849</c:v>
                </c:pt>
                <c:pt idx="325">
                  <c:v>971.59106877780869</c:v>
                </c:pt>
                <c:pt idx="326">
                  <c:v>971.59106708460604</c:v>
                </c:pt>
                <c:pt idx="327">
                  <c:v>971.59106651323964</c:v>
                </c:pt>
                <c:pt idx="328">
                  <c:v>971.59106707890169</c:v>
                </c:pt>
                <c:pt idx="329">
                  <c:v>971.59106788993813</c:v>
                </c:pt>
                <c:pt idx="330">
                  <c:v>971.5910681852838</c:v>
                </c:pt>
                <c:pt idx="331">
                  <c:v>971.59106797524146</c:v>
                </c:pt>
                <c:pt idx="332">
                  <c:v>971.59106764357421</c:v>
                </c:pt>
                <c:pt idx="333">
                  <c:v>971.59106748155318</c:v>
                </c:pt>
                <c:pt idx="334">
                  <c:v>971.59106753827655</c:v>
                </c:pt>
                <c:pt idx="335">
                  <c:v>971.59106768466881</c:v>
                </c:pt>
                <c:pt idx="336">
                  <c:v>971.59106777122361</c:v>
                </c:pt>
                <c:pt idx="337">
                  <c:v>971.59106775422697</c:v>
                </c:pt>
                <c:pt idx="338">
                  <c:v>971.59106769264326</c:v>
                </c:pt>
                <c:pt idx="339">
                  <c:v>971.59106765230536</c:v>
                </c:pt>
                <c:pt idx="340">
                  <c:v>971.59106765352772</c:v>
                </c:pt>
                <c:pt idx="341">
                  <c:v>971.59106767812045</c:v>
                </c:pt>
                <c:pt idx="342">
                  <c:v>971.59106769808568</c:v>
                </c:pt>
                <c:pt idx="343">
                  <c:v>971.59106770000653</c:v>
                </c:pt>
                <c:pt idx="344">
                  <c:v>971.5910676898493</c:v>
                </c:pt>
                <c:pt idx="345">
                  <c:v>971.59106768065249</c:v>
                </c:pt>
                <c:pt idx="346">
                  <c:v>971.59106767893536</c:v>
                </c:pt>
                <c:pt idx="347">
                  <c:v>971.59106768274796</c:v>
                </c:pt>
                <c:pt idx="348">
                  <c:v>971.59106768690981</c:v>
                </c:pt>
                <c:pt idx="349">
                  <c:v>971.59106768819038</c:v>
                </c:pt>
                <c:pt idx="350">
                  <c:v>971.59106768676429</c:v>
                </c:pt>
                <c:pt idx="351">
                  <c:v>971.59106768487254</c:v>
                </c:pt>
                <c:pt idx="352">
                  <c:v>971.59106768417405</c:v>
                </c:pt>
                <c:pt idx="353">
                  <c:v>971.59106768463971</c:v>
                </c:pt>
                <c:pt idx="354">
                  <c:v>971.59106768545462</c:v>
                </c:pt>
                <c:pt idx="355">
                  <c:v>971.59106768586207</c:v>
                </c:pt>
                <c:pt idx="356">
                  <c:v>971.59106768568745</c:v>
                </c:pt>
                <c:pt idx="357">
                  <c:v>971.5910676853382</c:v>
                </c:pt>
                <c:pt idx="358">
                  <c:v>971.59106768516358</c:v>
                </c:pt>
                <c:pt idx="359">
                  <c:v>971.59106768516358</c:v>
                </c:pt>
                <c:pt idx="360">
                  <c:v>971.5910676853382</c:v>
                </c:pt>
                <c:pt idx="361">
                  <c:v>971.59106768545462</c:v>
                </c:pt>
                <c:pt idx="362">
                  <c:v>971.59106768545462</c:v>
                </c:pt>
                <c:pt idx="363">
                  <c:v>971.59106768539641</c:v>
                </c:pt>
                <c:pt idx="364">
                  <c:v>971.5910676853382</c:v>
                </c:pt>
                <c:pt idx="365">
                  <c:v>971.5910676853382</c:v>
                </c:pt>
                <c:pt idx="366">
                  <c:v>971.5910676853382</c:v>
                </c:pt>
                <c:pt idx="367">
                  <c:v>971.5910676853382</c:v>
                </c:pt>
                <c:pt idx="368">
                  <c:v>971.5910676853382</c:v>
                </c:pt>
                <c:pt idx="369">
                  <c:v>971.5910676853382</c:v>
                </c:pt>
                <c:pt idx="370">
                  <c:v>971.5910676853382</c:v>
                </c:pt>
                <c:pt idx="371">
                  <c:v>971.5910676853382</c:v>
                </c:pt>
                <c:pt idx="372">
                  <c:v>971.5910676853382</c:v>
                </c:pt>
                <c:pt idx="373">
                  <c:v>971.5910676853382</c:v>
                </c:pt>
                <c:pt idx="374">
                  <c:v>971.5910676853382</c:v>
                </c:pt>
                <c:pt idx="375">
                  <c:v>971.5910676853382</c:v>
                </c:pt>
                <c:pt idx="376">
                  <c:v>971.5910676853382</c:v>
                </c:pt>
                <c:pt idx="377">
                  <c:v>971.5910676853382</c:v>
                </c:pt>
                <c:pt idx="378">
                  <c:v>971.5910676853382</c:v>
                </c:pt>
                <c:pt idx="379">
                  <c:v>971.5910676853382</c:v>
                </c:pt>
                <c:pt idx="380">
                  <c:v>971.5910676853382</c:v>
                </c:pt>
                <c:pt idx="381">
                  <c:v>971.5910676853382</c:v>
                </c:pt>
                <c:pt idx="382">
                  <c:v>971.5910676853382</c:v>
                </c:pt>
                <c:pt idx="383">
                  <c:v>971.5910676853382</c:v>
                </c:pt>
                <c:pt idx="384">
                  <c:v>971.5910676853382</c:v>
                </c:pt>
                <c:pt idx="385">
                  <c:v>971.5910676853382</c:v>
                </c:pt>
                <c:pt idx="386">
                  <c:v>971.5910676853382</c:v>
                </c:pt>
                <c:pt idx="387">
                  <c:v>971.5910676853382</c:v>
                </c:pt>
                <c:pt idx="388">
                  <c:v>971.5910676853382</c:v>
                </c:pt>
                <c:pt idx="389">
                  <c:v>971.5910676853382</c:v>
                </c:pt>
                <c:pt idx="390">
                  <c:v>971.5910676853382</c:v>
                </c:pt>
                <c:pt idx="391">
                  <c:v>971.5910676853091</c:v>
                </c:pt>
                <c:pt idx="392">
                  <c:v>971.5910676853091</c:v>
                </c:pt>
                <c:pt idx="393">
                  <c:v>971.5910676853091</c:v>
                </c:pt>
                <c:pt idx="394">
                  <c:v>971.5910676853382</c:v>
                </c:pt>
                <c:pt idx="395">
                  <c:v>971.5910676853382</c:v>
                </c:pt>
                <c:pt idx="396">
                  <c:v>971.5910676853091</c:v>
                </c:pt>
                <c:pt idx="397">
                  <c:v>971.5910676853382</c:v>
                </c:pt>
                <c:pt idx="398">
                  <c:v>971.5910676853091</c:v>
                </c:pt>
                <c:pt idx="399">
                  <c:v>971.5910676853091</c:v>
                </c:pt>
                <c:pt idx="400">
                  <c:v>971.5910676853382</c:v>
                </c:pt>
                <c:pt idx="401">
                  <c:v>971.5910676853091</c:v>
                </c:pt>
                <c:pt idx="402">
                  <c:v>971.5910676853091</c:v>
                </c:pt>
                <c:pt idx="403">
                  <c:v>971.5910676853382</c:v>
                </c:pt>
                <c:pt idx="404">
                  <c:v>971.5910676853091</c:v>
                </c:pt>
                <c:pt idx="405">
                  <c:v>971.5910676853091</c:v>
                </c:pt>
                <c:pt idx="406">
                  <c:v>971.5910676853091</c:v>
                </c:pt>
                <c:pt idx="407">
                  <c:v>971.5910676853091</c:v>
                </c:pt>
                <c:pt idx="408">
                  <c:v>971.5910676853091</c:v>
                </c:pt>
                <c:pt idx="409">
                  <c:v>971.59106768532365</c:v>
                </c:pt>
                <c:pt idx="410">
                  <c:v>971.5910676853091</c:v>
                </c:pt>
                <c:pt idx="411">
                  <c:v>971.5910676853091</c:v>
                </c:pt>
                <c:pt idx="412">
                  <c:v>971.5910676853091</c:v>
                </c:pt>
                <c:pt idx="413">
                  <c:v>971.5910676853091</c:v>
                </c:pt>
                <c:pt idx="414">
                  <c:v>971.5910676853382</c:v>
                </c:pt>
                <c:pt idx="415">
                  <c:v>971.5910676853091</c:v>
                </c:pt>
                <c:pt idx="416">
                  <c:v>971.5910676853091</c:v>
                </c:pt>
                <c:pt idx="417">
                  <c:v>971.5910676853091</c:v>
                </c:pt>
                <c:pt idx="418">
                  <c:v>971.5910676853091</c:v>
                </c:pt>
                <c:pt idx="419">
                  <c:v>971.5910676853091</c:v>
                </c:pt>
                <c:pt idx="420">
                  <c:v>971.5910676853382</c:v>
                </c:pt>
                <c:pt idx="421">
                  <c:v>971.5910676853091</c:v>
                </c:pt>
                <c:pt idx="422">
                  <c:v>971.5910676853091</c:v>
                </c:pt>
                <c:pt idx="423">
                  <c:v>971.5910676853382</c:v>
                </c:pt>
                <c:pt idx="424">
                  <c:v>971.5910676853091</c:v>
                </c:pt>
                <c:pt idx="425">
                  <c:v>971.5910676853091</c:v>
                </c:pt>
                <c:pt idx="426">
                  <c:v>971.59106768532365</c:v>
                </c:pt>
                <c:pt idx="427">
                  <c:v>971.5910676853091</c:v>
                </c:pt>
                <c:pt idx="428">
                  <c:v>971.59106768532365</c:v>
                </c:pt>
                <c:pt idx="429">
                  <c:v>971.59106768532365</c:v>
                </c:pt>
                <c:pt idx="430">
                  <c:v>971.5910676853091</c:v>
                </c:pt>
                <c:pt idx="431">
                  <c:v>971.5910676853091</c:v>
                </c:pt>
                <c:pt idx="432">
                  <c:v>971.5910676853091</c:v>
                </c:pt>
                <c:pt idx="433">
                  <c:v>971.59106768529455</c:v>
                </c:pt>
                <c:pt idx="434">
                  <c:v>971.59106768529455</c:v>
                </c:pt>
                <c:pt idx="435">
                  <c:v>971.59106768529455</c:v>
                </c:pt>
                <c:pt idx="436">
                  <c:v>971.59106768529455</c:v>
                </c:pt>
                <c:pt idx="437">
                  <c:v>971.5910676853091</c:v>
                </c:pt>
                <c:pt idx="438">
                  <c:v>971.5910676853091</c:v>
                </c:pt>
                <c:pt idx="439">
                  <c:v>971.5910676853091</c:v>
                </c:pt>
                <c:pt idx="440">
                  <c:v>971.5910676853091</c:v>
                </c:pt>
                <c:pt idx="441">
                  <c:v>971.5910676853091</c:v>
                </c:pt>
                <c:pt idx="442">
                  <c:v>971.5910676853091</c:v>
                </c:pt>
                <c:pt idx="443">
                  <c:v>971.5910676853091</c:v>
                </c:pt>
                <c:pt idx="444">
                  <c:v>971.59106768529455</c:v>
                </c:pt>
                <c:pt idx="445">
                  <c:v>971.59106768529455</c:v>
                </c:pt>
                <c:pt idx="446">
                  <c:v>971.5910676853091</c:v>
                </c:pt>
                <c:pt idx="447">
                  <c:v>971.5910676853091</c:v>
                </c:pt>
                <c:pt idx="448">
                  <c:v>971.5910676853091</c:v>
                </c:pt>
                <c:pt idx="449">
                  <c:v>971.59106768529455</c:v>
                </c:pt>
                <c:pt idx="450">
                  <c:v>971.5910676853091</c:v>
                </c:pt>
                <c:pt idx="451">
                  <c:v>971.5910676853091</c:v>
                </c:pt>
                <c:pt idx="452">
                  <c:v>971.5910676853091</c:v>
                </c:pt>
                <c:pt idx="453">
                  <c:v>971.5910676853091</c:v>
                </c:pt>
                <c:pt idx="454">
                  <c:v>971.5910676853091</c:v>
                </c:pt>
                <c:pt idx="455">
                  <c:v>971.5910676853091</c:v>
                </c:pt>
                <c:pt idx="456">
                  <c:v>971.5910676853091</c:v>
                </c:pt>
                <c:pt idx="457">
                  <c:v>971.59106768529455</c:v>
                </c:pt>
                <c:pt idx="458">
                  <c:v>971.5910676853091</c:v>
                </c:pt>
                <c:pt idx="459">
                  <c:v>971.5910676853091</c:v>
                </c:pt>
                <c:pt idx="460">
                  <c:v>971.5910676853091</c:v>
                </c:pt>
                <c:pt idx="461">
                  <c:v>971.5910676853091</c:v>
                </c:pt>
                <c:pt idx="462">
                  <c:v>971.5910676853091</c:v>
                </c:pt>
                <c:pt idx="463">
                  <c:v>971.5910676853091</c:v>
                </c:pt>
                <c:pt idx="464">
                  <c:v>971.5910676853091</c:v>
                </c:pt>
                <c:pt idx="465">
                  <c:v>971.59106768529455</c:v>
                </c:pt>
                <c:pt idx="466">
                  <c:v>971.59106768529455</c:v>
                </c:pt>
                <c:pt idx="467">
                  <c:v>971.59106768529455</c:v>
                </c:pt>
                <c:pt idx="468">
                  <c:v>971.59106768529455</c:v>
                </c:pt>
                <c:pt idx="469">
                  <c:v>971.5910676853091</c:v>
                </c:pt>
                <c:pt idx="470">
                  <c:v>971.5910676853091</c:v>
                </c:pt>
                <c:pt idx="471">
                  <c:v>971.5910676853091</c:v>
                </c:pt>
                <c:pt idx="472">
                  <c:v>971.5910676853091</c:v>
                </c:pt>
                <c:pt idx="473">
                  <c:v>971.5910676853091</c:v>
                </c:pt>
                <c:pt idx="474">
                  <c:v>971.5910676853091</c:v>
                </c:pt>
                <c:pt idx="475">
                  <c:v>971.5910676853091</c:v>
                </c:pt>
                <c:pt idx="476">
                  <c:v>971.59106768529455</c:v>
                </c:pt>
                <c:pt idx="477">
                  <c:v>971.59106768529455</c:v>
                </c:pt>
                <c:pt idx="478">
                  <c:v>971.5910676853091</c:v>
                </c:pt>
                <c:pt idx="479">
                  <c:v>971.5910676853091</c:v>
                </c:pt>
                <c:pt idx="480">
                  <c:v>971.5910676853091</c:v>
                </c:pt>
                <c:pt idx="481">
                  <c:v>971.5910676853091</c:v>
                </c:pt>
                <c:pt idx="482">
                  <c:v>971.5910676853091</c:v>
                </c:pt>
                <c:pt idx="483">
                  <c:v>971.5910676853091</c:v>
                </c:pt>
                <c:pt idx="484">
                  <c:v>971.5910676853091</c:v>
                </c:pt>
                <c:pt idx="485">
                  <c:v>971.5910676853091</c:v>
                </c:pt>
                <c:pt idx="486">
                  <c:v>971.5910676853091</c:v>
                </c:pt>
                <c:pt idx="487">
                  <c:v>971.5910676853091</c:v>
                </c:pt>
                <c:pt idx="488">
                  <c:v>971.59106768529455</c:v>
                </c:pt>
                <c:pt idx="489">
                  <c:v>971.59106768529455</c:v>
                </c:pt>
                <c:pt idx="490">
                  <c:v>971.5910676853091</c:v>
                </c:pt>
                <c:pt idx="491">
                  <c:v>971.5910676853091</c:v>
                </c:pt>
                <c:pt idx="492">
                  <c:v>971.5910676853091</c:v>
                </c:pt>
                <c:pt idx="493">
                  <c:v>971.5910676853091</c:v>
                </c:pt>
                <c:pt idx="494">
                  <c:v>971.5910676853091</c:v>
                </c:pt>
                <c:pt idx="495">
                  <c:v>971.5910676853091</c:v>
                </c:pt>
                <c:pt idx="496">
                  <c:v>832.79234373026702</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numCache>
            </c:numRef>
          </c:val>
          <c:extLst>
            <c:ext xmlns:c16="http://schemas.microsoft.com/office/drawing/2014/chart" uri="{C3380CC4-5D6E-409C-BE32-E72D297353CC}">
              <c16:uniqueId val="{00000003-6485-4F05-90EA-3C0640AD2471}"/>
            </c:ext>
          </c:extLst>
        </c:ser>
        <c:ser>
          <c:idx val="4"/>
          <c:order val="4"/>
          <c:spPr>
            <a:solidFill>
              <a:schemeClr val="accent4"/>
            </a:solidFill>
            <a:ln w="9525" algn="ctr">
              <a:solidFill>
                <a:schemeClr val="bg1"/>
              </a:solidFill>
              <a:prstDash val="solid"/>
            </a:ln>
          </c:spPr>
          <c:val>
            <c:numRef>
              <c:f>Sheet1!$A$5:$ABS$5</c:f>
              <c:numCache>
                <c:formatCode>General</c:formatCode>
                <c:ptCount val="74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66351.410526913183</c:v>
                </c:pt>
                <c:pt idx="353">
                  <c:v>64152.637479102472</c:v>
                </c:pt>
                <c:pt idx="354">
                  <c:v>65794.055046027759</c:v>
                </c:pt>
                <c:pt idx="355">
                  <c:v>35223.504219703609</c:v>
                </c:pt>
                <c:pt idx="356">
                  <c:v>43118.427579292387</c:v>
                </c:pt>
                <c:pt idx="357">
                  <c:v>45245.686583730741</c:v>
                </c:pt>
                <c:pt idx="358">
                  <c:v>48197.059802268632</c:v>
                </c:pt>
                <c:pt idx="359">
                  <c:v>48477.602421393385</c:v>
                </c:pt>
                <c:pt idx="360">
                  <c:v>44979.414340607764</c:v>
                </c:pt>
                <c:pt idx="361">
                  <c:v>40837.924196199048</c:v>
                </c:pt>
                <c:pt idx="362">
                  <c:v>37965.848862488929</c:v>
                </c:pt>
                <c:pt idx="363">
                  <c:v>34582.472443171719</c:v>
                </c:pt>
                <c:pt idx="364">
                  <c:v>30986.17552737426</c:v>
                </c:pt>
                <c:pt idx="365">
                  <c:v>27212.147565009887</c:v>
                </c:pt>
                <c:pt idx="366">
                  <c:v>24503.370738501311</c:v>
                </c:pt>
                <c:pt idx="367">
                  <c:v>22219.948414862214</c:v>
                </c:pt>
                <c:pt idx="368">
                  <c:v>18796.031154630997</c:v>
                </c:pt>
                <c:pt idx="369">
                  <c:v>17323.263485907926</c:v>
                </c:pt>
                <c:pt idx="370">
                  <c:v>14713.73063795676</c:v>
                </c:pt>
                <c:pt idx="371">
                  <c:v>13897.075938585505</c:v>
                </c:pt>
                <c:pt idx="372">
                  <c:v>21141.994061845355</c:v>
                </c:pt>
                <c:pt idx="373">
                  <c:v>28545.74862716347</c:v>
                </c:pt>
                <c:pt idx="374">
                  <c:v>36154.424601391773</c:v>
                </c:pt>
                <c:pt idx="375">
                  <c:v>40762.917712726747</c:v>
                </c:pt>
                <c:pt idx="376">
                  <c:v>46321.100415346154</c:v>
                </c:pt>
                <c:pt idx="377">
                  <c:v>53548.406235301984</c:v>
                </c:pt>
                <c:pt idx="378">
                  <c:v>59445.702751965378</c:v>
                </c:pt>
                <c:pt idx="379">
                  <c:v>55471.604407915089</c:v>
                </c:pt>
                <c:pt idx="380">
                  <c:v>52084.850752012106</c:v>
                </c:pt>
                <c:pt idx="381">
                  <c:v>47603.785361689108</c:v>
                </c:pt>
                <c:pt idx="382">
                  <c:v>44390.95921801572</c:v>
                </c:pt>
                <c:pt idx="383">
                  <c:v>40948.191492551123</c:v>
                </c:pt>
                <c:pt idx="384">
                  <c:v>37446.046832705033</c:v>
                </c:pt>
                <c:pt idx="385">
                  <c:v>33779.887586107419</c:v>
                </c:pt>
                <c:pt idx="386">
                  <c:v>31205.462310991075</c:v>
                </c:pt>
                <c:pt idx="387">
                  <c:v>28900.33513791085</c:v>
                </c:pt>
                <c:pt idx="388">
                  <c:v>25568.17940562265</c:v>
                </c:pt>
                <c:pt idx="389">
                  <c:v>23887.39280335122</c:v>
                </c:pt>
                <c:pt idx="390">
                  <c:v>21588.768121329427</c:v>
                </c:pt>
                <c:pt idx="391">
                  <c:v>20724.3134143645</c:v>
                </c:pt>
                <c:pt idx="392">
                  <c:v>19397.085222031135</c:v>
                </c:pt>
                <c:pt idx="393">
                  <c:v>18522.737712156755</c:v>
                </c:pt>
                <c:pt idx="394">
                  <c:v>17683.195280476793</c:v>
                </c:pt>
                <c:pt idx="395">
                  <c:v>17607.541959094175</c:v>
                </c:pt>
                <c:pt idx="396">
                  <c:v>17690.264219754754</c:v>
                </c:pt>
                <c:pt idx="397">
                  <c:v>19073.630047109269</c:v>
                </c:pt>
                <c:pt idx="398">
                  <c:v>18708.903608378867</c:v>
                </c:pt>
                <c:pt idx="399">
                  <c:v>18298.411299377534</c:v>
                </c:pt>
                <c:pt idx="400">
                  <c:v>17988.570613045304</c:v>
                </c:pt>
                <c:pt idx="401">
                  <c:v>17138.322823899391</c:v>
                </c:pt>
                <c:pt idx="402">
                  <c:v>16385.65948363833</c:v>
                </c:pt>
                <c:pt idx="403">
                  <c:v>15658.25350189695</c:v>
                </c:pt>
                <c:pt idx="404">
                  <c:v>15004.562330207351</c:v>
                </c:pt>
                <c:pt idx="405">
                  <c:v>14219.681902975834</c:v>
                </c:pt>
                <c:pt idx="406">
                  <c:v>14003.666095100081</c:v>
                </c:pt>
                <c:pt idx="407">
                  <c:v>13589.240278783021</c:v>
                </c:pt>
                <c:pt idx="408">
                  <c:v>13201.061035040562</c:v>
                </c:pt>
                <c:pt idx="409">
                  <c:v>12799.284589383562</c:v>
                </c:pt>
                <c:pt idx="410">
                  <c:v>12918.941368839092</c:v>
                </c:pt>
                <c:pt idx="411">
                  <c:v>13091.086906667784</c:v>
                </c:pt>
                <c:pt idx="412">
                  <c:v>13195.638187746415</c:v>
                </c:pt>
                <c:pt idx="413">
                  <c:v>12963.325938230177</c:v>
                </c:pt>
                <c:pt idx="414">
                  <c:v>12770.188330601843</c:v>
                </c:pt>
                <c:pt idx="415">
                  <c:v>12689.798841630312</c:v>
                </c:pt>
                <c:pt idx="416">
                  <c:v>12852.262639675813</c:v>
                </c:pt>
                <c:pt idx="417">
                  <c:v>12998.139869193721</c:v>
                </c:pt>
                <c:pt idx="418">
                  <c:v>12865.900873456791</c:v>
                </c:pt>
                <c:pt idx="419">
                  <c:v>12937.085297670012</c:v>
                </c:pt>
                <c:pt idx="420">
                  <c:v>13066.946737014485</c:v>
                </c:pt>
                <c:pt idx="421">
                  <c:v>12787.89103519381</c:v>
                </c:pt>
                <c:pt idx="422">
                  <c:v>12032.04650450495</c:v>
                </c:pt>
                <c:pt idx="423">
                  <c:v>10846.637380519824</c:v>
                </c:pt>
                <c:pt idx="424">
                  <c:v>10088.700492624281</c:v>
                </c:pt>
                <c:pt idx="425">
                  <c:v>9641.7754490820371</c:v>
                </c:pt>
                <c:pt idx="426">
                  <c:v>8857.9317538071627</c:v>
                </c:pt>
                <c:pt idx="427">
                  <c:v>7836.2033788672852</c:v>
                </c:pt>
                <c:pt idx="428">
                  <c:v>7243.4244258079416</c:v>
                </c:pt>
                <c:pt idx="429">
                  <c:v>7099.6618999501952</c:v>
                </c:pt>
                <c:pt idx="430">
                  <c:v>7136.5177672126883</c:v>
                </c:pt>
                <c:pt idx="431">
                  <c:v>7352.6054121305788</c:v>
                </c:pt>
                <c:pt idx="432">
                  <c:v>7673.2332700992556</c:v>
                </c:pt>
                <c:pt idx="433">
                  <c:v>7660.531501527541</c:v>
                </c:pt>
                <c:pt idx="434">
                  <c:v>7662.2505636966962</c:v>
                </c:pt>
                <c:pt idx="435">
                  <c:v>7764.0838290516549</c:v>
                </c:pt>
                <c:pt idx="436">
                  <c:v>7922.4792180322111</c:v>
                </c:pt>
                <c:pt idx="437">
                  <c:v>8007.3625357712881</c:v>
                </c:pt>
                <c:pt idx="438">
                  <c:v>8027.9847674026823</c:v>
                </c:pt>
                <c:pt idx="439">
                  <c:v>8140.6197064152366</c:v>
                </c:pt>
                <c:pt idx="440">
                  <c:v>8250.5898139573255</c:v>
                </c:pt>
                <c:pt idx="441">
                  <c:v>8054.58259754545</c:v>
                </c:pt>
                <c:pt idx="442">
                  <c:v>7449.3555658146652</c:v>
                </c:pt>
                <c:pt idx="443">
                  <c:v>6591.8350426617835</c:v>
                </c:pt>
                <c:pt idx="444">
                  <c:v>6112.9716022407374</c:v>
                </c:pt>
                <c:pt idx="445">
                  <c:v>6011.3888756262604</c:v>
                </c:pt>
                <c:pt idx="446">
                  <c:v>5276.0042348560673</c:v>
                </c:pt>
                <c:pt idx="447">
                  <c:v>4412.2534430385567</c:v>
                </c:pt>
                <c:pt idx="448">
                  <c:v>3889.4461453667755</c:v>
                </c:pt>
                <c:pt idx="449">
                  <c:v>3733.8734428348689</c:v>
                </c:pt>
                <c:pt idx="450">
                  <c:v>3601.1937095838221</c:v>
                </c:pt>
                <c:pt idx="451">
                  <c:v>3539.8506525488774</c:v>
                </c:pt>
                <c:pt idx="452">
                  <c:v>3493.137623270246</c:v>
                </c:pt>
                <c:pt idx="453">
                  <c:v>3462.5454814233817</c:v>
                </c:pt>
                <c:pt idx="454">
                  <c:v>3444.5035105303687</c:v>
                </c:pt>
                <c:pt idx="455">
                  <c:v>3439.0393961606169</c:v>
                </c:pt>
                <c:pt idx="456">
                  <c:v>3428.7517674126284</c:v>
                </c:pt>
                <c:pt idx="457">
                  <c:v>3410.0457221121906</c:v>
                </c:pt>
                <c:pt idx="458">
                  <c:v>3362.1784863894136</c:v>
                </c:pt>
                <c:pt idx="459">
                  <c:v>3311.5041943050746</c:v>
                </c:pt>
                <c:pt idx="460">
                  <c:v>3258.7869806972158</c:v>
                </c:pt>
                <c:pt idx="461">
                  <c:v>3207.656788770837</c:v>
                </c:pt>
                <c:pt idx="462">
                  <c:v>3148.3897893633693</c:v>
                </c:pt>
                <c:pt idx="463">
                  <c:v>3089.0590996703977</c:v>
                </c:pt>
                <c:pt idx="464">
                  <c:v>3005.3545030439273</c:v>
                </c:pt>
                <c:pt idx="465">
                  <c:v>2924.5354768244724</c:v>
                </c:pt>
                <c:pt idx="466">
                  <c:v>2842.7211239524477</c:v>
                </c:pt>
                <c:pt idx="467">
                  <c:v>2757.96893392333</c:v>
                </c:pt>
                <c:pt idx="468">
                  <c:v>2666.3573067162943</c:v>
                </c:pt>
                <c:pt idx="469">
                  <c:v>2580.9261439395341</c:v>
                </c:pt>
                <c:pt idx="470">
                  <c:v>2499.0556370002596</c:v>
                </c:pt>
                <c:pt idx="471">
                  <c:v>2469.4437499183987</c:v>
                </c:pt>
                <c:pt idx="472">
                  <c:v>2364.0584321686911</c:v>
                </c:pt>
                <c:pt idx="473">
                  <c:v>2330.6328683766915</c:v>
                </c:pt>
                <c:pt idx="474">
                  <c:v>2300.6584496597497</c:v>
                </c:pt>
                <c:pt idx="475">
                  <c:v>2277.4447848729033</c:v>
                </c:pt>
                <c:pt idx="476">
                  <c:v>2249.8181535282347</c:v>
                </c:pt>
                <c:pt idx="477">
                  <c:v>2218.3034127070569</c:v>
                </c:pt>
                <c:pt idx="478">
                  <c:v>2158.2819712833298</c:v>
                </c:pt>
                <c:pt idx="479">
                  <c:v>2171.2697037108446</c:v>
                </c:pt>
                <c:pt idx="480">
                  <c:v>2122.4921408413065</c:v>
                </c:pt>
                <c:pt idx="481">
                  <c:v>2078.8453555225569</c:v>
                </c:pt>
                <c:pt idx="482">
                  <c:v>2039.7308583352715</c:v>
                </c:pt>
                <c:pt idx="483">
                  <c:v>2008.7963941844937</c:v>
                </c:pt>
                <c:pt idx="484">
                  <c:v>1985.6431292971974</c:v>
                </c:pt>
                <c:pt idx="485">
                  <c:v>1975.8418371994048</c:v>
                </c:pt>
                <c:pt idx="486">
                  <c:v>1977.0985571245837</c:v>
                </c:pt>
                <c:pt idx="487">
                  <c:v>1974.6317878324917</c:v>
                </c:pt>
                <c:pt idx="488">
                  <c:v>1970.4782865406742</c:v>
                </c:pt>
                <c:pt idx="489">
                  <c:v>1966.2700720004359</c:v>
                </c:pt>
                <c:pt idx="490">
                  <c:v>1964.9349617823027</c:v>
                </c:pt>
                <c:pt idx="491">
                  <c:v>1965.2001842201134</c:v>
                </c:pt>
                <c:pt idx="492">
                  <c:v>1894.9527380203072</c:v>
                </c:pt>
                <c:pt idx="493">
                  <c:v>1883.9348886267835</c:v>
                </c:pt>
                <c:pt idx="494">
                  <c:v>1878.1919268533384</c:v>
                </c:pt>
                <c:pt idx="495">
                  <c:v>1869.6896744635887</c:v>
                </c:pt>
                <c:pt idx="496">
                  <c:v>1857.4332945069473</c:v>
                </c:pt>
                <c:pt idx="497">
                  <c:v>1840.8765563294946</c:v>
                </c:pt>
                <c:pt idx="498">
                  <c:v>1815.1459226670122</c:v>
                </c:pt>
                <c:pt idx="499">
                  <c:v>1846.573284013466</c:v>
                </c:pt>
                <c:pt idx="500">
                  <c:v>1815.2217033924535</c:v>
                </c:pt>
                <c:pt idx="501">
                  <c:v>1780.7056001524543</c:v>
                </c:pt>
                <c:pt idx="502">
                  <c:v>1750.6901409497586</c:v>
                </c:pt>
                <c:pt idx="503">
                  <c:v>1725.770627780621</c:v>
                </c:pt>
                <c:pt idx="504">
                  <c:v>1705.3922586244807</c:v>
                </c:pt>
                <c:pt idx="505">
                  <c:v>1697.5198243322884</c:v>
                </c:pt>
                <c:pt idx="506">
                  <c:v>1702.7514217494609</c:v>
                </c:pt>
                <c:pt idx="507">
                  <c:v>1706.9410034149332</c:v>
                </c:pt>
                <c:pt idx="508">
                  <c:v>1712.000969370165</c:v>
                </c:pt>
                <c:pt idx="509">
                  <c:v>1719.5704612205082</c:v>
                </c:pt>
                <c:pt idx="510">
                  <c:v>1729.5862006955504</c:v>
                </c:pt>
                <c:pt idx="511">
                  <c:v>1739.6963832705005</c:v>
                </c:pt>
                <c:pt idx="512">
                  <c:v>1744.819785018517</c:v>
                </c:pt>
                <c:pt idx="513">
                  <c:v>1746.8911689152665</c:v>
                </c:pt>
                <c:pt idx="514">
                  <c:v>1754.3721941564509</c:v>
                </c:pt>
                <c:pt idx="515">
                  <c:v>1760.0865932500819</c:v>
                </c:pt>
                <c:pt idx="516">
                  <c:v>1763.9012283277043</c:v>
                </c:pt>
                <c:pt idx="517">
                  <c:v>1766.9921927257164</c:v>
                </c:pt>
                <c:pt idx="518">
                  <c:v>1769.458835233534</c:v>
                </c:pt>
                <c:pt idx="519">
                  <c:v>1771.5018884398596</c:v>
                </c:pt>
                <c:pt idx="520">
                  <c:v>1771.4890291662232</c:v>
                </c:pt>
                <c:pt idx="521">
                  <c:v>1768.0836424105146</c:v>
                </c:pt>
                <c:pt idx="522">
                  <c:v>1767.3590585075872</c:v>
                </c:pt>
                <c:pt idx="523">
                  <c:v>1768.3979821158573</c:v>
                </c:pt>
                <c:pt idx="524">
                  <c:v>1769.0403755140869</c:v>
                </c:pt>
                <c:pt idx="525">
                  <c:v>1769.3329730553451</c:v>
                </c:pt>
                <c:pt idx="526">
                  <c:v>1769.3149927441409</c:v>
                </c:pt>
                <c:pt idx="527">
                  <c:v>1769.0025790733562</c:v>
                </c:pt>
                <c:pt idx="528">
                  <c:v>1768.6473719173009</c:v>
                </c:pt>
                <c:pt idx="529">
                  <c:v>1768.7279047039992</c:v>
                </c:pt>
                <c:pt idx="530">
                  <c:v>1768.9234541606711</c:v>
                </c:pt>
                <c:pt idx="531">
                  <c:v>1768.9985215955967</c:v>
                </c:pt>
                <c:pt idx="532">
                  <c:v>1768.9925424643516</c:v>
                </c:pt>
                <c:pt idx="533">
                  <c:v>1768.9439095228081</c:v>
                </c:pt>
                <c:pt idx="534">
                  <c:v>1768.8908976339735</c:v>
                </c:pt>
                <c:pt idx="535">
                  <c:v>1768.8749431426913</c:v>
                </c:pt>
                <c:pt idx="536">
                  <c:v>1768.9074533177263</c:v>
                </c:pt>
                <c:pt idx="537">
                  <c:v>1768.9331031196853</c:v>
                </c:pt>
                <c:pt idx="538">
                  <c:v>1768.9344815424265</c:v>
                </c:pt>
                <c:pt idx="539">
                  <c:v>1768.9253329634012</c:v>
                </c:pt>
                <c:pt idx="540">
                  <c:v>1768.9157316061392</c:v>
                </c:pt>
                <c:pt idx="541">
                  <c:v>1768.9117061894285</c:v>
                </c:pt>
                <c:pt idx="542">
                  <c:v>1768.9146788401631</c:v>
                </c:pt>
                <c:pt idx="543">
                  <c:v>1768.9203553684711</c:v>
                </c:pt>
                <c:pt idx="544">
                  <c:v>1768.9221985185141</c:v>
                </c:pt>
                <c:pt idx="545">
                  <c:v>1768.9206407184611</c:v>
                </c:pt>
                <c:pt idx="546">
                  <c:v>1768.9186634578364</c:v>
                </c:pt>
                <c:pt idx="547">
                  <c:v>1768.9177106712668</c:v>
                </c:pt>
                <c:pt idx="548">
                  <c:v>1768.9179933949272</c:v>
                </c:pt>
                <c:pt idx="549">
                  <c:v>1768.9188915672057</c:v>
                </c:pt>
                <c:pt idx="550">
                  <c:v>1768.9194933852559</c:v>
                </c:pt>
                <c:pt idx="551">
                  <c:v>1768.9193702447883</c:v>
                </c:pt>
                <c:pt idx="552">
                  <c:v>1768.9189662055942</c:v>
                </c:pt>
                <c:pt idx="553">
                  <c:v>1768.9187269895338</c:v>
                </c:pt>
                <c:pt idx="554">
                  <c:v>1768.9187360655415</c:v>
                </c:pt>
                <c:pt idx="555">
                  <c:v>1768.9188825504025</c:v>
                </c:pt>
                <c:pt idx="556">
                  <c:v>1768.9190095725571</c:v>
                </c:pt>
                <c:pt idx="557">
                  <c:v>1768.9190264306308</c:v>
                </c:pt>
                <c:pt idx="558">
                  <c:v>1768.9189597227887</c:v>
                </c:pt>
                <c:pt idx="559">
                  <c:v>1768.9189010767368</c:v>
                </c:pt>
                <c:pt idx="560">
                  <c:v>1768.9188917725623</c:v>
                </c:pt>
                <c:pt idx="561">
                  <c:v>1768.9189153130719</c:v>
                </c:pt>
                <c:pt idx="562">
                  <c:v>1768.9189409199171</c:v>
                </c:pt>
                <c:pt idx="563">
                  <c:v>1768.9189492583828</c:v>
                </c:pt>
                <c:pt idx="564">
                  <c:v>1768.9189406419173</c:v>
                </c:pt>
                <c:pt idx="565">
                  <c:v>1768.9189283865126</c:v>
                </c:pt>
                <c:pt idx="566">
                  <c:v>1768.9189239099724</c:v>
                </c:pt>
                <c:pt idx="567">
                  <c:v>1768.9189271718642</c:v>
                </c:pt>
                <c:pt idx="568">
                  <c:v>1768.9189322288148</c:v>
                </c:pt>
                <c:pt idx="569">
                  <c:v>1768.9189346452622</c:v>
                </c:pt>
                <c:pt idx="570">
                  <c:v>1768.9189337488642</c:v>
                </c:pt>
                <c:pt idx="571">
                  <c:v>1768.9189315333861</c:v>
                </c:pt>
                <c:pt idx="572">
                  <c:v>1768.9189302320592</c:v>
                </c:pt>
                <c:pt idx="573">
                  <c:v>1768.918930495689</c:v>
                </c:pt>
                <c:pt idx="574">
                  <c:v>1768.9189314365285</c:v>
                </c:pt>
                <c:pt idx="575">
                  <c:v>1768.9189320458099</c:v>
                </c:pt>
                <c:pt idx="576">
                  <c:v>1768.9189320197984</c:v>
                </c:pt>
                <c:pt idx="577">
                  <c:v>1768.9189316447446</c:v>
                </c:pt>
                <c:pt idx="578">
                  <c:v>1768.9189313439929</c:v>
                </c:pt>
                <c:pt idx="579">
                  <c:v>1768.91893131705</c:v>
                </c:pt>
                <c:pt idx="580">
                  <c:v>1768.9189314719843</c:v>
                </c:pt>
                <c:pt idx="581">
                  <c:v>1768.9189316114789</c:v>
                </c:pt>
                <c:pt idx="582">
                  <c:v>1768.9189316364282</c:v>
                </c:pt>
                <c:pt idx="583">
                  <c:v>1768.9189315778858</c:v>
                </c:pt>
                <c:pt idx="584">
                  <c:v>1768.9189315146868</c:v>
                </c:pt>
                <c:pt idx="585">
                  <c:v>1768.9189314962641</c:v>
                </c:pt>
                <c:pt idx="586">
                  <c:v>1768.918931517881</c:v>
                </c:pt>
                <c:pt idx="587">
                  <c:v>1768.918931546621</c:v>
                </c:pt>
                <c:pt idx="588">
                  <c:v>1768.9189315573312</c:v>
                </c:pt>
                <c:pt idx="589">
                  <c:v>1768.9189315496114</c:v>
                </c:pt>
                <c:pt idx="590">
                  <c:v>1768.9189315371113</c:v>
                </c:pt>
                <c:pt idx="591">
                  <c:v>1768.9189315315234</c:v>
                </c:pt>
                <c:pt idx="592">
                  <c:v>1768.9189315337135</c:v>
                </c:pt>
                <c:pt idx="593">
                  <c:v>1768.9189315391704</c:v>
                </c:pt>
                <c:pt idx="594">
                  <c:v>1768.9189315422336</c:v>
                </c:pt>
                <c:pt idx="595">
                  <c:v>1768.9189315415642</c:v>
                </c:pt>
                <c:pt idx="596">
                  <c:v>1768.9189315393014</c:v>
                </c:pt>
                <c:pt idx="597">
                  <c:v>1768.9189315379044</c:v>
                </c:pt>
                <c:pt idx="598">
                  <c:v>1768.9189315379044</c:v>
                </c:pt>
                <c:pt idx="599">
                  <c:v>1768.918931538974</c:v>
                </c:pt>
                <c:pt idx="600">
                  <c:v>1768.9189315396361</c:v>
                </c:pt>
                <c:pt idx="601">
                  <c:v>1768.9189315397016</c:v>
                </c:pt>
                <c:pt idx="602">
                  <c:v>1768.9189315393014</c:v>
                </c:pt>
                <c:pt idx="603">
                  <c:v>1768.918931538974</c:v>
                </c:pt>
                <c:pt idx="604">
                  <c:v>1768.918931538974</c:v>
                </c:pt>
                <c:pt idx="605">
                  <c:v>1768.918931539105</c:v>
                </c:pt>
                <c:pt idx="606">
                  <c:v>1768.918931539105</c:v>
                </c:pt>
                <c:pt idx="607">
                  <c:v>1768.9189315392359</c:v>
                </c:pt>
                <c:pt idx="608">
                  <c:v>1768.9189315391704</c:v>
                </c:pt>
                <c:pt idx="609">
                  <c:v>1768.918931539105</c:v>
                </c:pt>
                <c:pt idx="610">
                  <c:v>1768.9189315391704</c:v>
                </c:pt>
                <c:pt idx="611">
                  <c:v>1768.9189315391704</c:v>
                </c:pt>
                <c:pt idx="612">
                  <c:v>10144.277862844458</c:v>
                </c:pt>
                <c:pt idx="613">
                  <c:v>18242.091624610133</c:v>
                </c:pt>
                <c:pt idx="614">
                  <c:v>26547.097082376808</c:v>
                </c:pt>
                <c:pt idx="615">
                  <c:v>30993.264666692216</c:v>
                </c:pt>
                <c:pt idx="616">
                  <c:v>36435.987054388701</c:v>
                </c:pt>
                <c:pt idx="617">
                  <c:v>42147.227587525209</c:v>
                </c:pt>
                <c:pt idx="618">
                  <c:v>48231.011972392982</c:v>
                </c:pt>
                <c:pt idx="619">
                  <c:v>44603.294573111656</c:v>
                </c:pt>
                <c:pt idx="620">
                  <c:v>41512.326892517034</c:v>
                </c:pt>
                <c:pt idx="621">
                  <c:v>37852.943265838745</c:v>
                </c:pt>
                <c:pt idx="622">
                  <c:v>35315.203205064943</c:v>
                </c:pt>
                <c:pt idx="623">
                  <c:v>32325.682081018575</c:v>
                </c:pt>
                <c:pt idx="624">
                  <c:v>29148.026311848051</c:v>
                </c:pt>
                <c:pt idx="625">
                  <c:v>25813.328980563077</c:v>
                </c:pt>
                <c:pt idx="626">
                  <c:v>23419.878019286851</c:v>
                </c:pt>
                <c:pt idx="627">
                  <c:v>21402.266489968562</c:v>
                </c:pt>
                <c:pt idx="628">
                  <c:v>18376.92384171726</c:v>
                </c:pt>
                <c:pt idx="629">
                  <c:v>17075.599510400818</c:v>
                </c:pt>
                <c:pt idx="630">
                  <c:v>14769.839640378152</c:v>
                </c:pt>
                <c:pt idx="631">
                  <c:v>14048.250856794017</c:v>
                </c:pt>
                <c:pt idx="632">
                  <c:v>13049.403475864056</c:v>
                </c:pt>
                <c:pt idx="633">
                  <c:v>12436.138981475699</c:v>
                </c:pt>
                <c:pt idx="634">
                  <c:v>11820.868481731843</c:v>
                </c:pt>
                <c:pt idx="635">
                  <c:v>11964.297864648383</c:v>
                </c:pt>
                <c:pt idx="636">
                  <c:v>12066.317565583959</c:v>
                </c:pt>
                <c:pt idx="637">
                  <c:v>13405.899284751351</c:v>
                </c:pt>
                <c:pt idx="638">
                  <c:v>13241.120273408749</c:v>
                </c:pt>
                <c:pt idx="639">
                  <c:v>12935.061170601686</c:v>
                </c:pt>
                <c:pt idx="640">
                  <c:v>12673.70733000258</c:v>
                </c:pt>
                <c:pt idx="641">
                  <c:v>11947.676677417279</c:v>
                </c:pt>
                <c:pt idx="642">
                  <c:v>11351.176656356882</c:v>
                </c:pt>
                <c:pt idx="643">
                  <c:v>10950.692015745808</c:v>
                </c:pt>
                <c:pt idx="644">
                  <c:v>10663.976536009526</c:v>
                </c:pt>
                <c:pt idx="645">
                  <c:v>10371.099754110182</c:v>
                </c:pt>
                <c:pt idx="646">
                  <c:v>10211.192470059395</c:v>
                </c:pt>
                <c:pt idx="647">
                  <c:v>9957.1462203980045</c:v>
                </c:pt>
                <c:pt idx="648">
                  <c:v>9686.0489252150437</c:v>
                </c:pt>
                <c:pt idx="649">
                  <c:v>9350.7594586569539</c:v>
                </c:pt>
                <c:pt idx="650">
                  <c:v>9357.0640469170175</c:v>
                </c:pt>
                <c:pt idx="651">
                  <c:v>9230.8289956189037</c:v>
                </c:pt>
                <c:pt idx="652">
                  <c:v>8940.6746495588959</c:v>
                </c:pt>
                <c:pt idx="653">
                  <c:v>8709.9840336791895</c:v>
                </c:pt>
                <c:pt idx="654">
                  <c:v>8511.8193617776415</c:v>
                </c:pt>
                <c:pt idx="655">
                  <c:v>8318.2398449742614</c:v>
                </c:pt>
                <c:pt idx="656">
                  <c:v>8301.1887994526332</c:v>
                </c:pt>
                <c:pt idx="657">
                  <c:v>8339.8760455939919</c:v>
                </c:pt>
                <c:pt idx="658">
                  <c:v>8163.204288215311</c:v>
                </c:pt>
                <c:pt idx="659">
                  <c:v>8070.9280418633862</c:v>
                </c:pt>
                <c:pt idx="660">
                  <c:v>8028.085498914319</c:v>
                </c:pt>
                <c:pt idx="661">
                  <c:v>7918.328348750314</c:v>
                </c:pt>
                <c:pt idx="662">
                  <c:v>7780.3438375129263</c:v>
                </c:pt>
                <c:pt idx="663">
                  <c:v>7491.4790663244858</c:v>
                </c:pt>
                <c:pt idx="664">
                  <c:v>7167.2226292214254</c:v>
                </c:pt>
                <c:pt idx="665">
                  <c:v>6732.4926114705013</c:v>
                </c:pt>
                <c:pt idx="666">
                  <c:v>6682.9156219709766</c:v>
                </c:pt>
                <c:pt idx="667">
                  <c:v>6541.2056722162015</c:v>
                </c:pt>
                <c:pt idx="668">
                  <c:v>6437.7531103124566</c:v>
                </c:pt>
                <c:pt idx="669">
                  <c:v>6379.0058106163415</c:v>
                </c:pt>
                <c:pt idx="670">
                  <c:v>6479.1627922933549</c:v>
                </c:pt>
                <c:pt idx="671">
                  <c:v>6742.8092104416064</c:v>
                </c:pt>
                <c:pt idx="672">
                  <c:v>7091.5675701008076</c:v>
                </c:pt>
                <c:pt idx="673">
                  <c:v>7090.1347091325006</c:v>
                </c:pt>
                <c:pt idx="674">
                  <c:v>7094.576578133936</c:v>
                </c:pt>
                <c:pt idx="675">
                  <c:v>7194.5902737140932</c:v>
                </c:pt>
                <c:pt idx="676">
                  <c:v>7353.2079828935675</c:v>
                </c:pt>
                <c:pt idx="677">
                  <c:v>7447.9200928913051</c:v>
                </c:pt>
                <c:pt idx="678">
                  <c:v>7487.1804834199138</c:v>
                </c:pt>
                <c:pt idx="679">
                  <c:v>7631.6128690141632</c:v>
                </c:pt>
                <c:pt idx="680">
                  <c:v>7784.2125621271698</c:v>
                </c:pt>
                <c:pt idx="681">
                  <c:v>7634.6218770473643</c:v>
                </c:pt>
                <c:pt idx="682">
                  <c:v>7088.6862934960882</c:v>
                </c:pt>
                <c:pt idx="683">
                  <c:v>6296.5077271303817</c:v>
                </c:pt>
                <c:pt idx="684">
                  <c:v>5913.3115621019533</c:v>
                </c:pt>
                <c:pt idx="685">
                  <c:v>5902.5361464541129</c:v>
                </c:pt>
                <c:pt idx="686">
                  <c:v>5253.7446566670478</c:v>
                </c:pt>
                <c:pt idx="687">
                  <c:v>4476.1682520375689</c:v>
                </c:pt>
                <c:pt idx="688">
                  <c:v>4043.8038321164713</c:v>
                </c:pt>
                <c:pt idx="689">
                  <c:v>3968.6851391371238</c:v>
                </c:pt>
                <c:pt idx="690">
                  <c:v>3912.7528409638544</c:v>
                </c:pt>
                <c:pt idx="691">
                  <c:v>3870.7303345723631</c:v>
                </c:pt>
                <c:pt idx="692">
                  <c:v>3845.874475037017</c:v>
                </c:pt>
                <c:pt idx="693">
                  <c:v>3835.917369131399</c:v>
                </c:pt>
                <c:pt idx="694">
                  <c:v>3833.5115213825266</c:v>
                </c:pt>
                <c:pt idx="695">
                  <c:v>3835.1192769511981</c:v>
                </c:pt>
                <c:pt idx="696">
                  <c:v>3834.9228368132099</c:v>
                </c:pt>
                <c:pt idx="697">
                  <c:v>3826.2382039376535</c:v>
                </c:pt>
                <c:pt idx="698">
                  <c:v>3809.7696935411441</c:v>
                </c:pt>
                <c:pt idx="699">
                  <c:v>3781.6737543178169</c:v>
                </c:pt>
                <c:pt idx="700">
                  <c:v>3744.0066340275662</c:v>
                </c:pt>
                <c:pt idx="701">
                  <c:v>3702.9934023546884</c:v>
                </c:pt>
                <c:pt idx="702">
                  <c:v>3650.6040093813644</c:v>
                </c:pt>
                <c:pt idx="703">
                  <c:v>3592.8684411523209</c:v>
                </c:pt>
                <c:pt idx="704">
                  <c:v>3508.3376928049693</c:v>
                </c:pt>
                <c:pt idx="705">
                  <c:v>3428.101165529275</c:v>
                </c:pt>
                <c:pt idx="706">
                  <c:v>3351.5882322995822</c:v>
                </c:pt>
                <c:pt idx="707">
                  <c:v>3275.4453150117115</c:v>
                </c:pt>
                <c:pt idx="708">
                  <c:v>3195.5307976640761</c:v>
                </c:pt>
                <c:pt idx="709">
                  <c:v>3124.4423548592531</c:v>
                </c:pt>
                <c:pt idx="710">
                  <c:v>3056.6290080878607</c:v>
                </c:pt>
                <c:pt idx="711">
                  <c:v>3039.5575424515919</c:v>
                </c:pt>
                <c:pt idx="712">
                  <c:v>3020.2447428805754</c:v>
                </c:pt>
                <c:pt idx="713">
                  <c:v>3002.01180979942</c:v>
                </c:pt>
                <c:pt idx="714">
                  <c:v>2988.1958713271379</c:v>
                </c:pt>
                <c:pt idx="715">
                  <c:v>2981.9472303404473</c:v>
                </c:pt>
                <c:pt idx="716">
                  <c:v>2973.0307463973659</c:v>
                </c:pt>
                <c:pt idx="717">
                  <c:v>2964.1759160669244</c:v>
                </c:pt>
                <c:pt idx="718">
                  <c:v>2936.43228337654</c:v>
                </c:pt>
                <c:pt idx="719">
                  <c:v>2916.4822528570512</c:v>
                </c:pt>
                <c:pt idx="720">
                  <c:v>2903.184125094871</c:v>
                </c:pt>
                <c:pt idx="721">
                  <c:v>2894.2448695582061</c:v>
                </c:pt>
                <c:pt idx="722">
                  <c:v>2888.1678780651928</c:v>
                </c:pt>
                <c:pt idx="723">
                  <c:v>2886.7584430154311</c:v>
                </c:pt>
                <c:pt idx="724">
                  <c:v>2887.488423282346</c:v>
                </c:pt>
                <c:pt idx="725">
                  <c:v>2886.9737324286907</c:v>
                </c:pt>
                <c:pt idx="726">
                  <c:v>2882.2894454786001</c:v>
                </c:pt>
                <c:pt idx="727">
                  <c:v>2874.6823691345198</c:v>
                </c:pt>
                <c:pt idx="728">
                  <c:v>2864.3469075478715</c:v>
                </c:pt>
                <c:pt idx="729">
                  <c:v>2851.6738085431425</c:v>
                </c:pt>
                <c:pt idx="730">
                  <c:v>2839.2530276256512</c:v>
                </c:pt>
                <c:pt idx="731">
                  <c:v>2828.1724234686335</c:v>
                </c:pt>
                <c:pt idx="732">
                  <c:v>2752.1195167256519</c:v>
                </c:pt>
                <c:pt idx="733">
                  <c:v>2738.6954441984562</c:v>
                </c:pt>
                <c:pt idx="734">
                  <c:v>2724.4179556671806</c:v>
                </c:pt>
                <c:pt idx="735">
                  <c:v>2709.427812468457</c:v>
                </c:pt>
                <c:pt idx="736">
                  <c:v>2692.8956936736868</c:v>
                </c:pt>
                <c:pt idx="737">
                  <c:v>2672.8735995625248</c:v>
                </c:pt>
                <c:pt idx="738">
                  <c:v>2644.3532166412515</c:v>
                </c:pt>
                <c:pt idx="739">
                  <c:v>2673.4567291994717</c:v>
                </c:pt>
                <c:pt idx="740">
                  <c:v>2642.1074178675171</c:v>
                </c:pt>
                <c:pt idx="741">
                  <c:v>2611.440155172455</c:v>
                </c:pt>
                <c:pt idx="742">
                  <c:v>2582.2485108154688</c:v>
                </c:pt>
                <c:pt idx="743">
                  <c:v>2556.1604593408156</c:v>
                </c:pt>
                <c:pt idx="744">
                  <c:v>2535.0574376694194</c:v>
                </c:pt>
                <c:pt idx="745">
                  <c:v>2526.8518799218082</c:v>
                </c:pt>
                <c:pt idx="746">
                  <c:v>2532.1013004269589</c:v>
                </c:pt>
              </c:numCache>
            </c:numRef>
          </c:val>
          <c:extLst>
            <c:ext xmlns:c16="http://schemas.microsoft.com/office/drawing/2014/chart" uri="{C3380CC4-5D6E-409C-BE32-E72D297353CC}">
              <c16:uniqueId val="{00000004-6485-4F05-90EA-3C0640AD2471}"/>
            </c:ext>
          </c:extLst>
        </c:ser>
        <c:ser>
          <c:idx val="5"/>
          <c:order val="5"/>
          <c:spPr>
            <a:solidFill>
              <a:schemeClr val="accent4"/>
            </a:solidFill>
            <a:ln w="9525" algn="ctr">
              <a:solidFill>
                <a:schemeClr val="bg1"/>
              </a:solidFill>
              <a:prstDash val="solid"/>
            </a:ln>
          </c:spPr>
          <c:val>
            <c:numRef>
              <c:f>Sheet1!$A$6:$ABS$6</c:f>
              <c:numCache>
                <c:formatCode>General</c:formatCode>
                <c:ptCount val="74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99935.024908665713</c:v>
                </c:pt>
                <c:pt idx="306">
                  <c:v>96623.347921597888</c:v>
                </c:pt>
                <c:pt idx="307">
                  <c:v>99095.565228412539</c:v>
                </c:pt>
                <c:pt idx="308">
                  <c:v>53051.800159376871</c:v>
                </c:pt>
                <c:pt idx="309">
                  <c:v>64942.720884754439</c:v>
                </c:pt>
                <c:pt idx="310">
                  <c:v>68146.6871592846</c:v>
                </c:pt>
                <c:pt idx="311">
                  <c:v>72591.891168771603</c:v>
                </c:pt>
                <c:pt idx="312">
                  <c:v>73014.429791651346</c:v>
                </c:pt>
                <c:pt idx="313">
                  <c:v>67745.641830516659</c:v>
                </c:pt>
                <c:pt idx="314">
                  <c:v>61507.945940500853</c:v>
                </c:pt>
                <c:pt idx="315">
                  <c:v>57182.176258521591</c:v>
                </c:pt>
                <c:pt idx="316">
                  <c:v>52086.311618195439</c:v>
                </c:pt>
                <c:pt idx="317">
                  <c:v>46669.757260042068</c:v>
                </c:pt>
                <c:pt idx="318">
                  <c:v>40985.513693405257</c:v>
                </c:pt>
                <c:pt idx="319">
                  <c:v>36905.695683819009</c:v>
                </c:pt>
                <c:pt idx="320">
                  <c:v>33466.524383951648</c:v>
                </c:pt>
                <c:pt idx="321">
                  <c:v>28309.599248989689</c:v>
                </c:pt>
                <c:pt idx="322">
                  <c:v>26091.393599860021</c:v>
                </c:pt>
                <c:pt idx="323">
                  <c:v>22161.051681142242</c:v>
                </c:pt>
                <c:pt idx="324">
                  <c:v>20931.049077198462</c:v>
                </c:pt>
                <c:pt idx="325">
                  <c:v>31842.965905485646</c:v>
                </c:pt>
                <c:pt idx="326">
                  <c:v>42994.113876976073</c:v>
                </c:pt>
                <c:pt idx="327">
                  <c:v>54453.903758881439</c:v>
                </c:pt>
                <c:pt idx="328">
                  <c:v>61394.975097310147</c:v>
                </c:pt>
                <c:pt idx="329">
                  <c:v>69766.41923726385</c:v>
                </c:pt>
                <c:pt idx="330">
                  <c:v>80651.809335291444</c:v>
                </c:pt>
                <c:pt idx="331">
                  <c:v>89534.008969125949</c:v>
                </c:pt>
                <c:pt idx="332">
                  <c:v>83548.429855610884</c:v>
                </c:pt>
                <c:pt idx="333">
                  <c:v>78447.478598140675</c:v>
                </c:pt>
                <c:pt idx="334">
                  <c:v>71698.332229690073</c:v>
                </c:pt>
                <c:pt idx="335">
                  <c:v>66859.341496177687</c:v>
                </c:pt>
                <c:pt idx="336">
                  <c:v>61674.024776203762</c:v>
                </c:pt>
                <c:pt idx="337">
                  <c:v>56399.277622584399</c:v>
                </c:pt>
                <c:pt idx="338">
                  <c:v>50877.500274998602</c:v>
                </c:pt>
                <c:pt idx="339">
                  <c:v>47000.035546650557</c:v>
                </c:pt>
                <c:pt idx="340">
                  <c:v>43528.173537538096</c:v>
                </c:pt>
                <c:pt idx="341">
                  <c:v>38509.454817599151</c:v>
                </c:pt>
                <c:pt idx="342">
                  <c:v>35977.941928419255</c:v>
                </c:pt>
                <c:pt idx="343">
                  <c:v>32515.873631312803</c:v>
                </c:pt>
                <c:pt idx="344">
                  <c:v>31213.877155474358</c:v>
                </c:pt>
                <c:pt idx="345">
                  <c:v>29214.875455178641</c:v>
                </c:pt>
                <c:pt idx="346">
                  <c:v>27897.978956909268</c:v>
                </c:pt>
                <c:pt idx="347">
                  <c:v>26633.50404740026</c:v>
                </c:pt>
                <c:pt idx="348">
                  <c:v>26519.558970773185</c:v>
                </c:pt>
                <c:pt idx="349">
                  <c:v>26644.150914093887</c:v>
                </c:pt>
                <c:pt idx="350">
                  <c:v>28727.704184726987</c:v>
                </c:pt>
                <c:pt idx="351">
                  <c:v>28178.372294870787</c:v>
                </c:pt>
                <c:pt idx="352">
                  <c:v>27560.110244386946</c:v>
                </c:pt>
                <c:pt idx="353">
                  <c:v>27093.44440472452</c:v>
                </c:pt>
                <c:pt idx="354">
                  <c:v>25812.845645601396</c:v>
                </c:pt>
                <c:pt idx="355">
                  <c:v>24679.223480533517</c:v>
                </c:pt>
                <c:pt idx="356">
                  <c:v>23583.642628118047</c:v>
                </c:pt>
                <c:pt idx="357">
                  <c:v>22599.087167931197</c:v>
                </c:pt>
                <c:pt idx="358">
                  <c:v>21416.941311154049</c:v>
                </c:pt>
                <c:pt idx="359">
                  <c:v>21091.589597161976</c:v>
                </c:pt>
                <c:pt idx="360">
                  <c:v>20467.40310364886</c:v>
                </c:pt>
                <c:pt idx="361">
                  <c:v>19882.747825270169</c:v>
                </c:pt>
                <c:pt idx="362">
                  <c:v>19277.613152388367</c:v>
                </c:pt>
                <c:pt idx="363">
                  <c:v>19457.833936549898</c:v>
                </c:pt>
                <c:pt idx="364">
                  <c:v>19717.110543847491</c:v>
                </c:pt>
                <c:pt idx="365">
                  <c:v>19874.580216245609</c:v>
                </c:pt>
                <c:pt idx="366">
                  <c:v>19524.683654022811</c:v>
                </c:pt>
                <c:pt idx="367">
                  <c:v>19233.789888903848</c:v>
                </c:pt>
                <c:pt idx="368">
                  <c:v>19112.711444316548</c:v>
                </c:pt>
                <c:pt idx="369">
                  <c:v>19357.405921427242</c:v>
                </c:pt>
                <c:pt idx="370">
                  <c:v>19577.118576361157</c:v>
                </c:pt>
                <c:pt idx="371">
                  <c:v>19377.947115981893</c:v>
                </c:pt>
                <c:pt idx="372">
                  <c:v>19485.161373378418</c:v>
                </c:pt>
                <c:pt idx="373">
                  <c:v>19680.751882645825</c:v>
                </c:pt>
                <c:pt idx="374">
                  <c:v>19260.452776855906</c:v>
                </c:pt>
                <c:pt idx="375">
                  <c:v>18122.039269115659</c:v>
                </c:pt>
                <c:pt idx="376">
                  <c:v>16336.638033608091</c:v>
                </c:pt>
                <c:pt idx="377">
                  <c:v>15195.07312685583</c:v>
                </c:pt>
                <c:pt idx="378">
                  <c:v>14521.937996735505</c:v>
                </c:pt>
                <c:pt idx="379">
                  <c:v>13341.353611419094</c:v>
                </c:pt>
                <c:pt idx="380">
                  <c:v>11802.479760981631</c:v>
                </c:pt>
                <c:pt idx="381">
                  <c:v>10909.66709929303</c:v>
                </c:pt>
                <c:pt idx="382">
                  <c:v>10693.139500430494</c:v>
                </c:pt>
                <c:pt idx="383">
                  <c:v>10748.64988044597</c:v>
                </c:pt>
                <c:pt idx="384">
                  <c:v>11074.109791634604</c:v>
                </c:pt>
                <c:pt idx="385">
                  <c:v>11557.022705136449</c:v>
                </c:pt>
                <c:pt idx="386">
                  <c:v>11537.891965510615</c:v>
                </c:pt>
                <c:pt idx="387">
                  <c:v>11540.481127057166</c:v>
                </c:pt>
                <c:pt idx="388">
                  <c:v>11693.85706630192</c:v>
                </c:pt>
                <c:pt idx="389">
                  <c:v>11932.423918422835</c:v>
                </c:pt>
                <c:pt idx="390">
                  <c:v>12060.270732909848</c:v>
                </c:pt>
                <c:pt idx="391">
                  <c:v>12091.330859821814</c:v>
                </c:pt>
                <c:pt idx="392">
                  <c:v>12260.975715091976</c:v>
                </c:pt>
                <c:pt idx="393">
                  <c:v>12426.606940549798</c:v>
                </c:pt>
                <c:pt idx="394">
                  <c:v>12131.391120737535</c:v>
                </c:pt>
                <c:pt idx="395">
                  <c:v>11219.829813885153</c:v>
                </c:pt>
                <c:pt idx="396">
                  <c:v>9928.2772431042395</c:v>
                </c:pt>
                <c:pt idx="397">
                  <c:v>9207.0381697175617</c:v>
                </c:pt>
                <c:pt idx="398">
                  <c:v>9054.0395788225869</c:v>
                </c:pt>
                <c:pt idx="399">
                  <c:v>7946.4416873955342</c:v>
                </c:pt>
                <c:pt idx="400">
                  <c:v>6645.5054117433319</c:v>
                </c:pt>
                <c:pt idx="401">
                  <c:v>5858.080398463906</c:v>
                </c:pt>
                <c:pt idx="402">
                  <c:v>5623.7649290690024</c:v>
                </c:pt>
                <c:pt idx="403">
                  <c:v>5423.9296528928389</c:v>
                </c:pt>
                <c:pt idx="404">
                  <c:v>5331.5379481186683</c:v>
                </c:pt>
                <c:pt idx="405">
                  <c:v>5261.1812261221348</c:v>
                </c:pt>
                <c:pt idx="406">
                  <c:v>5215.1049417869363</c:v>
                </c:pt>
                <c:pt idx="407">
                  <c:v>5187.9310686728568</c:v>
                </c:pt>
                <c:pt idx="408">
                  <c:v>5179.7013053369301</c:v>
                </c:pt>
                <c:pt idx="409">
                  <c:v>5164.2066168740566</c:v>
                </c:pt>
                <c:pt idx="410">
                  <c:v>5136.0325496131554</c:v>
                </c:pt>
                <c:pt idx="411">
                  <c:v>5063.937422225863</c:v>
                </c:pt>
                <c:pt idx="412">
                  <c:v>4987.6144533324405</c:v>
                </c:pt>
                <c:pt idx="413">
                  <c:v>4908.2145428681397</c:v>
                </c:pt>
                <c:pt idx="414">
                  <c:v>4831.2049214724975</c:v>
                </c:pt>
                <c:pt idx="415">
                  <c:v>4741.9400661360996</c:v>
                </c:pt>
                <c:pt idx="416">
                  <c:v>4652.5792838222696</c:v>
                </c:pt>
                <c:pt idx="417">
                  <c:v>4526.5077974378655</c:v>
                </c:pt>
                <c:pt idx="418">
                  <c:v>4404.7824063089502</c:v>
                </c:pt>
                <c:pt idx="419">
                  <c:v>4281.557906223461</c:v>
                </c:pt>
                <c:pt idx="420">
                  <c:v>4153.9085894362652</c:v>
                </c:pt>
                <c:pt idx="421">
                  <c:v>4015.9279470632609</c:v>
                </c:pt>
                <c:pt idx="422">
                  <c:v>3887.25599702826</c:v>
                </c:pt>
                <c:pt idx="423">
                  <c:v>3763.946920622926</c:v>
                </c:pt>
                <c:pt idx="424">
                  <c:v>3719.3470447555592</c:v>
                </c:pt>
                <c:pt idx="425">
                  <c:v>3666.8103526954947</c:v>
                </c:pt>
                <c:pt idx="426">
                  <c:v>3616.466516391054</c:v>
                </c:pt>
                <c:pt idx="427">
                  <c:v>3571.3206143324642</c:v>
                </c:pt>
                <c:pt idx="428">
                  <c:v>3536.3574063120031</c:v>
                </c:pt>
                <c:pt idx="429">
                  <c:v>3494.7476188237779</c:v>
                </c:pt>
                <c:pt idx="430">
                  <c:v>3447.2817641577858</c:v>
                </c:pt>
                <c:pt idx="431">
                  <c:v>3356.8806077076879</c:v>
                </c:pt>
                <c:pt idx="432">
                  <c:v>3270.2528883808118</c:v>
                </c:pt>
                <c:pt idx="433">
                  <c:v>3196.7866738475132</c:v>
                </c:pt>
                <c:pt idx="434">
                  <c:v>3131.0481681643432</c:v>
                </c:pt>
                <c:pt idx="435">
                  <c:v>3072.1359578636475</c:v>
                </c:pt>
                <c:pt idx="436">
                  <c:v>3025.5440855751367</c:v>
                </c:pt>
                <c:pt idx="437">
                  <c:v>2990.6718487249891</c:v>
                </c:pt>
                <c:pt idx="438">
                  <c:v>2975.9096550932154</c:v>
                </c:pt>
                <c:pt idx="439">
                  <c:v>2977.8024609286513</c:v>
                </c:pt>
                <c:pt idx="440">
                  <c:v>2974.0871420124749</c:v>
                </c:pt>
                <c:pt idx="441">
                  <c:v>2884.6147394902073</c:v>
                </c:pt>
                <c:pt idx="442">
                  <c:v>2878.2765468045691</c:v>
                </c:pt>
                <c:pt idx="443">
                  <c:v>2876.2656736088538</c:v>
                </c:pt>
                <c:pt idx="444">
                  <c:v>2876.665137775839</c:v>
                </c:pt>
                <c:pt idx="445">
                  <c:v>2864.6899015238887</c:v>
                </c:pt>
                <c:pt idx="446">
                  <c:v>2848.0953929092939</c:v>
                </c:pt>
                <c:pt idx="447">
                  <c:v>2839.4456441951916</c:v>
                </c:pt>
                <c:pt idx="448">
                  <c:v>2909.8566123128694</c:v>
                </c:pt>
                <c:pt idx="449">
                  <c:v>2891.3966937287914</c:v>
                </c:pt>
                <c:pt idx="450">
                  <c:v>2866.4598004658328</c:v>
                </c:pt>
                <c:pt idx="451">
                  <c:v>2827.7056655414781</c:v>
                </c:pt>
                <c:pt idx="452">
                  <c:v>2781.2121199550311</c:v>
                </c:pt>
                <c:pt idx="453">
                  <c:v>2733.9920086504717</c:v>
                </c:pt>
                <c:pt idx="454">
                  <c:v>2682.005658855589</c:v>
                </c:pt>
                <c:pt idx="455">
                  <c:v>2636.7979437633621</c:v>
                </c:pt>
                <c:pt idx="456">
                  <c:v>2599.2654761113954</c:v>
                </c:pt>
                <c:pt idx="457">
                  <c:v>2568.5726421075669</c:v>
                </c:pt>
                <c:pt idx="458">
                  <c:v>2556.7155932396272</c:v>
                </c:pt>
                <c:pt idx="459">
                  <c:v>2564.5951517002832</c:v>
                </c:pt>
                <c:pt idx="460">
                  <c:v>2570.9052805244719</c:v>
                </c:pt>
                <c:pt idx="461">
                  <c:v>2504.9968794529123</c:v>
                </c:pt>
                <c:pt idx="462">
                  <c:v>2516.3976522565063</c:v>
                </c:pt>
                <c:pt idx="463">
                  <c:v>2531.4828353139746</c:v>
                </c:pt>
                <c:pt idx="464">
                  <c:v>2546.7102636299096</c:v>
                </c:pt>
                <c:pt idx="465">
                  <c:v>2554.4268634313921</c:v>
                </c:pt>
                <c:pt idx="466">
                  <c:v>2557.5466735405644</c:v>
                </c:pt>
                <c:pt idx="467">
                  <c:v>2568.8142025633715</c:v>
                </c:pt>
                <c:pt idx="468">
                  <c:v>2650.9503888618929</c:v>
                </c:pt>
                <c:pt idx="469">
                  <c:v>2656.6957927421463</c:v>
                </c:pt>
                <c:pt idx="470">
                  <c:v>2661.3512416865124</c:v>
                </c:pt>
                <c:pt idx="471">
                  <c:v>2665.0663696468982</c:v>
                </c:pt>
                <c:pt idx="472">
                  <c:v>2668.1435095516208</c:v>
                </c:pt>
                <c:pt idx="473">
                  <c:v>2668.1241415860131</c:v>
                </c:pt>
                <c:pt idx="474">
                  <c:v>2662.9951261281967</c:v>
                </c:pt>
                <c:pt idx="475">
                  <c:v>2661.9037957432884</c:v>
                </c:pt>
                <c:pt idx="476">
                  <c:v>2663.4685681548726</c:v>
                </c:pt>
                <c:pt idx="477">
                  <c:v>2664.4361074996559</c:v>
                </c:pt>
                <c:pt idx="478">
                  <c:v>2664.8768026158214</c:v>
                </c:pt>
                <c:pt idx="479">
                  <c:v>2664.8497216113465</c:v>
                </c:pt>
                <c:pt idx="480">
                  <c:v>2664.3791804770735</c:v>
                </c:pt>
                <c:pt idx="481">
                  <c:v>2663.8441860328603</c:v>
                </c:pt>
                <c:pt idx="482">
                  <c:v>2663.9654803050507</c:v>
                </c:pt>
                <c:pt idx="483">
                  <c:v>2664.2600066710438</c:v>
                </c:pt>
                <c:pt idx="484">
                  <c:v>2664.373069316076</c:v>
                </c:pt>
                <c:pt idx="485">
                  <c:v>2664.3640638613142</c:v>
                </c:pt>
                <c:pt idx="486">
                  <c:v>2664.2908154678153</c:v>
                </c:pt>
                <c:pt idx="487">
                  <c:v>2664.2109717330168</c:v>
                </c:pt>
                <c:pt idx="488">
                  <c:v>2664.1869419124705</c:v>
                </c:pt>
                <c:pt idx="489">
                  <c:v>2664.2359070380771</c:v>
                </c:pt>
                <c:pt idx="490">
                  <c:v>2664.2745394286321</c:v>
                </c:pt>
                <c:pt idx="491">
                  <c:v>2664.2766155368445</c:v>
                </c:pt>
                <c:pt idx="492">
                  <c:v>2664.2628364255652</c:v>
                </c:pt>
                <c:pt idx="493">
                  <c:v>2664.248375363255</c:v>
                </c:pt>
                <c:pt idx="494">
                  <c:v>2664.242312491202</c:v>
                </c:pt>
                <c:pt idx="495">
                  <c:v>2664.2467897422612</c:v>
                </c:pt>
                <c:pt idx="496">
                  <c:v>2664.255339432304</c:v>
                </c:pt>
                <c:pt idx="497">
                  <c:v>2664.2581154885702</c:v>
                </c:pt>
                <c:pt idx="498">
                  <c:v>2664.2557692114642</c:v>
                </c:pt>
                <c:pt idx="499">
                  <c:v>2664.2527911649086</c:v>
                </c:pt>
                <c:pt idx="500">
                  <c:v>2664.2513561277374</c:v>
                </c:pt>
                <c:pt idx="501">
                  <c:v>2664.2517819511704</c:v>
                </c:pt>
                <c:pt idx="502">
                  <c:v>2664.2531347312688</c:v>
                </c:pt>
                <c:pt idx="503">
                  <c:v>2664.254041158194</c:v>
                </c:pt>
                <c:pt idx="504">
                  <c:v>2664.2538556904256</c:v>
                </c:pt>
                <c:pt idx="505">
                  <c:v>2664.2532471478917</c:v>
                </c:pt>
                <c:pt idx="506">
                  <c:v>2664.2528868530499</c:v>
                </c:pt>
                <c:pt idx="507">
                  <c:v>2664.2529005227989</c:v>
                </c:pt>
                <c:pt idx="508">
                  <c:v>2664.253121150723</c:v>
                </c:pt>
                <c:pt idx="509">
                  <c:v>2664.2533124649999</c:v>
                </c:pt>
                <c:pt idx="510">
                  <c:v>2664.2533378556473</c:v>
                </c:pt>
                <c:pt idx="511">
                  <c:v>2664.2532373837748</c:v>
                </c:pt>
                <c:pt idx="512">
                  <c:v>2664.2531490542096</c:v>
                </c:pt>
                <c:pt idx="513">
                  <c:v>2664.2531350408681</c:v>
                </c:pt>
                <c:pt idx="514">
                  <c:v>2664.253170496253</c:v>
                </c:pt>
                <c:pt idx="515">
                  <c:v>2664.2532090638488</c:v>
                </c:pt>
                <c:pt idx="516">
                  <c:v>2664.2532216228647</c:v>
                </c:pt>
                <c:pt idx="517">
                  <c:v>2664.2532086452193</c:v>
                </c:pt>
                <c:pt idx="518">
                  <c:v>2664.2531901867405</c:v>
                </c:pt>
                <c:pt idx="519">
                  <c:v>2664.2531834442998</c:v>
                </c:pt>
                <c:pt idx="520">
                  <c:v>2664.2531883571573</c:v>
                </c:pt>
                <c:pt idx="521">
                  <c:v>2664.2531959737753</c:v>
                </c:pt>
                <c:pt idx="522">
                  <c:v>2664.2531996133839</c:v>
                </c:pt>
                <c:pt idx="523">
                  <c:v>2664.2531982633009</c:v>
                </c:pt>
                <c:pt idx="524">
                  <c:v>2664.2531949262411</c:v>
                </c:pt>
                <c:pt idx="525">
                  <c:v>2664.2531929664037</c:v>
                </c:pt>
                <c:pt idx="526">
                  <c:v>2664.2531933634818</c:v>
                </c:pt>
                <c:pt idx="527">
                  <c:v>2664.2531947805546</c:v>
                </c:pt>
                <c:pt idx="528">
                  <c:v>2664.2531956981766</c:v>
                </c:pt>
                <c:pt idx="529">
                  <c:v>2664.2531956589228</c:v>
                </c:pt>
                <c:pt idx="530">
                  <c:v>2664.2531950940102</c:v>
                </c:pt>
                <c:pt idx="531">
                  <c:v>2664.2531946412564</c:v>
                </c:pt>
                <c:pt idx="532">
                  <c:v>2664.2531946004747</c:v>
                </c:pt>
                <c:pt idx="533">
                  <c:v>2664.2531948339092</c:v>
                </c:pt>
                <c:pt idx="534">
                  <c:v>2664.2531950439225</c:v>
                </c:pt>
                <c:pt idx="535">
                  <c:v>2664.253195081641</c:v>
                </c:pt>
                <c:pt idx="536">
                  <c:v>2664.2531949934928</c:v>
                </c:pt>
                <c:pt idx="537">
                  <c:v>2664.2531948983014</c:v>
                </c:pt>
                <c:pt idx="538">
                  <c:v>2664.2531948704927</c:v>
                </c:pt>
                <c:pt idx="539">
                  <c:v>2664.25319490322</c:v>
                </c:pt>
                <c:pt idx="540">
                  <c:v>2664.253194946461</c:v>
                </c:pt>
                <c:pt idx="541">
                  <c:v>2664.2531949626282</c:v>
                </c:pt>
                <c:pt idx="542">
                  <c:v>2664.2531949508557</c:v>
                </c:pt>
                <c:pt idx="543">
                  <c:v>2664.253194932091</c:v>
                </c:pt>
                <c:pt idx="544">
                  <c:v>2664.2531949235781</c:v>
                </c:pt>
                <c:pt idx="545">
                  <c:v>2664.253194927107</c:v>
                </c:pt>
                <c:pt idx="546">
                  <c:v>2664.2531949351542</c:v>
                </c:pt>
                <c:pt idx="547">
                  <c:v>2664.2531949396798</c:v>
                </c:pt>
                <c:pt idx="548">
                  <c:v>2664.253194938683</c:v>
                </c:pt>
                <c:pt idx="549">
                  <c:v>2664.2531949354234</c:v>
                </c:pt>
                <c:pt idx="550">
                  <c:v>2664.253194933226</c:v>
                </c:pt>
                <c:pt idx="551">
                  <c:v>2664.253194933226</c:v>
                </c:pt>
                <c:pt idx="552">
                  <c:v>2664.253194934623</c:v>
                </c:pt>
                <c:pt idx="553">
                  <c:v>2664.2531949357508</c:v>
                </c:pt>
                <c:pt idx="554">
                  <c:v>2664.25319493602</c:v>
                </c:pt>
                <c:pt idx="555">
                  <c:v>2664.2531949354234</c:v>
                </c:pt>
                <c:pt idx="556">
                  <c:v>2664.2531949348195</c:v>
                </c:pt>
                <c:pt idx="557">
                  <c:v>2664.2531949348195</c:v>
                </c:pt>
                <c:pt idx="558">
                  <c:v>2664.2531949350232</c:v>
                </c:pt>
                <c:pt idx="559">
                  <c:v>2664.2531949351542</c:v>
                </c:pt>
                <c:pt idx="560">
                  <c:v>2664.2531949352851</c:v>
                </c:pt>
                <c:pt idx="561">
                  <c:v>2664.2531949351542</c:v>
                </c:pt>
                <c:pt idx="562">
                  <c:v>2664.2531949350232</c:v>
                </c:pt>
                <c:pt idx="563">
                  <c:v>2664.2531949350232</c:v>
                </c:pt>
                <c:pt idx="564">
                  <c:v>2664.2531949350232</c:v>
                </c:pt>
                <c:pt idx="565">
                  <c:v>2664.2531949350232</c:v>
                </c:pt>
                <c:pt idx="566">
                  <c:v>15278.780855647288</c:v>
                </c:pt>
                <c:pt idx="567">
                  <c:v>27475.284495302738</c:v>
                </c:pt>
                <c:pt idx="568">
                  <c:v>39983.849433072784</c:v>
                </c:pt>
                <c:pt idx="569">
                  <c:v>46680.434550979713</c:v>
                </c:pt>
                <c:pt idx="570">
                  <c:v>54877.978402210603</c:v>
                </c:pt>
                <c:pt idx="571">
                  <c:v>63479.950242837484</c:v>
                </c:pt>
                <c:pt idx="572">
                  <c:v>72643.028151996696</c:v>
                </c:pt>
                <c:pt idx="573">
                  <c:v>67179.149904650039</c:v>
                </c:pt>
                <c:pt idx="574">
                  <c:v>62523.696016042682</c:v>
                </c:pt>
                <c:pt idx="575">
                  <c:v>57012.123752870604</c:v>
                </c:pt>
                <c:pt idx="576">
                  <c:v>53189.912376033732</c:v>
                </c:pt>
                <c:pt idx="577">
                  <c:v>48687.251986088166</c:v>
                </c:pt>
                <c:pt idx="578">
                  <c:v>43901.233031533724</c:v>
                </c:pt>
                <c:pt idx="579">
                  <c:v>38878.686288090488</c:v>
                </c:pt>
                <c:pt idx="580">
                  <c:v>35273.795607796732</c:v>
                </c:pt>
                <c:pt idx="581">
                  <c:v>32234.97462664132</c:v>
                </c:pt>
                <c:pt idx="582">
                  <c:v>27678.361730106182</c:v>
                </c:pt>
                <c:pt idx="583">
                  <c:v>25718.375070717455</c:v>
                </c:pt>
                <c:pt idx="584">
                  <c:v>22245.560126555014</c:v>
                </c:pt>
                <c:pt idx="585">
                  <c:v>21158.740833813456</c:v>
                </c:pt>
                <c:pt idx="586">
                  <c:v>19654.329140067632</c:v>
                </c:pt>
                <c:pt idx="587">
                  <c:v>18730.66222725276</c:v>
                </c:pt>
                <c:pt idx="588">
                  <c:v>17803.973974069049</c:v>
                </c:pt>
                <c:pt idx="589">
                  <c:v>18019.999810454035</c:v>
                </c:pt>
                <c:pt idx="590">
                  <c:v>18173.656549221436</c:v>
                </c:pt>
                <c:pt idx="591">
                  <c:v>20191.264485647902</c:v>
                </c:pt>
                <c:pt idx="592">
                  <c:v>19943.082955335267</c:v>
                </c:pt>
                <c:pt idx="593">
                  <c:v>19482.112739033597</c:v>
                </c:pt>
                <c:pt idx="594">
                  <c:v>19088.475250955409</c:v>
                </c:pt>
                <c:pt idx="595">
                  <c:v>17994.965847396423</c:v>
                </c:pt>
                <c:pt idx="596">
                  <c:v>17096.548707665606</c:v>
                </c:pt>
                <c:pt idx="597">
                  <c:v>16493.359683993272</c:v>
                </c:pt>
                <c:pt idx="598">
                  <c:v>16061.523821249742</c:v>
                </c:pt>
                <c:pt idx="599">
                  <c:v>15620.408127372953</c:v>
                </c:pt>
                <c:pt idx="600">
                  <c:v>15379.564137956528</c:v>
                </c:pt>
                <c:pt idx="601">
                  <c:v>14996.932961222847</c:v>
                </c:pt>
                <c:pt idx="602">
                  <c:v>14588.620391352502</c:v>
                </c:pt>
                <c:pt idx="603">
                  <c:v>14083.624929673308</c:v>
                </c:pt>
                <c:pt idx="604">
                  <c:v>14093.120570833133</c:v>
                </c:pt>
                <c:pt idx="605">
                  <c:v>13902.991937611383</c:v>
                </c:pt>
                <c:pt idx="606">
                  <c:v>13465.976634235121</c:v>
                </c:pt>
                <c:pt idx="607">
                  <c:v>13118.522491797805</c:v>
                </c:pt>
                <c:pt idx="608">
                  <c:v>12820.057225343902</c:v>
                </c:pt>
                <c:pt idx="609">
                  <c:v>12528.497879733332</c:v>
                </c:pt>
                <c:pt idx="610">
                  <c:v>12502.81648659693</c:v>
                </c:pt>
                <c:pt idx="611">
                  <c:v>12561.085193713727</c:v>
                </c:pt>
                <c:pt idx="612">
                  <c:v>12294.991431213384</c:v>
                </c:pt>
                <c:pt idx="613">
                  <c:v>12156.009774238541</c:v>
                </c:pt>
                <c:pt idx="614">
                  <c:v>12091.482576357332</c:v>
                </c:pt>
                <c:pt idx="615">
                  <c:v>11926.172096166498</c:v>
                </c:pt>
                <c:pt idx="616">
                  <c:v>11718.347040783483</c:v>
                </c:pt>
                <c:pt idx="617">
                  <c:v>11283.274027644264</c:v>
                </c:pt>
                <c:pt idx="618">
                  <c:v>10794.895937994792</c:v>
                </c:pt>
                <c:pt idx="619">
                  <c:v>10140.128318023068</c:v>
                </c:pt>
                <c:pt idx="620">
                  <c:v>10065.458048902845</c:v>
                </c:pt>
                <c:pt idx="621">
                  <c:v>9852.02193283409</c:v>
                </c:pt>
                <c:pt idx="622">
                  <c:v>9696.207093803474</c:v>
                </c:pt>
                <c:pt idx="623">
                  <c:v>9607.7249829962093</c:v>
                </c:pt>
                <c:pt idx="624">
                  <c:v>9758.5761914209288</c:v>
                </c:pt>
                <c:pt idx="625">
                  <c:v>10155.666639920863</c:v>
                </c:pt>
                <c:pt idx="626">
                  <c:v>10680.948244077415</c:v>
                </c:pt>
                <c:pt idx="627">
                  <c:v>10678.790143814069</c:v>
                </c:pt>
                <c:pt idx="628">
                  <c:v>10685.480254631228</c:v>
                </c:pt>
                <c:pt idx="629">
                  <c:v>10836.115653029381</c:v>
                </c:pt>
                <c:pt idx="630">
                  <c:v>11075.017352208364</c:v>
                </c:pt>
                <c:pt idx="631">
                  <c:v>11217.66777963152</c:v>
                </c:pt>
                <c:pt idx="632">
                  <c:v>11276.79972685354</c:v>
                </c:pt>
                <c:pt idx="633">
                  <c:v>11494.336233423091</c:v>
                </c:pt>
                <c:pt idx="634">
                  <c:v>11724.173911494734</c:v>
                </c:pt>
                <c:pt idx="635">
                  <c:v>11498.868243976503</c:v>
                </c:pt>
                <c:pt idx="636">
                  <c:v>10676.60861592248</c:v>
                </c:pt>
                <c:pt idx="637">
                  <c:v>9483.4706836135301</c:v>
                </c:pt>
                <c:pt idx="638">
                  <c:v>8906.3206578201789</c:v>
                </c:pt>
                <c:pt idx="639">
                  <c:v>8890.0912902360578</c:v>
                </c:pt>
                <c:pt idx="640">
                  <c:v>7912.9154747181674</c:v>
                </c:pt>
                <c:pt idx="641">
                  <c:v>6741.7705548446829</c:v>
                </c:pt>
                <c:pt idx="642">
                  <c:v>6090.5658746231275</c:v>
                </c:pt>
                <c:pt idx="643">
                  <c:v>5977.4260273405453</c:v>
                </c:pt>
                <c:pt idx="644">
                  <c:v>5893.1837246260984</c:v>
                </c:pt>
                <c:pt idx="645">
                  <c:v>5829.8916229266397</c:v>
                </c:pt>
                <c:pt idx="646">
                  <c:v>5792.4550270492764</c:v>
                </c:pt>
                <c:pt idx="647">
                  <c:v>5777.4581548080678</c:v>
                </c:pt>
                <c:pt idx="648">
                  <c:v>5773.8345927347327</c:v>
                </c:pt>
                <c:pt idx="649">
                  <c:v>5776.2561100996754</c:v>
                </c:pt>
                <c:pt idx="650">
                  <c:v>5775.9602422359021</c:v>
                </c:pt>
                <c:pt idx="651">
                  <c:v>5762.8799023328902</c:v>
                </c:pt>
                <c:pt idx="652">
                  <c:v>5738.0758931399978</c:v>
                </c:pt>
                <c:pt idx="653">
                  <c:v>5695.7592586659448</c:v>
                </c:pt>
                <c:pt idx="654">
                  <c:v>5639.027011761973</c:v>
                </c:pt>
                <c:pt idx="655">
                  <c:v>5577.2550268670821</c:v>
                </c:pt>
                <c:pt idx="656">
                  <c:v>5498.3488627002953</c:v>
                </c:pt>
                <c:pt idx="657">
                  <c:v>5411.3905689238672</c:v>
                </c:pt>
                <c:pt idx="658">
                  <c:v>5284.0747760179074</c:v>
                </c:pt>
                <c:pt idx="659">
                  <c:v>5163.2267143384452</c:v>
                </c:pt>
                <c:pt idx="660">
                  <c:v>5047.9869352979586</c:v>
                </c:pt>
                <c:pt idx="661">
                  <c:v>4933.3044549201513</c:v>
                </c:pt>
                <c:pt idx="662">
                  <c:v>4812.9413877557963</c:v>
                </c:pt>
                <c:pt idx="663">
                  <c:v>4705.8716925375993</c:v>
                </c:pt>
                <c:pt idx="664">
                  <c:v>4603.7347757044627</c:v>
                </c:pt>
                <c:pt idx="665">
                  <c:v>4578.0226268591359</c:v>
                </c:pt>
                <c:pt idx="666">
                  <c:v>4548.9346980441915</c:v>
                </c:pt>
                <c:pt idx="667">
                  <c:v>4521.4732076680011</c:v>
                </c:pt>
                <c:pt idx="668">
                  <c:v>4500.6643635999135</c:v>
                </c:pt>
                <c:pt idx="669">
                  <c:v>4491.252987297652</c:v>
                </c:pt>
                <c:pt idx="670">
                  <c:v>4477.823445440401</c:v>
                </c:pt>
                <c:pt idx="671">
                  <c:v>4464.4867630308217</c:v>
                </c:pt>
                <c:pt idx="672">
                  <c:v>4422.700754233636</c:v>
                </c:pt>
                <c:pt idx="673">
                  <c:v>4392.6530614858493</c:v>
                </c:pt>
                <c:pt idx="674">
                  <c:v>4372.6241168319902</c:v>
                </c:pt>
                <c:pt idx="675">
                  <c:v>4359.1602775912179</c:v>
                </c:pt>
                <c:pt idx="676">
                  <c:v>4350.007430780679</c:v>
                </c:pt>
                <c:pt idx="677">
                  <c:v>4347.8846134105697</c:v>
                </c:pt>
                <c:pt idx="678">
                  <c:v>4348.9840715165628</c:v>
                </c:pt>
                <c:pt idx="679">
                  <c:v>4348.2088710671014</c:v>
                </c:pt>
                <c:pt idx="680">
                  <c:v>4341.1536430120468</c:v>
                </c:pt>
                <c:pt idx="681">
                  <c:v>4329.6962624093794</c:v>
                </c:pt>
                <c:pt idx="682">
                  <c:v>4314.1295306264801</c:v>
                </c:pt>
                <c:pt idx="683">
                  <c:v>4295.0419716028773</c:v>
                </c:pt>
                <c:pt idx="684">
                  <c:v>4276.3344408884368</c:v>
                </c:pt>
                <c:pt idx="685">
                  <c:v>4259.6454143308656</c:v>
                </c:pt>
                <c:pt idx="686">
                  <c:v>4238.9262969857082</c:v>
                </c:pt>
                <c:pt idx="687">
                  <c:v>4218.7076609126671</c:v>
                </c:pt>
                <c:pt idx="688">
                  <c:v>4197.2036542807327</c:v>
                </c:pt>
                <c:pt idx="689">
                  <c:v>4174.626284454549</c:v>
                </c:pt>
                <c:pt idx="690">
                  <c:v>4149.72647161848</c:v>
                </c:pt>
                <c:pt idx="691">
                  <c:v>4119.5702404575422</c:v>
                </c:pt>
                <c:pt idx="692">
                  <c:v>4076.6143310800471</c:v>
                </c:pt>
                <c:pt idx="693">
                  <c:v>4026.620725966859</c:v>
                </c:pt>
                <c:pt idx="694">
                  <c:v>3979.4040325467577</c:v>
                </c:pt>
                <c:pt idx="695">
                  <c:v>3933.214605118279</c:v>
                </c:pt>
                <c:pt idx="696">
                  <c:v>3889.2476768679917</c:v>
                </c:pt>
                <c:pt idx="697">
                  <c:v>3849.9552179249004</c:v>
                </c:pt>
                <c:pt idx="698">
                  <c:v>3818.1709501957521</c:v>
                </c:pt>
                <c:pt idx="699">
                  <c:v>3805.8121681991688</c:v>
                </c:pt>
                <c:pt idx="700">
                  <c:v>3813.7185708626275</c:v>
                </c:pt>
                <c:pt idx="701">
                  <c:v>3820.5593872798054</c:v>
                </c:pt>
                <c:pt idx="702">
                  <c:v>3755.25699804537</c:v>
                </c:pt>
                <c:pt idx="703">
                  <c:v>3766.5222240387084</c:v>
                </c:pt>
                <c:pt idx="704">
                  <c:v>3781.2752411932306</c:v>
                </c:pt>
                <c:pt idx="705">
                  <c:v>3796.3744786613242</c:v>
                </c:pt>
                <c:pt idx="706">
                  <c:v>3804.1004937402904</c:v>
                </c:pt>
                <c:pt idx="707">
                  <c:v>3807.3027403278829</c:v>
                </c:pt>
                <c:pt idx="708">
                  <c:v>3818.6606475830631</c:v>
                </c:pt>
                <c:pt idx="709">
                  <c:v>3900.8243107762464</c:v>
                </c:pt>
                <c:pt idx="710">
                  <c:v>3906.5145437026949</c:v>
                </c:pt>
                <c:pt idx="711">
                  <c:v>3911.1263039581754</c:v>
                </c:pt>
                <c:pt idx="712">
                  <c:v>3914.8389542603036</c:v>
                </c:pt>
                <c:pt idx="713">
                  <c:v>3917.931575533803</c:v>
                </c:pt>
                <c:pt idx="714">
                  <c:v>3917.9285555217139</c:v>
                </c:pt>
                <c:pt idx="715">
                  <c:v>3912.8064467990771</c:v>
                </c:pt>
                <c:pt idx="716">
                  <c:v>3911.7100986504374</c:v>
                </c:pt>
                <c:pt idx="717">
                  <c:v>3913.2652112035357</c:v>
                </c:pt>
                <c:pt idx="718">
                  <c:v>3914.2295922751437</c:v>
                </c:pt>
                <c:pt idx="719">
                  <c:v>3914.6729191777195</c:v>
                </c:pt>
                <c:pt idx="720">
                  <c:v>3914.6491998802594</c:v>
                </c:pt>
                <c:pt idx="721">
                  <c:v>3914.1802890723848</c:v>
                </c:pt>
                <c:pt idx="722">
                  <c:v>3913.644822436916</c:v>
                </c:pt>
                <c:pt idx="723">
                  <c:v>3913.7645903851007</c:v>
                </c:pt>
                <c:pt idx="724">
                  <c:v>3914.0580892047947</c:v>
                </c:pt>
                <c:pt idx="725">
                  <c:v>3914.1713574903915</c:v>
                </c:pt>
                <c:pt idx="726">
                  <c:v>3914.1630382352887</c:v>
                </c:pt>
                <c:pt idx="727">
                  <c:v>3914.0901981005445</c:v>
                </c:pt>
                <c:pt idx="728">
                  <c:v>3914.0103407036513</c:v>
                </c:pt>
                <c:pt idx="729">
                  <c:v>3913.9860623653149</c:v>
                </c:pt>
                <c:pt idx="730">
                  <c:v>3914.0348109266342</c:v>
                </c:pt>
                <c:pt idx="731">
                  <c:v>3914.0734138607149</c:v>
                </c:pt>
                <c:pt idx="732">
                  <c:v>3914.0756030976772</c:v>
                </c:pt>
                <c:pt idx="733">
                  <c:v>3914.0619238986255</c:v>
                </c:pt>
                <c:pt idx="734">
                  <c:v>3914.0474789932923</c:v>
                </c:pt>
                <c:pt idx="735">
                  <c:v>3914.0413762638345</c:v>
                </c:pt>
                <c:pt idx="736">
                  <c:v>3914.0458099151583</c:v>
                </c:pt>
                <c:pt idx="737">
                  <c:v>3914.0543452792699</c:v>
                </c:pt>
                <c:pt idx="738">
                  <c:v>3914.0571359012793</c:v>
                </c:pt>
                <c:pt idx="739">
                  <c:v>3914.054810478352</c:v>
                </c:pt>
                <c:pt idx="740">
                  <c:v>3914.0518401044283</c:v>
                </c:pt>
                <c:pt idx="741">
                  <c:v>3914.050399562344</c:v>
                </c:pt>
                <c:pt idx="742">
                  <c:v>3914.0508167863427</c:v>
                </c:pt>
                <c:pt idx="743">
                  <c:v>3914.0521654324348</c:v>
                </c:pt>
                <c:pt idx="744">
                  <c:v>3914.0530733635114</c:v>
                </c:pt>
                <c:pt idx="745">
                  <c:v>3914.0528916612793</c:v>
                </c:pt>
                <c:pt idx="746">
                  <c:v>3914.0522853411476</c:v>
                </c:pt>
              </c:numCache>
            </c:numRef>
          </c:val>
          <c:extLst>
            <c:ext xmlns:c16="http://schemas.microsoft.com/office/drawing/2014/chart" uri="{C3380CC4-5D6E-409C-BE32-E72D297353CC}">
              <c16:uniqueId val="{00000005-6485-4F05-90EA-3C0640AD2471}"/>
            </c:ext>
          </c:extLst>
        </c:ser>
        <c:ser>
          <c:idx val="6"/>
          <c:order val="6"/>
          <c:spPr>
            <a:solidFill>
              <a:srgbClr val="D0D0D0"/>
            </a:solidFill>
            <a:ln w="9525" algn="ctr">
              <a:solidFill>
                <a:schemeClr val="bg1"/>
              </a:solidFill>
              <a:prstDash val="solid"/>
            </a:ln>
          </c:spPr>
          <c:val>
            <c:numRef>
              <c:f>Sheet1!$A$7:$ABS$7</c:f>
              <c:numCache>
                <c:formatCode>General</c:formatCode>
                <c:ptCount val="747"/>
              </c:numCache>
            </c:numRef>
          </c:val>
          <c:extLst>
            <c:ext xmlns:c16="http://schemas.microsoft.com/office/drawing/2014/chart" uri="{C3380CC4-5D6E-409C-BE32-E72D297353CC}">
              <c16:uniqueId val="{00000006-6485-4F05-90EA-3C0640AD2471}"/>
            </c:ext>
          </c:extLst>
        </c:ser>
        <c:ser>
          <c:idx val="7"/>
          <c:order val="7"/>
          <c:spPr>
            <a:solidFill>
              <a:schemeClr val="accent2"/>
            </a:solidFill>
            <a:ln w="9525" algn="ctr">
              <a:solidFill>
                <a:schemeClr val="bg1"/>
              </a:solidFill>
              <a:prstDash val="solid"/>
            </a:ln>
          </c:spPr>
          <c:val>
            <c:numRef>
              <c:f>Sheet1!$A$8:$ABS$8</c:f>
              <c:numCache>
                <c:formatCode>General</c:formatCode>
                <c:ptCount val="747"/>
              </c:numCache>
            </c:numRef>
          </c:val>
          <c:extLst>
            <c:ext xmlns:c16="http://schemas.microsoft.com/office/drawing/2014/chart" uri="{C3380CC4-5D6E-409C-BE32-E72D297353CC}">
              <c16:uniqueId val="{00000007-6485-4F05-90EA-3C0640AD2471}"/>
            </c:ext>
          </c:extLst>
        </c:ser>
        <c:ser>
          <c:idx val="8"/>
          <c:order val="8"/>
          <c:spPr>
            <a:solidFill>
              <a:schemeClr val="accent1"/>
            </a:solidFill>
            <a:ln w="9525" algn="ctr">
              <a:solidFill>
                <a:schemeClr val="bg1"/>
              </a:solidFill>
              <a:prstDash val="solid"/>
            </a:ln>
          </c:spPr>
          <c:val>
            <c:numRef>
              <c:f>Sheet1!$A$9:$ABS$9</c:f>
              <c:numCache>
                <c:formatCode>General</c:formatCode>
                <c:ptCount val="747"/>
              </c:numCache>
            </c:numRef>
          </c:val>
          <c:extLst>
            <c:ext xmlns:c16="http://schemas.microsoft.com/office/drawing/2014/chart" uri="{C3380CC4-5D6E-409C-BE32-E72D297353CC}">
              <c16:uniqueId val="{00000008-6485-4F05-90EA-3C0640AD2471}"/>
            </c:ext>
          </c:extLst>
        </c:ser>
        <c:dLbls>
          <c:showLegendKey val="0"/>
          <c:showVal val="0"/>
          <c:showCatName val="0"/>
          <c:showSerName val="0"/>
          <c:showPercent val="0"/>
          <c:showBubbleSize val="0"/>
        </c:dLbls>
        <c:axId val="360934783"/>
        <c:axId val="1"/>
      </c:areaChart>
      <c:catAx>
        <c:axId val="360934783"/>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00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360934783"/>
        <c:crosses val="min"/>
        <c:crossBetween val="midCat"/>
        <c:majorUnit val="100000"/>
      </c:valAx>
    </c:plotArea>
    <c:plotVisOnly val="0"/>
    <c:dispBlanksAs val="zero"/>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7.7658303464755076E-3"/>
          <c:y val="3.9513677811550151E-2"/>
          <c:w val="0.98446833930704902"/>
          <c:h val="0.92097264437689974"/>
        </c:manualLayout>
      </c:layout>
      <c:areaChart>
        <c:grouping val="stacked"/>
        <c:varyColors val="0"/>
        <c:ser>
          <c:idx val="0"/>
          <c:order val="0"/>
          <c:spPr>
            <a:solidFill>
              <a:schemeClr val="accent2"/>
            </a:solidFill>
            <a:ln>
              <a:noFill/>
            </a:ln>
          </c:spPr>
          <c:val>
            <c:numRef>
              <c:f>Sheet1!$A$1:$ABS$1</c:f>
              <c:numCache>
                <c:formatCode>General</c:formatCode>
                <c:ptCount val="747"/>
                <c:pt idx="0">
                  <c:v>1158</c:v>
                </c:pt>
                <c:pt idx="1">
                  <c:v>4867.5</c:v>
                </c:pt>
                <c:pt idx="2">
                  <c:v>12068</c:v>
                </c:pt>
                <c:pt idx="3">
                  <c:v>20268.75</c:v>
                </c:pt>
                <c:pt idx="4">
                  <c:v>21179.4</c:v>
                </c:pt>
                <c:pt idx="5">
                  <c:v>20768</c:v>
                </c:pt>
                <c:pt idx="6">
                  <c:v>24769.142857142859</c:v>
                </c:pt>
                <c:pt idx="7">
                  <c:v>31581</c:v>
                </c:pt>
                <c:pt idx="8">
                  <c:v>37277.714285714283</c:v>
                </c:pt>
                <c:pt idx="9">
                  <c:v>36774.571428571428</c:v>
                </c:pt>
                <c:pt idx="10">
                  <c:v>30674.714285714286</c:v>
                </c:pt>
                <c:pt idx="11">
                  <c:v>29137.285714285714</c:v>
                </c:pt>
                <c:pt idx="12">
                  <c:v>27762.857142857141</c:v>
                </c:pt>
                <c:pt idx="13">
                  <c:v>26935.571428571428</c:v>
                </c:pt>
                <c:pt idx="14">
                  <c:v>26721.428571428572</c:v>
                </c:pt>
                <c:pt idx="15">
                  <c:v>27892.857142857141</c:v>
                </c:pt>
                <c:pt idx="16">
                  <c:v>28503.428571428572</c:v>
                </c:pt>
                <c:pt idx="17">
                  <c:v>28744</c:v>
                </c:pt>
                <c:pt idx="18">
                  <c:v>28993.428571428572</c:v>
                </c:pt>
                <c:pt idx="19">
                  <c:v>28496.571428571428</c:v>
                </c:pt>
                <c:pt idx="20">
                  <c:v>27780.571428571428</c:v>
                </c:pt>
                <c:pt idx="21">
                  <c:v>28130.857142857141</c:v>
                </c:pt>
                <c:pt idx="22">
                  <c:v>29546.857142857141</c:v>
                </c:pt>
                <c:pt idx="23">
                  <c:v>37769.714285714283</c:v>
                </c:pt>
                <c:pt idx="24">
                  <c:v>51390.571428571428</c:v>
                </c:pt>
                <c:pt idx="25">
                  <c:v>54948.285714285717</c:v>
                </c:pt>
                <c:pt idx="26">
                  <c:v>57306.714285714283</c:v>
                </c:pt>
                <c:pt idx="27">
                  <c:v>64864.142857142855</c:v>
                </c:pt>
                <c:pt idx="28">
                  <c:v>71840.71428571429</c:v>
                </c:pt>
                <c:pt idx="29">
                  <c:v>76390</c:v>
                </c:pt>
                <c:pt idx="30">
                  <c:v>77683</c:v>
                </c:pt>
                <c:pt idx="31">
                  <c:v>78195.28571428571</c:v>
                </c:pt>
                <c:pt idx="32">
                  <c:v>79343.571428571435</c:v>
                </c:pt>
                <c:pt idx="33">
                  <c:v>79406</c:v>
                </c:pt>
                <c:pt idx="34">
                  <c:v>73248.71428571429</c:v>
                </c:pt>
                <c:pt idx="35">
                  <c:v>71459.857142857145</c:v>
                </c:pt>
                <c:pt idx="36">
                  <c:v>69929.142857142855</c:v>
                </c:pt>
                <c:pt idx="37">
                  <c:v>67571.71428571429</c:v>
                </c:pt>
                <c:pt idx="38">
                  <c:v>63764.285714285717</c:v>
                </c:pt>
                <c:pt idx="39">
                  <c:v>62906.428571428572</c:v>
                </c:pt>
                <c:pt idx="40">
                  <c:v>62532.428571428572</c:v>
                </c:pt>
                <c:pt idx="41">
                  <c:v>64883.571428571428</c:v>
                </c:pt>
                <c:pt idx="42">
                  <c:v>62967</c:v>
                </c:pt>
                <c:pt idx="43">
                  <c:v>61377</c:v>
                </c:pt>
                <c:pt idx="44">
                  <c:v>60909.571428571428</c:v>
                </c:pt>
                <c:pt idx="45">
                  <c:v>60911.285714285717</c:v>
                </c:pt>
                <c:pt idx="46">
                  <c:v>60168.571428571428</c:v>
                </c:pt>
                <c:pt idx="47">
                  <c:v>59802.857142857145</c:v>
                </c:pt>
                <c:pt idx="48">
                  <c:v>60206.285714285717</c:v>
                </c:pt>
                <c:pt idx="49">
                  <c:v>60690</c:v>
                </c:pt>
                <c:pt idx="50">
                  <c:v>62476.428571428572</c:v>
                </c:pt>
                <c:pt idx="51">
                  <c:v>65816.428571428565</c:v>
                </c:pt>
                <c:pt idx="52">
                  <c:v>71410.857142857145</c:v>
                </c:pt>
                <c:pt idx="53">
                  <c:v>74076.428571428565</c:v>
                </c:pt>
                <c:pt idx="54">
                  <c:v>74893.428571428565</c:v>
                </c:pt>
                <c:pt idx="55">
                  <c:v>76340.28571428571</c:v>
                </c:pt>
                <c:pt idx="56">
                  <c:v>79302.428571428565</c:v>
                </c:pt>
                <c:pt idx="57">
                  <c:v>82834.71428571429</c:v>
                </c:pt>
                <c:pt idx="58">
                  <c:v>85127.428571428565</c:v>
                </c:pt>
                <c:pt idx="59">
                  <c:v>85775.142857142855</c:v>
                </c:pt>
                <c:pt idx="60">
                  <c:v>86280.571428571435</c:v>
                </c:pt>
                <c:pt idx="61">
                  <c:v>86975.857142857145</c:v>
                </c:pt>
                <c:pt idx="62">
                  <c:v>82745.71428571429</c:v>
                </c:pt>
                <c:pt idx="63">
                  <c:v>82069.428571428565</c:v>
                </c:pt>
                <c:pt idx="64">
                  <c:v>79355.71428571429</c:v>
                </c:pt>
                <c:pt idx="65">
                  <c:v>78298.28571428571</c:v>
                </c:pt>
                <c:pt idx="66">
                  <c:v>76671.142857142855</c:v>
                </c:pt>
                <c:pt idx="67">
                  <c:v>76980.71428571429</c:v>
                </c:pt>
                <c:pt idx="68">
                  <c:v>77623.571428571435</c:v>
                </c:pt>
                <c:pt idx="69">
                  <c:v>81303.857142857145</c:v>
                </c:pt>
                <c:pt idx="70">
                  <c:v>81754.428571428565</c:v>
                </c:pt>
                <c:pt idx="71">
                  <c:v>85584.571428571435</c:v>
                </c:pt>
                <c:pt idx="72">
                  <c:v>91152.857142857145</c:v>
                </c:pt>
                <c:pt idx="73">
                  <c:v>100157.42857142857</c:v>
                </c:pt>
                <c:pt idx="74">
                  <c:v>108157.85714285714</c:v>
                </c:pt>
                <c:pt idx="75">
                  <c:v>112695.42857142857</c:v>
                </c:pt>
                <c:pt idx="76">
                  <c:v>120500.14285714286</c:v>
                </c:pt>
                <c:pt idx="77">
                  <c:v>129798.57142857143</c:v>
                </c:pt>
                <c:pt idx="78">
                  <c:v>139179.14285714287</c:v>
                </c:pt>
                <c:pt idx="79">
                  <c:v>147534.57142857142</c:v>
                </c:pt>
                <c:pt idx="80">
                  <c:v>153518</c:v>
                </c:pt>
                <c:pt idx="81">
                  <c:v>160804</c:v>
                </c:pt>
                <c:pt idx="82">
                  <c:v>164050.14285714287</c:v>
                </c:pt>
                <c:pt idx="83">
                  <c:v>167122.42857142858</c:v>
                </c:pt>
                <c:pt idx="84">
                  <c:v>170639.28571428571</c:v>
                </c:pt>
                <c:pt idx="85">
                  <c:v>173764.42857142858</c:v>
                </c:pt>
                <c:pt idx="86">
                  <c:v>180074.42857142858</c:v>
                </c:pt>
                <c:pt idx="87">
                  <c:v>187013.28571428571</c:v>
                </c:pt>
                <c:pt idx="88">
                  <c:v>191128.85714285713</c:v>
                </c:pt>
                <c:pt idx="89">
                  <c:v>194520.57142857142</c:v>
                </c:pt>
                <c:pt idx="90">
                  <c:v>201882.85714285713</c:v>
                </c:pt>
                <c:pt idx="91">
                  <c:v>213210.57142857142</c:v>
                </c:pt>
                <c:pt idx="92">
                  <c:v>225049.85714285713</c:v>
                </c:pt>
                <c:pt idx="93">
                  <c:v>233284.28571428571</c:v>
                </c:pt>
                <c:pt idx="94">
                  <c:v>241936.71428571429</c:v>
                </c:pt>
                <c:pt idx="95">
                  <c:v>248363.85714285713</c:v>
                </c:pt>
                <c:pt idx="96">
                  <c:v>250625.14285714287</c:v>
                </c:pt>
                <c:pt idx="97">
                  <c:v>254229.28571428571</c:v>
                </c:pt>
                <c:pt idx="98">
                  <c:v>259125.57142857142</c:v>
                </c:pt>
                <c:pt idx="99">
                  <c:v>263598.85714285716</c:v>
                </c:pt>
                <c:pt idx="100">
                  <c:v>270193.28571428574</c:v>
                </c:pt>
                <c:pt idx="101">
                  <c:v>276032.57142857142</c:v>
                </c:pt>
                <c:pt idx="102">
                  <c:v>279383.14285714284</c:v>
                </c:pt>
                <c:pt idx="103">
                  <c:v>282357.14285714284</c:v>
                </c:pt>
                <c:pt idx="104">
                  <c:v>288098.57142857142</c:v>
                </c:pt>
                <c:pt idx="105">
                  <c:v>294364.85714285716</c:v>
                </c:pt>
                <c:pt idx="106">
                  <c:v>300654</c:v>
                </c:pt>
                <c:pt idx="107">
                  <c:v>313037.71428571426</c:v>
                </c:pt>
                <c:pt idx="108">
                  <c:v>322137.57142857142</c:v>
                </c:pt>
                <c:pt idx="109">
                  <c:v>327568.71428571426</c:v>
                </c:pt>
                <c:pt idx="110">
                  <c:v>323930.28571428574</c:v>
                </c:pt>
                <c:pt idx="111">
                  <c:v>331715.71428571426</c:v>
                </c:pt>
                <c:pt idx="112">
                  <c:v>342614.42857142858</c:v>
                </c:pt>
                <c:pt idx="113">
                  <c:v>352515.57142857142</c:v>
                </c:pt>
                <c:pt idx="114">
                  <c:v>355681.71428571426</c:v>
                </c:pt>
                <c:pt idx="115">
                  <c:v>360411.14285714284</c:v>
                </c:pt>
                <c:pt idx="116">
                  <c:v>366459.42857142858</c:v>
                </c:pt>
                <c:pt idx="117">
                  <c:v>374672</c:v>
                </c:pt>
                <c:pt idx="118">
                  <c:v>374038.42857142858</c:v>
                </c:pt>
                <c:pt idx="119">
                  <c:v>372569</c:v>
                </c:pt>
                <c:pt idx="120">
                  <c:v>371255</c:v>
                </c:pt>
                <c:pt idx="121">
                  <c:v>372157.85714285716</c:v>
                </c:pt>
                <c:pt idx="122">
                  <c:v>371396</c:v>
                </c:pt>
                <c:pt idx="123">
                  <c:v>369422.42857142858</c:v>
                </c:pt>
                <c:pt idx="124">
                  <c:v>366243.71428571426</c:v>
                </c:pt>
                <c:pt idx="125">
                  <c:v>364568.42857142858</c:v>
                </c:pt>
                <c:pt idx="126">
                  <c:v>362904.42857142858</c:v>
                </c:pt>
                <c:pt idx="127">
                  <c:v>361799.85714285716</c:v>
                </c:pt>
                <c:pt idx="128">
                  <c:v>357583.71428571426</c:v>
                </c:pt>
                <c:pt idx="129">
                  <c:v>354083.14285714284</c:v>
                </c:pt>
                <c:pt idx="130">
                  <c:v>352037.42857142858</c:v>
                </c:pt>
                <c:pt idx="131">
                  <c:v>350569.28571428574</c:v>
                </c:pt>
                <c:pt idx="132">
                  <c:v>348606.85714285716</c:v>
                </c:pt>
                <c:pt idx="133">
                  <c:v>342726.71428571426</c:v>
                </c:pt>
                <c:pt idx="134">
                  <c:v>331633.42857142858</c:v>
                </c:pt>
                <c:pt idx="135">
                  <c:v>319544</c:v>
                </c:pt>
                <c:pt idx="136">
                  <c:v>310494.14285714284</c:v>
                </c:pt>
                <c:pt idx="137">
                  <c:v>299707.85714285716</c:v>
                </c:pt>
                <c:pt idx="138">
                  <c:v>294998.71428571426</c:v>
                </c:pt>
                <c:pt idx="139">
                  <c:v>288290.14285714284</c:v>
                </c:pt>
                <c:pt idx="140">
                  <c:v>282983.71428571426</c:v>
                </c:pt>
                <c:pt idx="141">
                  <c:v>280460.28571428574</c:v>
                </c:pt>
                <c:pt idx="142">
                  <c:v>279132</c:v>
                </c:pt>
                <c:pt idx="143">
                  <c:v>275477.42857142858</c:v>
                </c:pt>
                <c:pt idx="144">
                  <c:v>273447.57142857142</c:v>
                </c:pt>
                <c:pt idx="145">
                  <c:v>270577.14285714284</c:v>
                </c:pt>
                <c:pt idx="146">
                  <c:v>264078.42857142858</c:v>
                </c:pt>
                <c:pt idx="147">
                  <c:v>256296.57142857142</c:v>
                </c:pt>
                <c:pt idx="148">
                  <c:v>246583.42857142858</c:v>
                </c:pt>
                <c:pt idx="149">
                  <c:v>234100.71428571429</c:v>
                </c:pt>
                <c:pt idx="150">
                  <c:v>224539</c:v>
                </c:pt>
                <c:pt idx="151">
                  <c:v>222764.85714285713</c:v>
                </c:pt>
                <c:pt idx="152">
                  <c:v>224797.71428571429</c:v>
                </c:pt>
                <c:pt idx="153">
                  <c:v>224157.85714285713</c:v>
                </c:pt>
                <c:pt idx="154">
                  <c:v>219436</c:v>
                </c:pt>
                <c:pt idx="155">
                  <c:v>214668.28571428571</c:v>
                </c:pt>
                <c:pt idx="156">
                  <c:v>209701.14285714287</c:v>
                </c:pt>
                <c:pt idx="157">
                  <c:v>204450.14285714287</c:v>
                </c:pt>
                <c:pt idx="158">
                  <c:v>197454.71428571429</c:v>
                </c:pt>
                <c:pt idx="159">
                  <c:v>192715.42857142858</c:v>
                </c:pt>
                <c:pt idx="160">
                  <c:v>185960.71428571429</c:v>
                </c:pt>
                <c:pt idx="161">
                  <c:v>176190.85714285713</c:v>
                </c:pt>
                <c:pt idx="162">
                  <c:v>166621.28571428571</c:v>
                </c:pt>
                <c:pt idx="163">
                  <c:v>155959.42857142858</c:v>
                </c:pt>
                <c:pt idx="164">
                  <c:v>144755.14285714287</c:v>
                </c:pt>
                <c:pt idx="165">
                  <c:v>133952.14285714287</c:v>
                </c:pt>
                <c:pt idx="166">
                  <c:v>129175.14285714286</c:v>
                </c:pt>
                <c:pt idx="167">
                  <c:v>110751.28571428571</c:v>
                </c:pt>
                <c:pt idx="168">
                  <c:v>108235.14285714286</c:v>
                </c:pt>
                <c:pt idx="169">
                  <c:v>102864</c:v>
                </c:pt>
                <c:pt idx="170">
                  <c:v>98055.142857142855</c:v>
                </c:pt>
                <c:pt idx="171">
                  <c:v>93427.28571428571</c:v>
                </c:pt>
                <c:pt idx="172">
                  <c:v>93512.571428571435</c:v>
                </c:pt>
                <c:pt idx="173">
                  <c:v>92577.857142857145</c:v>
                </c:pt>
                <c:pt idx="174">
                  <c:v>102190</c:v>
                </c:pt>
                <c:pt idx="175">
                  <c:v>96140.28571428571</c:v>
                </c:pt>
                <c:pt idx="176">
                  <c:v>93339</c:v>
                </c:pt>
                <c:pt idx="177">
                  <c:v>91196.857142857145</c:v>
                </c:pt>
                <c:pt idx="178">
                  <c:v>88608</c:v>
                </c:pt>
                <c:pt idx="179">
                  <c:v>86381</c:v>
                </c:pt>
                <c:pt idx="180">
                  <c:v>85868.428571428565</c:v>
                </c:pt>
                <c:pt idx="181">
                  <c:v>85456.71428571429</c:v>
                </c:pt>
                <c:pt idx="182">
                  <c:v>84681.857142857145</c:v>
                </c:pt>
                <c:pt idx="183">
                  <c:v>83081.28571428571</c:v>
                </c:pt>
                <c:pt idx="184">
                  <c:v>81237.28571428571</c:v>
                </c:pt>
                <c:pt idx="185">
                  <c:v>79301</c:v>
                </c:pt>
                <c:pt idx="186">
                  <c:v>76478.428571428565</c:v>
                </c:pt>
                <c:pt idx="187">
                  <c:v>75457.71428571429</c:v>
                </c:pt>
                <c:pt idx="188">
                  <c:v>71702.571428571435</c:v>
                </c:pt>
                <c:pt idx="189">
                  <c:v>68714.857142857145</c:v>
                </c:pt>
                <c:pt idx="190">
                  <c:v>66366.428571428565</c:v>
                </c:pt>
                <c:pt idx="191">
                  <c:v>64188</c:v>
                </c:pt>
                <c:pt idx="192">
                  <c:v>61955.857142857145</c:v>
                </c:pt>
                <c:pt idx="193">
                  <c:v>61167.571428571428</c:v>
                </c:pt>
                <c:pt idx="194">
                  <c:v>61287</c:v>
                </c:pt>
                <c:pt idx="195">
                  <c:v>60979.428571428572</c:v>
                </c:pt>
                <c:pt idx="196">
                  <c:v>59223.571428571428</c:v>
                </c:pt>
                <c:pt idx="197">
                  <c:v>57650.714285714283</c:v>
                </c:pt>
                <c:pt idx="198">
                  <c:v>55760</c:v>
                </c:pt>
                <c:pt idx="199">
                  <c:v>53560.571428571428</c:v>
                </c:pt>
                <c:pt idx="200">
                  <c:v>51434.857142857145</c:v>
                </c:pt>
                <c:pt idx="201">
                  <c:v>48293.142857142855</c:v>
                </c:pt>
                <c:pt idx="202">
                  <c:v>45251.285714285717</c:v>
                </c:pt>
                <c:pt idx="203">
                  <c:v>45451</c:v>
                </c:pt>
                <c:pt idx="204">
                  <c:v>44888.142857142855</c:v>
                </c:pt>
                <c:pt idx="205">
                  <c:v>44533.857142857145</c:v>
                </c:pt>
                <c:pt idx="206">
                  <c:v>44449</c:v>
                </c:pt>
                <c:pt idx="207">
                  <c:v>44974.142857142855</c:v>
                </c:pt>
                <c:pt idx="208">
                  <c:v>47247.571428571428</c:v>
                </c:pt>
                <c:pt idx="209">
                  <c:v>49819.142857142855</c:v>
                </c:pt>
                <c:pt idx="210">
                  <c:v>48154.428571428572</c:v>
                </c:pt>
                <c:pt idx="211">
                  <c:v>47498.428571428572</c:v>
                </c:pt>
                <c:pt idx="212">
                  <c:v>47208.857142857145</c:v>
                </c:pt>
                <c:pt idx="213">
                  <c:v>47225.428571428572</c:v>
                </c:pt>
                <c:pt idx="214">
                  <c:v>47457</c:v>
                </c:pt>
                <c:pt idx="215">
                  <c:v>47686.428571428572</c:v>
                </c:pt>
                <c:pt idx="216">
                  <c:v>47835.571428571428</c:v>
                </c:pt>
                <c:pt idx="217">
                  <c:v>48530.428571428572</c:v>
                </c:pt>
                <c:pt idx="218">
                  <c:v>49337</c:v>
                </c:pt>
                <c:pt idx="219">
                  <c:v>50134.857142857145</c:v>
                </c:pt>
                <c:pt idx="220">
                  <c:v>50797</c:v>
                </c:pt>
                <c:pt idx="221">
                  <c:v>50994.142857142855</c:v>
                </c:pt>
                <c:pt idx="222">
                  <c:v>50933.571428571428</c:v>
                </c:pt>
                <c:pt idx="223">
                  <c:v>51302.428571428572</c:v>
                </c:pt>
                <c:pt idx="224">
                  <c:v>51937.857142857145</c:v>
                </c:pt>
                <c:pt idx="225">
                  <c:v>52711</c:v>
                </c:pt>
                <c:pt idx="226">
                  <c:v>53094.285714285717</c:v>
                </c:pt>
                <c:pt idx="227">
                  <c:v>53602.571428571428</c:v>
                </c:pt>
                <c:pt idx="228">
                  <c:v>53871.428571428572</c:v>
                </c:pt>
                <c:pt idx="229">
                  <c:v>54317.571428571428</c:v>
                </c:pt>
                <c:pt idx="230">
                  <c:v>55004</c:v>
                </c:pt>
                <c:pt idx="231">
                  <c:v>55397.857142857145</c:v>
                </c:pt>
                <c:pt idx="232">
                  <c:v>55303.285714285717</c:v>
                </c:pt>
                <c:pt idx="233">
                  <c:v>55714.142857142855</c:v>
                </c:pt>
                <c:pt idx="234">
                  <c:v>56398.571428571428</c:v>
                </c:pt>
                <c:pt idx="235">
                  <c:v>56734.428571428572</c:v>
                </c:pt>
                <c:pt idx="236">
                  <c:v>57265</c:v>
                </c:pt>
                <c:pt idx="237">
                  <c:v>58021</c:v>
                </c:pt>
                <c:pt idx="238">
                  <c:v>58086.428571428572</c:v>
                </c:pt>
                <c:pt idx="239">
                  <c:v>57786.142857142855</c:v>
                </c:pt>
                <c:pt idx="240">
                  <c:v>58103.285714285717</c:v>
                </c:pt>
                <c:pt idx="241">
                  <c:v>58411.142857142855</c:v>
                </c:pt>
                <c:pt idx="242">
                  <c:v>60056.470932591707</c:v>
                </c:pt>
                <c:pt idx="243">
                  <c:v>63530.818099650955</c:v>
                </c:pt>
                <c:pt idx="244">
                  <c:v>64460.34562651813</c:v>
                </c:pt>
                <c:pt idx="245">
                  <c:v>65496.082268668069</c:v>
                </c:pt>
                <c:pt idx="246">
                  <c:v>67497.434270817248</c:v>
                </c:pt>
                <c:pt idx="247">
                  <c:v>68682.506360558531</c:v>
                </c:pt>
                <c:pt idx="248">
                  <c:v>68758.226058119108</c:v>
                </c:pt>
                <c:pt idx="249">
                  <c:v>69535.903629683497</c:v>
                </c:pt>
                <c:pt idx="250">
                  <c:v>69995.615608899723</c:v>
                </c:pt>
                <c:pt idx="251">
                  <c:v>70482.894523615279</c:v>
                </c:pt>
                <c:pt idx="252">
                  <c:v>70966.756112561692</c:v>
                </c:pt>
                <c:pt idx="253">
                  <c:v>71085.477611615192</c:v>
                </c:pt>
                <c:pt idx="254">
                  <c:v>71302.854340474514</c:v>
                </c:pt>
                <c:pt idx="255">
                  <c:v>71711.365633047055</c:v>
                </c:pt>
                <c:pt idx="256">
                  <c:v>71984.281163360385</c:v>
                </c:pt>
                <c:pt idx="257">
                  <c:v>72215.023459390868</c:v>
                </c:pt>
                <c:pt idx="258">
                  <c:v>72313.539093480576</c:v>
                </c:pt>
                <c:pt idx="259">
                  <c:v>72087.526412434876</c:v>
                </c:pt>
                <c:pt idx="260">
                  <c:v>71642.349149037691</c:v>
                </c:pt>
                <c:pt idx="261">
                  <c:v>71569.948902596327</c:v>
                </c:pt>
                <c:pt idx="262">
                  <c:v>71408.570239848326</c:v>
                </c:pt>
                <c:pt idx="263">
                  <c:v>72138.444811071662</c:v>
                </c:pt>
                <c:pt idx="264">
                  <c:v>74437.421198918353</c:v>
                </c:pt>
                <c:pt idx="265">
                  <c:v>74378.445008805822</c:v>
                </c:pt>
                <c:pt idx="266">
                  <c:v>74254.637317155095</c:v>
                </c:pt>
                <c:pt idx="267">
                  <c:v>74619.832124657929</c:v>
                </c:pt>
                <c:pt idx="268">
                  <c:v>74623.902427450885</c:v>
                </c:pt>
                <c:pt idx="269">
                  <c:v>73694.464732557535</c:v>
                </c:pt>
                <c:pt idx="270">
                  <c:v>74021.021088659763</c:v>
                </c:pt>
                <c:pt idx="271">
                  <c:v>74289.96055688709</c:v>
                </c:pt>
                <c:pt idx="272">
                  <c:v>74268.894750881402</c:v>
                </c:pt>
                <c:pt idx="273">
                  <c:v>74253.244714036584</c:v>
                </c:pt>
                <c:pt idx="274">
                  <c:v>74253.045770734549</c:v>
                </c:pt>
                <c:pt idx="275">
                  <c:v>74200.647720171939</c:v>
                </c:pt>
                <c:pt idx="276">
                  <c:v>74140.182761990596</c:v>
                </c:pt>
                <c:pt idx="277">
                  <c:v>74203.856766194105</c:v>
                </c:pt>
                <c:pt idx="278">
                  <c:v>74229.976148697941</c:v>
                </c:pt>
                <c:pt idx="279">
                  <c:v>92767.151797530911</c:v>
                </c:pt>
                <c:pt idx="280">
                  <c:v>123942.60561847899</c:v>
                </c:pt>
                <c:pt idx="281">
                  <c:v>156572.60196298998</c:v>
                </c:pt>
                <c:pt idx="282">
                  <c:v>189846.58025780428</c:v>
                </c:pt>
                <c:pt idx="283">
                  <c:v>220488.80903562796</c:v>
                </c:pt>
                <c:pt idx="284">
                  <c:v>246217.74206859831</c:v>
                </c:pt>
                <c:pt idx="285">
                  <c:v>274988.76872710563</c:v>
                </c:pt>
                <c:pt idx="286">
                  <c:v>287796.96334340639</c:v>
                </c:pt>
                <c:pt idx="287">
                  <c:v>288777.66627649113</c:v>
                </c:pt>
                <c:pt idx="288">
                  <c:v>291924.99524702557</c:v>
                </c:pt>
                <c:pt idx="289">
                  <c:v>293793.39523657941</c:v>
                </c:pt>
                <c:pt idx="290">
                  <c:v>295899.61271824263</c:v>
                </c:pt>
                <c:pt idx="291">
                  <c:v>295935.27811575681</c:v>
                </c:pt>
                <c:pt idx="292">
                  <c:v>300861.7327561687</c:v>
                </c:pt>
                <c:pt idx="293">
                  <c:v>271558.64332721167</c:v>
                </c:pt>
                <c:pt idx="294">
                  <c:v>288411.36955949024</c:v>
                </c:pt>
                <c:pt idx="295">
                  <c:v>303905.83493869856</c:v>
                </c:pt>
                <c:pt idx="296">
                  <c:v>320787.22055190697</c:v>
                </c:pt>
                <c:pt idx="297">
                  <c:v>333919.89623390883</c:v>
                </c:pt>
                <c:pt idx="298">
                  <c:v>341207.52845280088</c:v>
                </c:pt>
                <c:pt idx="299">
                  <c:v>349043.42210546561</c:v>
                </c:pt>
                <c:pt idx="300">
                  <c:v>389902.62115432107</c:v>
                </c:pt>
                <c:pt idx="301">
                  <c:v>387017.89524809271</c:v>
                </c:pt>
                <c:pt idx="302">
                  <c:v>381938.82026074297</c:v>
                </c:pt>
                <c:pt idx="303">
                  <c:v>377185.3857107205</c:v>
                </c:pt>
                <c:pt idx="304">
                  <c:v>369276.63871073723</c:v>
                </c:pt>
                <c:pt idx="305">
                  <c:v>365253.70419893839</c:v>
                </c:pt>
                <c:pt idx="306">
                  <c:v>364288.31539489009</c:v>
                </c:pt>
                <c:pt idx="307">
                  <c:v>348420.45323134318</c:v>
                </c:pt>
                <c:pt idx="308">
                  <c:v>331787.1681348256</c:v>
                </c:pt>
                <c:pt idx="309">
                  <c:v>318563.63209163077</c:v>
                </c:pt>
                <c:pt idx="310">
                  <c:v>303249.16716994025</c:v>
                </c:pt>
                <c:pt idx="311">
                  <c:v>286552.89130423218</c:v>
                </c:pt>
                <c:pt idx="312">
                  <c:v>266729.6790035165</c:v>
                </c:pt>
                <c:pt idx="313">
                  <c:v>248214.30457060464</c:v>
                </c:pt>
                <c:pt idx="314">
                  <c:v>250138.51899393648</c:v>
                </c:pt>
                <c:pt idx="315">
                  <c:v>248144.08923080776</c:v>
                </c:pt>
                <c:pt idx="316">
                  <c:v>245822.49123275813</c:v>
                </c:pt>
                <c:pt idx="317">
                  <c:v>245131.44821983684</c:v>
                </c:pt>
                <c:pt idx="318">
                  <c:v>244959.03471950229</c:v>
                </c:pt>
                <c:pt idx="319">
                  <c:v>245981.55557248954</c:v>
                </c:pt>
                <c:pt idx="320">
                  <c:v>247448.1795873376</c:v>
                </c:pt>
                <c:pt idx="321">
                  <c:v>249623.36621013709</c:v>
                </c:pt>
                <c:pt idx="322">
                  <c:v>254442.86986755047</c:v>
                </c:pt>
                <c:pt idx="323">
                  <c:v>259314.93160545506</c:v>
                </c:pt>
                <c:pt idx="324">
                  <c:v>262552.82256277971</c:v>
                </c:pt>
                <c:pt idx="325">
                  <c:v>264359.40634238505</c:v>
                </c:pt>
                <c:pt idx="326">
                  <c:v>263723.28524973348</c:v>
                </c:pt>
                <c:pt idx="327">
                  <c:v>260927.4114995439</c:v>
                </c:pt>
                <c:pt idx="328">
                  <c:v>256732.21044414383</c:v>
                </c:pt>
                <c:pt idx="329">
                  <c:v>250869.60742655609</c:v>
                </c:pt>
                <c:pt idx="330">
                  <c:v>241544.83724722799</c:v>
                </c:pt>
                <c:pt idx="331">
                  <c:v>234697.81077768546</c:v>
                </c:pt>
                <c:pt idx="332">
                  <c:v>233934.04835736431</c:v>
                </c:pt>
                <c:pt idx="333">
                  <c:v>235658.59691664789</c:v>
                </c:pt>
                <c:pt idx="334">
                  <c:v>234195.03180784095</c:v>
                </c:pt>
                <c:pt idx="335">
                  <c:v>229878.44631106727</c:v>
                </c:pt>
                <c:pt idx="336">
                  <c:v>224920.03898185171</c:v>
                </c:pt>
                <c:pt idx="337">
                  <c:v>220245.69620811832</c:v>
                </c:pt>
                <c:pt idx="338">
                  <c:v>215914.78929232698</c:v>
                </c:pt>
                <c:pt idx="339">
                  <c:v>209393.81833523512</c:v>
                </c:pt>
                <c:pt idx="340">
                  <c:v>204978.79049329992</c:v>
                </c:pt>
                <c:pt idx="341">
                  <c:v>199654.97853690066</c:v>
                </c:pt>
                <c:pt idx="342">
                  <c:v>192332.14742268514</c:v>
                </c:pt>
                <c:pt idx="343">
                  <c:v>185500.97185087524</c:v>
                </c:pt>
                <c:pt idx="344">
                  <c:v>177280.6190933894</c:v>
                </c:pt>
                <c:pt idx="345">
                  <c:v>167908.01817904093</c:v>
                </c:pt>
                <c:pt idx="346">
                  <c:v>159807.6594077551</c:v>
                </c:pt>
                <c:pt idx="347">
                  <c:v>156417.51646505296</c:v>
                </c:pt>
                <c:pt idx="348">
                  <c:v>144209.5536079577</c:v>
                </c:pt>
                <c:pt idx="349">
                  <c:v>142740.14869361903</c:v>
                </c:pt>
                <c:pt idx="350">
                  <c:v>138956.37542211902</c:v>
                </c:pt>
                <c:pt idx="351">
                  <c:v>135960.27993637961</c:v>
                </c:pt>
                <c:pt idx="352">
                  <c:v>133679.83803639773</c:v>
                </c:pt>
                <c:pt idx="353">
                  <c:v>134633.53299357105</c:v>
                </c:pt>
                <c:pt idx="354">
                  <c:v>134217.51676501441</c:v>
                </c:pt>
                <c:pt idx="355">
                  <c:v>140280.89767929379</c:v>
                </c:pt>
                <c:pt idx="356">
                  <c:v>135896.45926499579</c:v>
                </c:pt>
                <c:pt idx="357">
                  <c:v>134400.21907927416</c:v>
                </c:pt>
                <c:pt idx="358">
                  <c:v>133304.28327927418</c:v>
                </c:pt>
                <c:pt idx="359">
                  <c:v>131606.98712213762</c:v>
                </c:pt>
                <c:pt idx="360">
                  <c:v>130414.27749357054</c:v>
                </c:pt>
                <c:pt idx="361">
                  <c:v>130398.56565071324</c:v>
                </c:pt>
                <c:pt idx="362">
                  <c:v>130039.69603642503</c:v>
                </c:pt>
                <c:pt idx="363">
                  <c:v>129420.81627927933</c:v>
                </c:pt>
                <c:pt idx="364">
                  <c:v>127776.35640785204</c:v>
                </c:pt>
                <c:pt idx="365">
                  <c:v>126049.86125071028</c:v>
                </c:pt>
                <c:pt idx="366">
                  <c:v>124296.25273642477</c:v>
                </c:pt>
                <c:pt idx="367">
                  <c:v>121770.67827928279</c:v>
                </c:pt>
                <c:pt idx="368">
                  <c:v>120729.10823642356</c:v>
                </c:pt>
                <c:pt idx="369">
                  <c:v>117110.37883642528</c:v>
                </c:pt>
                <c:pt idx="370">
                  <c:v>114562.55752213832</c:v>
                </c:pt>
                <c:pt idx="371">
                  <c:v>112530.72425070938</c:v>
                </c:pt>
                <c:pt idx="372">
                  <c:v>110677.56105071094</c:v>
                </c:pt>
                <c:pt idx="373">
                  <c:v>108794.92076499654</c:v>
                </c:pt>
                <c:pt idx="374">
                  <c:v>108073.42737927927</c:v>
                </c:pt>
                <c:pt idx="375">
                  <c:v>107974.56790785279</c:v>
                </c:pt>
                <c:pt idx="376">
                  <c:v>108204.68383642392</c:v>
                </c:pt>
                <c:pt idx="377">
                  <c:v>106913.5318649954</c:v>
                </c:pt>
                <c:pt idx="378">
                  <c:v>105693.70887927923</c:v>
                </c:pt>
                <c:pt idx="379">
                  <c:v>104333.86973642239</c:v>
                </c:pt>
                <c:pt idx="380">
                  <c:v>102847.6406364228</c:v>
                </c:pt>
                <c:pt idx="381">
                  <c:v>101494.61459356653</c:v>
                </c:pt>
                <c:pt idx="382">
                  <c:v>99787.029264992903</c:v>
                </c:pt>
                <c:pt idx="383">
                  <c:v>98101.273664992841</c:v>
                </c:pt>
                <c:pt idx="384">
                  <c:v>98566.789150708486</c:v>
                </c:pt>
                <c:pt idx="385">
                  <c:v>98577.078322138099</c:v>
                </c:pt>
                <c:pt idx="386">
                  <c:v>98611.699993565679</c:v>
                </c:pt>
                <c:pt idx="387">
                  <c:v>98765.203307851087</c:v>
                </c:pt>
                <c:pt idx="388">
                  <c:v>99161.058322135897</c:v>
                </c:pt>
                <c:pt idx="389">
                  <c:v>100324.84703642342</c:v>
                </c:pt>
                <c:pt idx="390">
                  <c:v>102007.82177927878</c:v>
                </c:pt>
                <c:pt idx="391">
                  <c:v>100642.42092213567</c:v>
                </c:pt>
                <c:pt idx="392">
                  <c:v>100104.88123642335</c:v>
                </c:pt>
                <c:pt idx="393">
                  <c:v>99628.798493564129</c:v>
                </c:pt>
                <c:pt idx="394">
                  <c:v>99228.911236421336</c:v>
                </c:pt>
                <c:pt idx="395">
                  <c:v>99140.062850708404</c:v>
                </c:pt>
                <c:pt idx="396">
                  <c:v>99168.149507851471</c:v>
                </c:pt>
                <c:pt idx="397">
                  <c:v>93345.728636423388</c:v>
                </c:pt>
                <c:pt idx="398">
                  <c:v>87837.961750709583</c:v>
                </c:pt>
                <c:pt idx="399">
                  <c:v>82350.634164993258</c:v>
                </c:pt>
                <c:pt idx="400">
                  <c:v>76836.471307851374</c:v>
                </c:pt>
                <c:pt idx="401">
                  <c:v>71115.829807852002</c:v>
                </c:pt>
                <c:pt idx="402">
                  <c:v>65326.22305070822</c:v>
                </c:pt>
                <c:pt idx="403">
                  <c:v>59267.985493564178</c:v>
                </c:pt>
                <c:pt idx="404">
                  <c:v>58513.677993565798</c:v>
                </c:pt>
                <c:pt idx="405">
                  <c:v>58177.333322135462</c:v>
                </c:pt>
                <c:pt idx="406">
                  <c:v>57809.982093565166</c:v>
                </c:pt>
                <c:pt idx="407">
                  <c:v>57378.393064993834</c:v>
                </c:pt>
                <c:pt idx="408">
                  <c:v>57078.894750707914</c:v>
                </c:pt>
                <c:pt idx="409">
                  <c:v>56936.097736422504</c:v>
                </c:pt>
                <c:pt idx="410">
                  <c:v>57237.542650708128</c:v>
                </c:pt>
                <c:pt idx="411">
                  <c:v>57333.899350709151</c:v>
                </c:pt>
                <c:pt idx="412">
                  <c:v>57155.646407853281</c:v>
                </c:pt>
                <c:pt idx="413">
                  <c:v>56924.279093564619</c:v>
                </c:pt>
                <c:pt idx="414">
                  <c:v>57010.346622137084</c:v>
                </c:pt>
                <c:pt idx="415">
                  <c:v>57146.191493565486</c:v>
                </c:pt>
                <c:pt idx="416">
                  <c:v>57259.09429356669</c:v>
                </c:pt>
                <c:pt idx="417">
                  <c:v>57555.533664996074</c:v>
                </c:pt>
                <c:pt idx="418">
                  <c:v>58169.268836421623</c:v>
                </c:pt>
                <c:pt idx="419">
                  <c:v>58473.355564992344</c:v>
                </c:pt>
                <c:pt idx="420">
                  <c:v>58666.625136423325</c:v>
                </c:pt>
                <c:pt idx="421">
                  <c:v>59047.463522136211</c:v>
                </c:pt>
                <c:pt idx="422">
                  <c:v>59527.161379278768</c:v>
                </c:pt>
                <c:pt idx="423">
                  <c:v>60331.644991031717</c:v>
                </c:pt>
                <c:pt idx="424">
                  <c:v>61165.655484066476</c:v>
                </c:pt>
                <c:pt idx="425">
                  <c:v>62132.285720634674</c:v>
                </c:pt>
                <c:pt idx="426">
                  <c:v>63275.512002632022</c:v>
                </c:pt>
                <c:pt idx="427">
                  <c:v>64817.535258545409</c:v>
                </c:pt>
                <c:pt idx="428">
                  <c:v>65966.486211742667</c:v>
                </c:pt>
                <c:pt idx="429">
                  <c:v>67071.907108522952</c:v>
                </c:pt>
                <c:pt idx="430">
                  <c:v>67467.953496030401</c:v>
                </c:pt>
                <c:pt idx="431">
                  <c:v>67616.816402675846</c:v>
                </c:pt>
                <c:pt idx="432">
                  <c:v>68113.7954707795</c:v>
                </c:pt>
                <c:pt idx="433">
                  <c:v>68601.846942243836</c:v>
                </c:pt>
                <c:pt idx="434">
                  <c:v>68717.645446892289</c:v>
                </c:pt>
                <c:pt idx="435">
                  <c:v>68987.485017769039</c:v>
                </c:pt>
                <c:pt idx="436">
                  <c:v>69452.31964699924</c:v>
                </c:pt>
                <c:pt idx="437">
                  <c:v>69647.394302680026</c:v>
                </c:pt>
                <c:pt idx="438">
                  <c:v>69842.895058423281</c:v>
                </c:pt>
                <c:pt idx="439">
                  <c:v>69948.198752920536</c:v>
                </c:pt>
                <c:pt idx="440">
                  <c:v>69735.740170787481</c:v>
                </c:pt>
                <c:pt idx="441">
                  <c:v>69308.598782560657</c:v>
                </c:pt>
                <c:pt idx="442">
                  <c:v>69245.124518170953</c:v>
                </c:pt>
                <c:pt idx="443">
                  <c:v>69087.722717587443</c:v>
                </c:pt>
                <c:pt idx="444">
                  <c:v>69788.125898730548</c:v>
                </c:pt>
                <c:pt idx="445">
                  <c:v>72024.388776697218</c:v>
                </c:pt>
                <c:pt idx="446">
                  <c:v>71969.620679200758</c:v>
                </c:pt>
                <c:pt idx="447">
                  <c:v>71850.782795618681</c:v>
                </c:pt>
                <c:pt idx="448">
                  <c:v>72207.054556229283</c:v>
                </c:pt>
                <c:pt idx="449">
                  <c:v>72211.083552437165</c:v>
                </c:pt>
                <c:pt idx="450">
                  <c:v>71305.539853786788</c:v>
                </c:pt>
                <c:pt idx="451">
                  <c:v>71622.370873243679</c:v>
                </c:pt>
                <c:pt idx="452">
                  <c:v>71884.405869603157</c:v>
                </c:pt>
                <c:pt idx="453">
                  <c:v>71864.408311445804</c:v>
                </c:pt>
                <c:pt idx="454">
                  <c:v>71849.377973194627</c:v>
                </c:pt>
                <c:pt idx="455">
                  <c:v>71849.177284276913</c:v>
                </c:pt>
                <c:pt idx="456">
                  <c:v>71798.05195971152</c:v>
                </c:pt>
                <c:pt idx="457">
                  <c:v>71739.04744646592</c:v>
                </c:pt>
                <c:pt idx="458">
                  <c:v>71800.977102562785</c:v>
                </c:pt>
                <c:pt idx="459">
                  <c:v>71826.492278179954</c:v>
                </c:pt>
                <c:pt idx="460">
                  <c:v>71818.218907978924</c:v>
                </c:pt>
                <c:pt idx="461">
                  <c:v>71811.620421766173</c:v>
                </c:pt>
                <c:pt idx="462">
                  <c:v>71806.226485849489</c:v>
                </c:pt>
                <c:pt idx="463">
                  <c:v>71800.090657502413</c:v>
                </c:pt>
                <c:pt idx="464">
                  <c:v>71800.381900045482</c:v>
                </c:pt>
                <c:pt idx="465">
                  <c:v>71809.1439648409</c:v>
                </c:pt>
                <c:pt idx="466">
                  <c:v>71810.310659452211</c:v>
                </c:pt>
                <c:pt idx="467">
                  <c:v>71807.998999632895</c:v>
                </c:pt>
                <c:pt idx="468">
                  <c:v>71806.539012727997</c:v>
                </c:pt>
                <c:pt idx="469">
                  <c:v>71805.813097150196</c:v>
                </c:pt>
                <c:pt idx="470">
                  <c:v>71805.754041620661</c:v>
                </c:pt>
                <c:pt idx="471">
                  <c:v>71806.563096495607</c:v>
                </c:pt>
                <c:pt idx="472">
                  <c:v>71807.446124561131</c:v>
                </c:pt>
                <c:pt idx="473">
                  <c:v>71807.203575948515</c:v>
                </c:pt>
                <c:pt idx="474">
                  <c:v>71806.759706875047</c:v>
                </c:pt>
                <c:pt idx="475">
                  <c:v>71806.582665053866</c:v>
                </c:pt>
                <c:pt idx="476">
                  <c:v>71806.588901100418</c:v>
                </c:pt>
                <c:pt idx="477">
                  <c:v>71806.699730236622</c:v>
                </c:pt>
                <c:pt idx="478">
                  <c:v>71806.834828607738</c:v>
                </c:pt>
                <c:pt idx="479">
                  <c:v>71806.873647483328</c:v>
                </c:pt>
                <c:pt idx="480">
                  <c:v>71806.791865044404</c:v>
                </c:pt>
                <c:pt idx="481">
                  <c:v>71806.733049202172</c:v>
                </c:pt>
                <c:pt idx="482">
                  <c:v>71806.729240960311</c:v>
                </c:pt>
                <c:pt idx="483">
                  <c:v>71806.750180376432</c:v>
                </c:pt>
                <c:pt idx="484">
                  <c:v>71806.773220272997</c:v>
                </c:pt>
                <c:pt idx="485">
                  <c:v>71806.783718849925</c:v>
                </c:pt>
                <c:pt idx="486">
                  <c:v>71806.776417454443</c:v>
                </c:pt>
                <c:pt idx="487">
                  <c:v>71806.762527450919</c:v>
                </c:pt>
                <c:pt idx="488">
                  <c:v>71806.758336367348</c:v>
                </c:pt>
                <c:pt idx="489">
                  <c:v>71806.761948819665</c:v>
                </c:pt>
                <c:pt idx="490">
                  <c:v>71806.76662136933</c:v>
                </c:pt>
                <c:pt idx="491">
                  <c:v>71806.768970083984</c:v>
                </c:pt>
                <c:pt idx="492">
                  <c:v>71806.768362913819</c:v>
                </c:pt>
                <c:pt idx="493">
                  <c:v>71806.766169208495</c:v>
                </c:pt>
                <c:pt idx="494">
                  <c:v>66608.310624461083</c:v>
                </c:pt>
                <c:pt idx="495">
                  <c:v>61409.856854848564</c:v>
                </c:pt>
                <c:pt idx="496">
                  <c:v>56211.403728409539</c:v>
                </c:pt>
                <c:pt idx="497">
                  <c:v>51012.950222229316</c:v>
                </c:pt>
                <c:pt idx="498">
                  <c:v>45814.496130617605</c:v>
                </c:pt>
                <c:pt idx="499">
                  <c:v>40616.041701918199</c:v>
                </c:pt>
                <c:pt idx="500">
                  <c:v>35417.587310246061</c:v>
                </c:pt>
                <c:pt idx="501">
                  <c:v>35417.5872682482</c:v>
                </c:pt>
                <c:pt idx="502">
                  <c:v>35417.587429402127</c:v>
                </c:pt>
                <c:pt idx="503">
                  <c:v>35417.58756913351</c:v>
                </c:pt>
                <c:pt idx="504">
                  <c:v>35417.587592501724</c:v>
                </c:pt>
                <c:pt idx="505">
                  <c:v>35417.587537131141</c:v>
                </c:pt>
                <c:pt idx="506">
                  <c:v>35417.587475410532</c:v>
                </c:pt>
                <c:pt idx="507">
                  <c:v>35417.587454580833</c:v>
                </c:pt>
                <c:pt idx="508">
                  <c:v>35417.587475201915</c:v>
                </c:pt>
                <c:pt idx="509">
                  <c:v>35417.587504765819</c:v>
                </c:pt>
                <c:pt idx="510">
                  <c:v>35417.58751553297</c:v>
                </c:pt>
                <c:pt idx="511">
                  <c:v>35417.587507874836</c:v>
                </c:pt>
                <c:pt idx="512">
                  <c:v>35417.587495785738</c:v>
                </c:pt>
                <c:pt idx="513">
                  <c:v>35417.58748987849</c:v>
                </c:pt>
                <c:pt idx="514">
                  <c:v>35417.587491947626</c:v>
                </c:pt>
                <c:pt idx="515">
                  <c:v>35417.587497284367</c:v>
                </c:pt>
                <c:pt idx="516">
                  <c:v>35417.587500439156</c:v>
                </c:pt>
                <c:pt idx="517">
                  <c:v>35417.587499821828</c:v>
                </c:pt>
                <c:pt idx="518">
                  <c:v>35417.587497577071</c:v>
                </c:pt>
                <c:pt idx="519">
                  <c:v>35417.587496106113</c:v>
                </c:pt>
                <c:pt idx="520">
                  <c:v>35417.587496150816</c:v>
                </c:pt>
                <c:pt idx="521">
                  <c:v>35417.587497044886</c:v>
                </c:pt>
                <c:pt idx="522">
                  <c:v>35417.587497772918</c:v>
                </c:pt>
                <c:pt idx="523">
                  <c:v>35417.587497845292</c:v>
                </c:pt>
                <c:pt idx="524">
                  <c:v>35417.587497470631</c:v>
                </c:pt>
                <c:pt idx="525">
                  <c:v>35417.587497136425</c:v>
                </c:pt>
                <c:pt idx="526">
                  <c:v>35417.587497074688</c:v>
                </c:pt>
                <c:pt idx="527">
                  <c:v>35417.587497213055</c:v>
                </c:pt>
                <c:pt idx="528">
                  <c:v>35417.587497366323</c:v>
                </c:pt>
                <c:pt idx="529">
                  <c:v>35417.587497413158</c:v>
                </c:pt>
                <c:pt idx="530">
                  <c:v>35417.587497359942</c:v>
                </c:pt>
                <c:pt idx="531">
                  <c:v>35417.587497291817</c:v>
                </c:pt>
                <c:pt idx="532">
                  <c:v>35417.587497266279</c:v>
                </c:pt>
                <c:pt idx="533">
                  <c:v>35417.587497283304</c:v>
                </c:pt>
                <c:pt idx="534">
                  <c:v>35417.587497315239</c:v>
                </c:pt>
                <c:pt idx="535">
                  <c:v>35417.587497328008</c:v>
                </c:pt>
                <c:pt idx="536">
                  <c:v>35417.58749732162</c:v>
                </c:pt>
                <c:pt idx="537">
                  <c:v>35417.58749730885</c:v>
                </c:pt>
                <c:pt idx="538">
                  <c:v>35417.587497302462</c:v>
                </c:pt>
                <c:pt idx="539">
                  <c:v>35417.587497304594</c:v>
                </c:pt>
                <c:pt idx="540">
                  <c:v>35417.58749730885</c:v>
                </c:pt>
                <c:pt idx="541">
                  <c:v>35417.587497310982</c:v>
                </c:pt>
                <c:pt idx="542">
                  <c:v>35417.587497313107</c:v>
                </c:pt>
                <c:pt idx="543">
                  <c:v>35417.587497310982</c:v>
                </c:pt>
                <c:pt idx="544">
                  <c:v>35417.58749730885</c:v>
                </c:pt>
                <c:pt idx="545">
                  <c:v>35417.58749730885</c:v>
                </c:pt>
                <c:pt idx="546">
                  <c:v>35417.587497306718</c:v>
                </c:pt>
                <c:pt idx="547">
                  <c:v>35417.58749730885</c:v>
                </c:pt>
                <c:pt idx="548">
                  <c:v>35417.587497310982</c:v>
                </c:pt>
                <c:pt idx="549">
                  <c:v>35417.58749730885</c:v>
                </c:pt>
                <c:pt idx="550">
                  <c:v>35417.58749730885</c:v>
                </c:pt>
                <c:pt idx="551">
                  <c:v>35417.58749730885</c:v>
                </c:pt>
                <c:pt idx="552">
                  <c:v>35417.58749730885</c:v>
                </c:pt>
                <c:pt idx="553">
                  <c:v>35417.587497310982</c:v>
                </c:pt>
                <c:pt idx="554">
                  <c:v>35417.587497310982</c:v>
                </c:pt>
                <c:pt idx="555">
                  <c:v>35417.58749730885</c:v>
                </c:pt>
                <c:pt idx="556">
                  <c:v>35417.58749730885</c:v>
                </c:pt>
                <c:pt idx="557">
                  <c:v>35417.58749730885</c:v>
                </c:pt>
                <c:pt idx="558">
                  <c:v>35417.58749730885</c:v>
                </c:pt>
                <c:pt idx="559">
                  <c:v>35417.58749730885</c:v>
                </c:pt>
                <c:pt idx="560">
                  <c:v>35417.58749730885</c:v>
                </c:pt>
                <c:pt idx="561">
                  <c:v>35417.58749730885</c:v>
                </c:pt>
                <c:pt idx="562">
                  <c:v>35417.58749730885</c:v>
                </c:pt>
                <c:pt idx="563">
                  <c:v>35417.58749730885</c:v>
                </c:pt>
                <c:pt idx="564">
                  <c:v>35417.58749730885</c:v>
                </c:pt>
                <c:pt idx="565">
                  <c:v>35417.58749730885</c:v>
                </c:pt>
                <c:pt idx="566">
                  <c:v>35417.587497306718</c:v>
                </c:pt>
                <c:pt idx="567">
                  <c:v>35417.58749730885</c:v>
                </c:pt>
                <c:pt idx="568">
                  <c:v>35417.58749730885</c:v>
                </c:pt>
                <c:pt idx="569">
                  <c:v>35417.58749730885</c:v>
                </c:pt>
                <c:pt idx="570">
                  <c:v>35417.58749730885</c:v>
                </c:pt>
                <c:pt idx="571">
                  <c:v>35417.58749730885</c:v>
                </c:pt>
                <c:pt idx="572">
                  <c:v>35417.587497306718</c:v>
                </c:pt>
                <c:pt idx="573">
                  <c:v>35417.58749730885</c:v>
                </c:pt>
                <c:pt idx="574">
                  <c:v>35417.587497306718</c:v>
                </c:pt>
                <c:pt idx="575">
                  <c:v>35417.587497306718</c:v>
                </c:pt>
                <c:pt idx="576">
                  <c:v>35417.587497306718</c:v>
                </c:pt>
                <c:pt idx="577">
                  <c:v>35417.587497306718</c:v>
                </c:pt>
                <c:pt idx="578">
                  <c:v>35417.587497306718</c:v>
                </c:pt>
                <c:pt idx="579">
                  <c:v>35417.58749730885</c:v>
                </c:pt>
                <c:pt idx="580">
                  <c:v>35417.58749730885</c:v>
                </c:pt>
                <c:pt idx="581">
                  <c:v>35417.58749730885</c:v>
                </c:pt>
                <c:pt idx="582">
                  <c:v>35417.587497310982</c:v>
                </c:pt>
                <c:pt idx="583">
                  <c:v>35417.58749730885</c:v>
                </c:pt>
                <c:pt idx="584">
                  <c:v>35417.58749730885</c:v>
                </c:pt>
                <c:pt idx="585">
                  <c:v>35417.58749730885</c:v>
                </c:pt>
                <c:pt idx="586">
                  <c:v>35417.58749730885</c:v>
                </c:pt>
                <c:pt idx="587">
                  <c:v>35417.58749730885</c:v>
                </c:pt>
                <c:pt idx="588">
                  <c:v>35417.58749730885</c:v>
                </c:pt>
                <c:pt idx="589">
                  <c:v>35417.587497306718</c:v>
                </c:pt>
                <c:pt idx="590">
                  <c:v>35417.58749730885</c:v>
                </c:pt>
                <c:pt idx="591">
                  <c:v>35417.58749730885</c:v>
                </c:pt>
                <c:pt idx="592">
                  <c:v>35417.58749730885</c:v>
                </c:pt>
                <c:pt idx="593">
                  <c:v>35417.58749730885</c:v>
                </c:pt>
                <c:pt idx="594">
                  <c:v>35417.58749730885</c:v>
                </c:pt>
                <c:pt idx="595">
                  <c:v>35417.58749730885</c:v>
                </c:pt>
                <c:pt idx="596">
                  <c:v>35417.58749730885</c:v>
                </c:pt>
                <c:pt idx="597">
                  <c:v>35417.58749730885</c:v>
                </c:pt>
                <c:pt idx="598">
                  <c:v>35417.58749730885</c:v>
                </c:pt>
                <c:pt idx="599">
                  <c:v>35417.58749730885</c:v>
                </c:pt>
                <c:pt idx="600">
                  <c:v>35417.587497306718</c:v>
                </c:pt>
                <c:pt idx="601">
                  <c:v>35417.58749730885</c:v>
                </c:pt>
                <c:pt idx="602">
                  <c:v>35417.587497306718</c:v>
                </c:pt>
                <c:pt idx="603">
                  <c:v>35417.587497306718</c:v>
                </c:pt>
                <c:pt idx="604">
                  <c:v>35417.58749730885</c:v>
                </c:pt>
                <c:pt idx="605">
                  <c:v>35417.58749730885</c:v>
                </c:pt>
                <c:pt idx="606">
                  <c:v>35417.587497306718</c:v>
                </c:pt>
                <c:pt idx="607">
                  <c:v>35417.587497310982</c:v>
                </c:pt>
                <c:pt idx="608">
                  <c:v>35417.587497306718</c:v>
                </c:pt>
                <c:pt idx="609">
                  <c:v>35417.58749730885</c:v>
                </c:pt>
                <c:pt idx="610">
                  <c:v>35417.58749730885</c:v>
                </c:pt>
                <c:pt idx="611">
                  <c:v>35417.587497306718</c:v>
                </c:pt>
                <c:pt idx="612">
                  <c:v>35417.587497306718</c:v>
                </c:pt>
                <c:pt idx="613">
                  <c:v>35417.587497310982</c:v>
                </c:pt>
                <c:pt idx="614">
                  <c:v>35417.587497306718</c:v>
                </c:pt>
                <c:pt idx="615">
                  <c:v>35417.587497310982</c:v>
                </c:pt>
                <c:pt idx="616">
                  <c:v>35417.58749730885</c:v>
                </c:pt>
                <c:pt idx="617">
                  <c:v>35417.58749730885</c:v>
                </c:pt>
                <c:pt idx="618">
                  <c:v>35417.58749730885</c:v>
                </c:pt>
                <c:pt idx="619">
                  <c:v>35417.58749730885</c:v>
                </c:pt>
                <c:pt idx="620">
                  <c:v>35417.587497306718</c:v>
                </c:pt>
                <c:pt idx="621">
                  <c:v>35417.58749730885</c:v>
                </c:pt>
                <c:pt idx="622">
                  <c:v>35417.587497306718</c:v>
                </c:pt>
                <c:pt idx="623">
                  <c:v>35417.58749730885</c:v>
                </c:pt>
                <c:pt idx="624">
                  <c:v>35417.58749730885</c:v>
                </c:pt>
                <c:pt idx="625">
                  <c:v>35417.587497306718</c:v>
                </c:pt>
                <c:pt idx="626">
                  <c:v>35417.58749730885</c:v>
                </c:pt>
                <c:pt idx="627">
                  <c:v>35417.58749730885</c:v>
                </c:pt>
                <c:pt idx="628">
                  <c:v>35417.58749730885</c:v>
                </c:pt>
                <c:pt idx="629">
                  <c:v>35417.58749730885</c:v>
                </c:pt>
                <c:pt idx="630">
                  <c:v>35417.58749730885</c:v>
                </c:pt>
                <c:pt idx="631">
                  <c:v>35417.587497306718</c:v>
                </c:pt>
                <c:pt idx="632">
                  <c:v>35417.587497310982</c:v>
                </c:pt>
                <c:pt idx="633">
                  <c:v>35417.587497306718</c:v>
                </c:pt>
                <c:pt idx="634">
                  <c:v>35417.58749730885</c:v>
                </c:pt>
                <c:pt idx="635">
                  <c:v>35417.58749730885</c:v>
                </c:pt>
                <c:pt idx="636">
                  <c:v>35417.58749730885</c:v>
                </c:pt>
                <c:pt idx="637">
                  <c:v>35417.58749730885</c:v>
                </c:pt>
                <c:pt idx="638">
                  <c:v>35417.587497310982</c:v>
                </c:pt>
                <c:pt idx="639">
                  <c:v>35417.587497306718</c:v>
                </c:pt>
                <c:pt idx="640">
                  <c:v>35417.587497310982</c:v>
                </c:pt>
                <c:pt idx="641">
                  <c:v>35417.587497306718</c:v>
                </c:pt>
                <c:pt idx="642">
                  <c:v>35417.58749730885</c:v>
                </c:pt>
                <c:pt idx="643">
                  <c:v>35417.587497306718</c:v>
                </c:pt>
                <c:pt idx="644">
                  <c:v>35417.587497306718</c:v>
                </c:pt>
                <c:pt idx="645">
                  <c:v>35417.587497306718</c:v>
                </c:pt>
                <c:pt idx="646">
                  <c:v>35417.58749730885</c:v>
                </c:pt>
                <c:pt idx="647">
                  <c:v>35417.587497306718</c:v>
                </c:pt>
                <c:pt idx="648">
                  <c:v>35417.58749730885</c:v>
                </c:pt>
                <c:pt idx="649">
                  <c:v>35417.587497306718</c:v>
                </c:pt>
                <c:pt idx="650">
                  <c:v>35417.58749730885</c:v>
                </c:pt>
                <c:pt idx="651">
                  <c:v>35417.58749730885</c:v>
                </c:pt>
                <c:pt idx="652">
                  <c:v>35417.58749730885</c:v>
                </c:pt>
                <c:pt idx="653">
                  <c:v>35417.58749730885</c:v>
                </c:pt>
                <c:pt idx="654">
                  <c:v>35417.58749730885</c:v>
                </c:pt>
                <c:pt idx="655">
                  <c:v>35417.58749730885</c:v>
                </c:pt>
                <c:pt idx="656">
                  <c:v>35417.58749730885</c:v>
                </c:pt>
                <c:pt idx="657">
                  <c:v>35417.58749730885</c:v>
                </c:pt>
                <c:pt idx="658">
                  <c:v>35417.58749730885</c:v>
                </c:pt>
                <c:pt idx="659">
                  <c:v>35417.58749730885</c:v>
                </c:pt>
                <c:pt idx="660">
                  <c:v>35417.58749730885</c:v>
                </c:pt>
                <c:pt idx="661">
                  <c:v>35417.58749730885</c:v>
                </c:pt>
                <c:pt idx="662">
                  <c:v>35417.58749730885</c:v>
                </c:pt>
                <c:pt idx="663">
                  <c:v>35417.58749730885</c:v>
                </c:pt>
                <c:pt idx="664">
                  <c:v>35417.587497306718</c:v>
                </c:pt>
                <c:pt idx="665">
                  <c:v>35417.58749730885</c:v>
                </c:pt>
                <c:pt idx="666">
                  <c:v>35417.587497306718</c:v>
                </c:pt>
                <c:pt idx="667">
                  <c:v>35417.58749730885</c:v>
                </c:pt>
                <c:pt idx="668">
                  <c:v>35417.587497306718</c:v>
                </c:pt>
                <c:pt idx="669">
                  <c:v>35417.587497306718</c:v>
                </c:pt>
                <c:pt idx="670">
                  <c:v>35417.587497306718</c:v>
                </c:pt>
                <c:pt idx="671">
                  <c:v>35417.587497310982</c:v>
                </c:pt>
                <c:pt idx="672">
                  <c:v>35417.587497306718</c:v>
                </c:pt>
                <c:pt idx="673">
                  <c:v>35417.587497310982</c:v>
                </c:pt>
                <c:pt idx="674">
                  <c:v>35417.587497306718</c:v>
                </c:pt>
                <c:pt idx="675">
                  <c:v>35417.58749730885</c:v>
                </c:pt>
                <c:pt idx="676">
                  <c:v>30357.932140550442</c:v>
                </c:pt>
                <c:pt idx="677">
                  <c:v>25298.276783792036</c:v>
                </c:pt>
                <c:pt idx="678">
                  <c:v>20238.621427031499</c:v>
                </c:pt>
                <c:pt idx="679">
                  <c:v>15178.966070275221</c:v>
                </c:pt>
                <c:pt idx="680">
                  <c:v>10119.310713514686</c:v>
                </c:pt>
                <c:pt idx="681">
                  <c:v>5059.6553567584069</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numCache>
            </c:numRef>
          </c:val>
          <c:extLst>
            <c:ext xmlns:c16="http://schemas.microsoft.com/office/drawing/2014/chart" uri="{C3380CC4-5D6E-409C-BE32-E72D297353CC}">
              <c16:uniqueId val="{00000000-C3AD-469F-B1BF-E695EBD6B462}"/>
            </c:ext>
          </c:extLst>
        </c:ser>
        <c:ser>
          <c:idx val="1"/>
          <c:order val="1"/>
          <c:spPr>
            <a:solidFill>
              <a:schemeClr val="accent2"/>
            </a:solidFill>
            <a:ln>
              <a:noFill/>
            </a:ln>
          </c:spPr>
          <c:val>
            <c:numRef>
              <c:f>Sheet1!$A$2:$ABS$2</c:f>
              <c:numCache>
                <c:formatCode>General</c:formatCode>
                <c:ptCount val="747"/>
                <c:pt idx="0">
                  <c:v>3</c:v>
                </c:pt>
                <c:pt idx="1">
                  <c:v>5.5</c:v>
                </c:pt>
                <c:pt idx="2">
                  <c:v>4.6666666666660603</c:v>
                </c:pt>
                <c:pt idx="3">
                  <c:v>3.75</c:v>
                </c:pt>
                <c:pt idx="4">
                  <c:v>3</c:v>
                </c:pt>
                <c:pt idx="5">
                  <c:v>2.6666666666678793</c:v>
                </c:pt>
                <c:pt idx="6">
                  <c:v>2.571428571427532</c:v>
                </c:pt>
                <c:pt idx="7">
                  <c:v>2.714285714286234</c:v>
                </c:pt>
                <c:pt idx="8">
                  <c:v>1.714285714282596</c:v>
                </c:pt>
                <c:pt idx="9">
                  <c:v>1.571428571427532</c:v>
                </c:pt>
                <c:pt idx="10">
                  <c:v>1.428571428572468</c:v>
                </c:pt>
                <c:pt idx="11">
                  <c:v>1.714285714286234</c:v>
                </c:pt>
                <c:pt idx="12">
                  <c:v>1.571428571427532</c:v>
                </c:pt>
                <c:pt idx="13">
                  <c:v>1.571428571427532</c:v>
                </c:pt>
                <c:pt idx="14">
                  <c:v>1.571428571427532</c:v>
                </c:pt>
                <c:pt idx="15">
                  <c:v>1.714285714286234</c:v>
                </c:pt>
                <c:pt idx="16">
                  <c:v>1.428571428572468</c:v>
                </c:pt>
                <c:pt idx="17">
                  <c:v>2</c:v>
                </c:pt>
                <c:pt idx="18">
                  <c:v>1.857142857141298</c:v>
                </c:pt>
                <c:pt idx="19">
                  <c:v>2</c:v>
                </c:pt>
                <c:pt idx="20">
                  <c:v>2.857142857141298</c:v>
                </c:pt>
                <c:pt idx="21">
                  <c:v>3.428571428572468</c:v>
                </c:pt>
                <c:pt idx="22">
                  <c:v>4.428571428572468</c:v>
                </c:pt>
                <c:pt idx="23">
                  <c:v>4.714285714282596</c:v>
                </c:pt>
                <c:pt idx="24">
                  <c:v>5.571428571427532</c:v>
                </c:pt>
                <c:pt idx="25">
                  <c:v>5.714285714282596</c:v>
                </c:pt>
                <c:pt idx="26">
                  <c:v>5.857142857144936</c:v>
                </c:pt>
                <c:pt idx="27">
                  <c:v>5.285714285717404</c:v>
                </c:pt>
                <c:pt idx="28">
                  <c:v>4.571428571434808</c:v>
                </c:pt>
                <c:pt idx="29">
                  <c:v>4</c:v>
                </c:pt>
                <c:pt idx="30">
                  <c:v>4.571428571434808</c:v>
                </c:pt>
                <c:pt idx="31">
                  <c:v>3.428571428565192</c:v>
                </c:pt>
                <c:pt idx="32">
                  <c:v>3.571428571434808</c:v>
                </c:pt>
                <c:pt idx="33">
                  <c:v>3.428571428565192</c:v>
                </c:pt>
                <c:pt idx="34">
                  <c:v>3.142857142855064</c:v>
                </c:pt>
                <c:pt idx="35">
                  <c:v>3.285714285710128</c:v>
                </c:pt>
                <c:pt idx="36">
                  <c:v>3.285714285710128</c:v>
                </c:pt>
                <c:pt idx="37">
                  <c:v>2.857142857144936</c:v>
                </c:pt>
                <c:pt idx="38">
                  <c:v>3</c:v>
                </c:pt>
                <c:pt idx="39">
                  <c:v>3.142857142855064</c:v>
                </c:pt>
                <c:pt idx="40">
                  <c:v>3</c:v>
                </c:pt>
                <c:pt idx="41">
                  <c:v>4</c:v>
                </c:pt>
                <c:pt idx="42">
                  <c:v>4.428571428572468</c:v>
                </c:pt>
                <c:pt idx="43">
                  <c:v>4.714285714282596</c:v>
                </c:pt>
                <c:pt idx="44">
                  <c:v>5.571428571427532</c:v>
                </c:pt>
                <c:pt idx="45">
                  <c:v>5.857142857144936</c:v>
                </c:pt>
                <c:pt idx="46">
                  <c:v>5.428571428572468</c:v>
                </c:pt>
                <c:pt idx="47">
                  <c:v>5.571428571427532</c:v>
                </c:pt>
                <c:pt idx="48">
                  <c:v>4.857142857144936</c:v>
                </c:pt>
                <c:pt idx="49">
                  <c:v>4.285714285717404</c:v>
                </c:pt>
                <c:pt idx="50">
                  <c:v>4.142857142855064</c:v>
                </c:pt>
                <c:pt idx="51">
                  <c:v>3.714285714289872</c:v>
                </c:pt>
                <c:pt idx="52">
                  <c:v>3.142857142855064</c:v>
                </c:pt>
                <c:pt idx="53">
                  <c:v>3.285714285710128</c:v>
                </c:pt>
                <c:pt idx="54">
                  <c:v>3.285714285710128</c:v>
                </c:pt>
                <c:pt idx="55">
                  <c:v>3.428571428565192</c:v>
                </c:pt>
                <c:pt idx="56">
                  <c:v>3.571428571434808</c:v>
                </c:pt>
                <c:pt idx="57">
                  <c:v>3.714285714289872</c:v>
                </c:pt>
                <c:pt idx="58">
                  <c:v>3.714285714289872</c:v>
                </c:pt>
                <c:pt idx="59">
                  <c:v>4.428571428565192</c:v>
                </c:pt>
                <c:pt idx="60">
                  <c:v>5</c:v>
                </c:pt>
                <c:pt idx="61">
                  <c:v>5.142857142855064</c:v>
                </c:pt>
                <c:pt idx="62">
                  <c:v>4.714285714289872</c:v>
                </c:pt>
                <c:pt idx="63">
                  <c:v>5.571428571434808</c:v>
                </c:pt>
                <c:pt idx="64">
                  <c:v>6.428571428565192</c:v>
                </c:pt>
                <c:pt idx="65">
                  <c:v>7</c:v>
                </c:pt>
                <c:pt idx="66">
                  <c:v>7.571428571434808</c:v>
                </c:pt>
                <c:pt idx="67">
                  <c:v>7.714285714289872</c:v>
                </c:pt>
                <c:pt idx="68">
                  <c:v>8.571428571434808</c:v>
                </c:pt>
                <c:pt idx="69">
                  <c:v>9.714285714289872</c:v>
                </c:pt>
                <c:pt idx="70">
                  <c:v>9.571428571434808</c:v>
                </c:pt>
                <c:pt idx="71">
                  <c:v>9.571428571434808</c:v>
                </c:pt>
                <c:pt idx="72">
                  <c:v>10.142857142855064</c:v>
                </c:pt>
                <c:pt idx="73">
                  <c:v>9.857142857144936</c:v>
                </c:pt>
                <c:pt idx="74">
                  <c:v>10.285714285710128</c:v>
                </c:pt>
                <c:pt idx="75">
                  <c:v>9.571428571434808</c:v>
                </c:pt>
                <c:pt idx="76">
                  <c:v>8.714285714289872</c:v>
                </c:pt>
                <c:pt idx="77">
                  <c:v>8.857142857144936</c:v>
                </c:pt>
                <c:pt idx="78">
                  <c:v>8.571428571420256</c:v>
                </c:pt>
                <c:pt idx="79">
                  <c:v>7.714285714289872</c:v>
                </c:pt>
                <c:pt idx="80">
                  <c:v>7.714285714289872</c:v>
                </c:pt>
                <c:pt idx="81">
                  <c:v>7.714285714289872</c:v>
                </c:pt>
                <c:pt idx="82">
                  <c:v>8</c:v>
                </c:pt>
                <c:pt idx="83">
                  <c:v>9</c:v>
                </c:pt>
                <c:pt idx="84">
                  <c:v>8.714285714289872</c:v>
                </c:pt>
                <c:pt idx="85">
                  <c:v>9.8571428571303841</c:v>
                </c:pt>
                <c:pt idx="86">
                  <c:v>10.428571428579744</c:v>
                </c:pt>
                <c:pt idx="87">
                  <c:v>11.714285714289872</c:v>
                </c:pt>
                <c:pt idx="88">
                  <c:v>10.857142857130384</c:v>
                </c:pt>
                <c:pt idx="89">
                  <c:v>12</c:v>
                </c:pt>
                <c:pt idx="90">
                  <c:v>12.714285714289872</c:v>
                </c:pt>
                <c:pt idx="91">
                  <c:v>14.285714285710128</c:v>
                </c:pt>
                <c:pt idx="92">
                  <c:v>13.857142857130384</c:v>
                </c:pt>
                <c:pt idx="93">
                  <c:v>16</c:v>
                </c:pt>
                <c:pt idx="94">
                  <c:v>16.142857142869616</c:v>
                </c:pt>
                <c:pt idx="95">
                  <c:v>17.428571428579744</c:v>
                </c:pt>
                <c:pt idx="96">
                  <c:v>16.714285714289872</c:v>
                </c:pt>
                <c:pt idx="97">
                  <c:v>15.714285714289872</c:v>
                </c:pt>
                <c:pt idx="98">
                  <c:v>16.571428571420256</c:v>
                </c:pt>
                <c:pt idx="99">
                  <c:v>18</c:v>
                </c:pt>
                <c:pt idx="100">
                  <c:v>16.714285714260768</c:v>
                </c:pt>
                <c:pt idx="101">
                  <c:v>17.142857142840512</c:v>
                </c:pt>
                <c:pt idx="102">
                  <c:v>17.142857142840512</c:v>
                </c:pt>
                <c:pt idx="103">
                  <c:v>19</c:v>
                </c:pt>
                <c:pt idx="104">
                  <c:v>20</c:v>
                </c:pt>
                <c:pt idx="105">
                  <c:v>18.857142857159488</c:v>
                </c:pt>
                <c:pt idx="106">
                  <c:v>18.285714285739232</c:v>
                </c:pt>
                <c:pt idx="107">
                  <c:v>19.428571428579744</c:v>
                </c:pt>
                <c:pt idx="108">
                  <c:v>20.142857142840512</c:v>
                </c:pt>
                <c:pt idx="109">
                  <c:v>21.285714285739232</c:v>
                </c:pt>
                <c:pt idx="110">
                  <c:v>20</c:v>
                </c:pt>
                <c:pt idx="111">
                  <c:v>20.142857142840512</c:v>
                </c:pt>
                <c:pt idx="112">
                  <c:v>20.714285714260768</c:v>
                </c:pt>
                <c:pt idx="113">
                  <c:v>22.714285714260768</c:v>
                </c:pt>
                <c:pt idx="114">
                  <c:v>24.857142857159488</c:v>
                </c:pt>
                <c:pt idx="115">
                  <c:v>25.285714285739232</c:v>
                </c:pt>
                <c:pt idx="116">
                  <c:v>25.857142857159488</c:v>
                </c:pt>
                <c:pt idx="117">
                  <c:v>26</c:v>
                </c:pt>
                <c:pt idx="118">
                  <c:v>27</c:v>
                </c:pt>
                <c:pt idx="119">
                  <c:v>29.714285714260768</c:v>
                </c:pt>
                <c:pt idx="120">
                  <c:v>31.285714285739232</c:v>
                </c:pt>
                <c:pt idx="121">
                  <c:v>32</c:v>
                </c:pt>
                <c:pt idx="122">
                  <c:v>37.142857142840512</c:v>
                </c:pt>
                <c:pt idx="123">
                  <c:v>41.142857142840512</c:v>
                </c:pt>
                <c:pt idx="124">
                  <c:v>43.857142857159488</c:v>
                </c:pt>
                <c:pt idx="125">
                  <c:v>46</c:v>
                </c:pt>
                <c:pt idx="126">
                  <c:v>46.142857142840512</c:v>
                </c:pt>
                <c:pt idx="127">
                  <c:v>47.285714285739232</c:v>
                </c:pt>
                <c:pt idx="128">
                  <c:v>47.714285714260768</c:v>
                </c:pt>
                <c:pt idx="129">
                  <c:v>47.571428571420256</c:v>
                </c:pt>
                <c:pt idx="130">
                  <c:v>50.857142857159488</c:v>
                </c:pt>
                <c:pt idx="131">
                  <c:v>49.714285714260768</c:v>
                </c:pt>
                <c:pt idx="132">
                  <c:v>48.142857142840512</c:v>
                </c:pt>
                <c:pt idx="133">
                  <c:v>48.285714285739232</c:v>
                </c:pt>
                <c:pt idx="134">
                  <c:v>46.142857142840512</c:v>
                </c:pt>
                <c:pt idx="135">
                  <c:v>45.571428571420256</c:v>
                </c:pt>
                <c:pt idx="136">
                  <c:v>43.428571428579744</c:v>
                </c:pt>
                <c:pt idx="137">
                  <c:v>40.142857142840512</c:v>
                </c:pt>
                <c:pt idx="138">
                  <c:v>38.857142857159488</c:v>
                </c:pt>
                <c:pt idx="139">
                  <c:v>37.714285714260768</c:v>
                </c:pt>
                <c:pt idx="140">
                  <c:v>39.714285714260768</c:v>
                </c:pt>
                <c:pt idx="141">
                  <c:v>41.285714285739232</c:v>
                </c:pt>
                <c:pt idx="142">
                  <c:v>40.428571428579744</c:v>
                </c:pt>
                <c:pt idx="143">
                  <c:v>42.428571428579744</c:v>
                </c:pt>
                <c:pt idx="144">
                  <c:v>41</c:v>
                </c:pt>
                <c:pt idx="145">
                  <c:v>43.285714285739232</c:v>
                </c:pt>
                <c:pt idx="146">
                  <c:v>77.142857142840512</c:v>
                </c:pt>
                <c:pt idx="147">
                  <c:v>132</c:v>
                </c:pt>
                <c:pt idx="148">
                  <c:v>806.57142857142026</c:v>
                </c:pt>
                <c:pt idx="149">
                  <c:v>8246</c:v>
                </c:pt>
                <c:pt idx="150">
                  <c:v>16411.71428571429</c:v>
                </c:pt>
                <c:pt idx="151">
                  <c:v>24792.85714285713</c:v>
                </c:pt>
                <c:pt idx="152">
                  <c:v>29265</c:v>
                </c:pt>
                <c:pt idx="153">
                  <c:v>34701.14285714287</c:v>
                </c:pt>
                <c:pt idx="154">
                  <c:v>40372.42857142858</c:v>
                </c:pt>
                <c:pt idx="155">
                  <c:v>45805.28571428571</c:v>
                </c:pt>
                <c:pt idx="156">
                  <c:v>43143.42857142858</c:v>
                </c:pt>
                <c:pt idx="157">
                  <c:v>40032.14285714287</c:v>
                </c:pt>
                <c:pt idx="158">
                  <c:v>36337.28571428571</c:v>
                </c:pt>
                <c:pt idx="159">
                  <c:v>33766.57142857142</c:v>
                </c:pt>
                <c:pt idx="160">
                  <c:v>30771.28571428571</c:v>
                </c:pt>
                <c:pt idx="161">
                  <c:v>27585.28571428571</c:v>
                </c:pt>
                <c:pt idx="162">
                  <c:v>24224.71428571429</c:v>
                </c:pt>
                <c:pt idx="163">
                  <c:v>21797.71428571429</c:v>
                </c:pt>
                <c:pt idx="164">
                  <c:v>19735</c:v>
                </c:pt>
                <c:pt idx="165">
                  <c:v>16666</c:v>
                </c:pt>
                <c:pt idx="166">
                  <c:v>15374.857142857145</c:v>
                </c:pt>
                <c:pt idx="167">
                  <c:v>13050.142857142855</c:v>
                </c:pt>
                <c:pt idx="168">
                  <c:v>12498.71428571429</c:v>
                </c:pt>
                <c:pt idx="169">
                  <c:v>12101.28571428571</c:v>
                </c:pt>
                <c:pt idx="170">
                  <c:v>17054</c:v>
                </c:pt>
                <c:pt idx="171">
                  <c:v>23422.57142857142</c:v>
                </c:pt>
                <c:pt idx="172">
                  <c:v>30581.571428571435</c:v>
                </c:pt>
                <c:pt idx="173">
                  <c:v>34016.142857142855</c:v>
                </c:pt>
                <c:pt idx="174">
                  <c:v>40507.57142857142</c:v>
                </c:pt>
                <c:pt idx="175">
                  <c:v>45546.71428571429</c:v>
                </c:pt>
                <c:pt idx="176">
                  <c:v>49958.71428571429</c:v>
                </c:pt>
                <c:pt idx="177">
                  <c:v>48768.428571428565</c:v>
                </c:pt>
                <c:pt idx="178">
                  <c:v>45746.42857142858</c:v>
                </c:pt>
                <c:pt idx="179">
                  <c:v>42008.57142857142</c:v>
                </c:pt>
                <c:pt idx="180">
                  <c:v>39747.571428571435</c:v>
                </c:pt>
                <c:pt idx="181">
                  <c:v>37180.857142857145</c:v>
                </c:pt>
                <c:pt idx="182">
                  <c:v>34208.428571428565</c:v>
                </c:pt>
                <c:pt idx="183">
                  <c:v>31460.857142857145</c:v>
                </c:pt>
                <c:pt idx="184">
                  <c:v>28900.28571428571</c:v>
                </c:pt>
                <c:pt idx="185">
                  <c:v>26749.42857142858</c:v>
                </c:pt>
                <c:pt idx="186">
                  <c:v>24204</c:v>
                </c:pt>
                <c:pt idx="187">
                  <c:v>23271</c:v>
                </c:pt>
                <c:pt idx="188">
                  <c:v>20996.571428571435</c:v>
                </c:pt>
                <c:pt idx="189">
                  <c:v>19770.71428571429</c:v>
                </c:pt>
                <c:pt idx="190">
                  <c:v>18411.142857142855</c:v>
                </c:pt>
                <c:pt idx="191">
                  <c:v>17347.57142857142</c:v>
                </c:pt>
                <c:pt idx="192">
                  <c:v>16242.71428571429</c:v>
                </c:pt>
                <c:pt idx="193">
                  <c:v>15846.571428571428</c:v>
                </c:pt>
                <c:pt idx="194">
                  <c:v>15834.428571428565</c:v>
                </c:pt>
                <c:pt idx="195">
                  <c:v>16280.428571428572</c:v>
                </c:pt>
                <c:pt idx="196">
                  <c:v>15828.142857142862</c:v>
                </c:pt>
                <c:pt idx="197">
                  <c:v>15417.857142857138</c:v>
                </c:pt>
                <c:pt idx="198">
                  <c:v>15043.28571428571</c:v>
                </c:pt>
                <c:pt idx="199">
                  <c:v>14362.142857142862</c:v>
                </c:pt>
                <c:pt idx="200">
                  <c:v>13465.571428571428</c:v>
                </c:pt>
                <c:pt idx="201">
                  <c:v>12680.428571428572</c:v>
                </c:pt>
                <c:pt idx="202">
                  <c:v>11412.142857142855</c:v>
                </c:pt>
                <c:pt idx="203">
                  <c:v>11496</c:v>
                </c:pt>
                <c:pt idx="204">
                  <c:v>11283.428571428572</c:v>
                </c:pt>
                <c:pt idx="205">
                  <c:v>11065.571428571428</c:v>
                </c:pt>
                <c:pt idx="206">
                  <c:v>10843.28571428571</c:v>
                </c:pt>
                <c:pt idx="207">
                  <c:v>11061.71428571429</c:v>
                </c:pt>
                <c:pt idx="208">
                  <c:v>11575.714285714283</c:v>
                </c:pt>
                <c:pt idx="209">
                  <c:v>12402.28571428571</c:v>
                </c:pt>
                <c:pt idx="210">
                  <c:v>11793.714285714283</c:v>
                </c:pt>
                <c:pt idx="211">
                  <c:v>11520.857142857145</c:v>
                </c:pt>
                <c:pt idx="212">
                  <c:v>11454</c:v>
                </c:pt>
                <c:pt idx="213">
                  <c:v>11438.428571428572</c:v>
                </c:pt>
                <c:pt idx="214">
                  <c:v>11433.857142857145</c:v>
                </c:pt>
                <c:pt idx="215">
                  <c:v>11495.285714285717</c:v>
                </c:pt>
                <c:pt idx="216">
                  <c:v>11484.714285714283</c:v>
                </c:pt>
                <c:pt idx="217">
                  <c:v>11634.714285714283</c:v>
                </c:pt>
                <c:pt idx="218">
                  <c:v>11789.142857142855</c:v>
                </c:pt>
                <c:pt idx="219">
                  <c:v>11854.71428571429</c:v>
                </c:pt>
                <c:pt idx="220">
                  <c:v>11939</c:v>
                </c:pt>
                <c:pt idx="221">
                  <c:v>11779.428571428572</c:v>
                </c:pt>
                <c:pt idx="222">
                  <c:v>11692</c:v>
                </c:pt>
                <c:pt idx="223">
                  <c:v>11532.571428571428</c:v>
                </c:pt>
                <c:pt idx="224">
                  <c:v>11595.857142857145</c:v>
                </c:pt>
                <c:pt idx="225">
                  <c:v>11687.142857142855</c:v>
                </c:pt>
                <c:pt idx="226">
                  <c:v>11791</c:v>
                </c:pt>
                <c:pt idx="227">
                  <c:v>11870.714285714283</c:v>
                </c:pt>
                <c:pt idx="228">
                  <c:v>12088.428571428572</c:v>
                </c:pt>
                <c:pt idx="229">
                  <c:v>12224.428571428572</c:v>
                </c:pt>
                <c:pt idx="230">
                  <c:v>12620.28571428571</c:v>
                </c:pt>
                <c:pt idx="231">
                  <c:v>12837.142857142855</c:v>
                </c:pt>
                <c:pt idx="232">
                  <c:v>12951.142857142862</c:v>
                </c:pt>
                <c:pt idx="233">
                  <c:v>13132.857142857145</c:v>
                </c:pt>
                <c:pt idx="234">
                  <c:v>13489.428571428572</c:v>
                </c:pt>
                <c:pt idx="235">
                  <c:v>13701.857142857138</c:v>
                </c:pt>
                <c:pt idx="236">
                  <c:v>13846.28571428571</c:v>
                </c:pt>
                <c:pt idx="237">
                  <c:v>14054.857142857145</c:v>
                </c:pt>
                <c:pt idx="238">
                  <c:v>14041.857142857138</c:v>
                </c:pt>
                <c:pt idx="239">
                  <c:v>13823.28571428571</c:v>
                </c:pt>
                <c:pt idx="240">
                  <c:v>13573.571428571428</c:v>
                </c:pt>
                <c:pt idx="241">
                  <c:v>13555</c:v>
                </c:pt>
                <c:pt idx="242">
                  <c:v>13384.623425494879</c:v>
                </c:pt>
                <c:pt idx="243">
                  <c:v>13805.799268854047</c:v>
                </c:pt>
                <c:pt idx="244">
                  <c:v>13036.541725271542</c:v>
                </c:pt>
                <c:pt idx="245">
                  <c:v>12372.877361224069</c:v>
                </c:pt>
                <c:pt idx="246">
                  <c:v>12076.39473146091</c:v>
                </c:pt>
                <c:pt idx="247">
                  <c:v>11765.763690305277</c:v>
                </c:pt>
                <c:pt idx="248">
                  <c:v>10869.249806704538</c:v>
                </c:pt>
                <c:pt idx="249">
                  <c:v>10674.052398225685</c:v>
                </c:pt>
                <c:pt idx="250">
                  <c:v>10296.423930421006</c:v>
                </c:pt>
                <c:pt idx="251">
                  <c:v>10457.34082122556</c:v>
                </c:pt>
                <c:pt idx="252">
                  <c:v>10615.149230141353</c:v>
                </c:pt>
                <c:pt idx="253">
                  <c:v>10694.319693202982</c:v>
                </c:pt>
                <c:pt idx="254">
                  <c:v>10801.366807753715</c:v>
                </c:pt>
                <c:pt idx="255">
                  <c:v>10972.903709400052</c:v>
                </c:pt>
                <c:pt idx="256">
                  <c:v>11068.06932865156</c:v>
                </c:pt>
                <c:pt idx="257">
                  <c:v>11140.896690208538</c:v>
                </c:pt>
                <c:pt idx="258">
                  <c:v>11187.350072604531</c:v>
                </c:pt>
                <c:pt idx="259">
                  <c:v>11079.43099667046</c:v>
                </c:pt>
                <c:pt idx="260">
                  <c:v>10850.835909677873</c:v>
                </c:pt>
                <c:pt idx="261">
                  <c:v>10573.26128875927</c:v>
                </c:pt>
                <c:pt idx="262">
                  <c:v>10431.506210152525</c:v>
                </c:pt>
                <c:pt idx="263">
                  <c:v>10249.438888776378</c:v>
                </c:pt>
                <c:pt idx="264">
                  <c:v>10545.040942783002</c:v>
                </c:pt>
                <c:pt idx="265">
                  <c:v>10103.408317687194</c:v>
                </c:pt>
                <c:pt idx="266">
                  <c:v>9677.7281252702523</c:v>
                </c:pt>
                <c:pt idx="267">
                  <c:v>9454.8973498383712</c:v>
                </c:pt>
                <c:pt idx="268">
                  <c:v>9237.7825691999315</c:v>
                </c:pt>
                <c:pt idx="269">
                  <c:v>8668.2618386493268</c:v>
                </c:pt>
                <c:pt idx="270">
                  <c:v>8668.2035007078957</c:v>
                </c:pt>
                <c:pt idx="271">
                  <c:v>8668.1129239767033</c:v>
                </c:pt>
                <c:pt idx="272">
                  <c:v>8668.0775228796701</c:v>
                </c:pt>
                <c:pt idx="273">
                  <c:v>8668.1152496309223</c:v>
                </c:pt>
                <c:pt idx="274">
                  <c:v>8668.1554572756577</c:v>
                </c:pt>
                <c:pt idx="275">
                  <c:v>8668.1652793341491</c:v>
                </c:pt>
                <c:pt idx="276">
                  <c:v>8668.1559674936143</c:v>
                </c:pt>
                <c:pt idx="277">
                  <c:v>8668.1408430426382</c:v>
                </c:pt>
                <c:pt idx="278">
                  <c:v>8668.1318919476325</c:v>
                </c:pt>
                <c:pt idx="279">
                  <c:v>8670.7060302291793</c:v>
                </c:pt>
                <c:pt idx="280">
                  <c:v>8672.4284700546414</c:v>
                </c:pt>
                <c:pt idx="281">
                  <c:v>8674.2895423600276</c:v>
                </c:pt>
                <c:pt idx="282">
                  <c:v>8675.7168606373307</c:v>
                </c:pt>
                <c:pt idx="283">
                  <c:v>8677.4283110276447</c:v>
                </c:pt>
                <c:pt idx="284">
                  <c:v>8679.1406866346661</c:v>
                </c:pt>
                <c:pt idx="285">
                  <c:v>8680.426378576376</c:v>
                </c:pt>
                <c:pt idx="286">
                  <c:v>8679.5704889110639</c:v>
                </c:pt>
                <c:pt idx="287">
                  <c:v>8679.4286768859602</c:v>
                </c:pt>
                <c:pt idx="288">
                  <c:v>8679.000135004695</c:v>
                </c:pt>
                <c:pt idx="289">
                  <c:v>8679.1424645661609</c:v>
                </c:pt>
                <c:pt idx="290">
                  <c:v>8679.427754923352</c:v>
                </c:pt>
                <c:pt idx="291">
                  <c:v>8679.4276754799066</c:v>
                </c:pt>
                <c:pt idx="292">
                  <c:v>8679.7135718454956</c:v>
                </c:pt>
                <c:pt idx="293">
                  <c:v>8677.9994974146248</c:v>
                </c:pt>
                <c:pt idx="294">
                  <c:v>8676.8567027110839</c:v>
                </c:pt>
                <c:pt idx="295">
                  <c:v>8676.5709104820271</c:v>
                </c:pt>
                <c:pt idx="296">
                  <c:v>8675.713674325787</c:v>
                </c:pt>
                <c:pt idx="297">
                  <c:v>8674.2850716383546</c:v>
                </c:pt>
                <c:pt idx="298">
                  <c:v>8672.8565250466345</c:v>
                </c:pt>
                <c:pt idx="299">
                  <c:v>8671.5708504948998</c:v>
                </c:pt>
                <c:pt idx="300">
                  <c:v>8672.7137270366075</c:v>
                </c:pt>
                <c:pt idx="301">
                  <c:v>8673.8565761662321</c:v>
                </c:pt>
                <c:pt idx="302">
                  <c:v>8673.7137009456055</c:v>
                </c:pt>
                <c:pt idx="303">
                  <c:v>8674.2851199914003</c:v>
                </c:pt>
                <c:pt idx="304">
                  <c:v>8673.9994081477053</c:v>
                </c:pt>
                <c:pt idx="305">
                  <c:v>8675.4279868326266</c:v>
                </c:pt>
                <c:pt idx="306">
                  <c:v>8676.713705863338</c:v>
                </c:pt>
                <c:pt idx="307">
                  <c:v>8676.7137056098436</c:v>
                </c:pt>
                <c:pt idx="308">
                  <c:v>8676.5708454060368</c:v>
                </c:pt>
                <c:pt idx="309">
                  <c:v>8676.9994144811062</c:v>
                </c:pt>
                <c:pt idx="310">
                  <c:v>8677.5708429453662</c:v>
                </c:pt>
                <c:pt idx="311">
                  <c:v>8678.4279870408354</c:v>
                </c:pt>
                <c:pt idx="312">
                  <c:v>8677.5708452500985</c:v>
                </c:pt>
                <c:pt idx="313">
                  <c:v>8677.4279882892442</c:v>
                </c:pt>
                <c:pt idx="314">
                  <c:v>8678.2851306766679</c:v>
                </c:pt>
                <c:pt idx="315">
                  <c:v>8678.4279873188934</c:v>
                </c:pt>
                <c:pt idx="316">
                  <c:v>8679.2851300411276</c:v>
                </c:pt>
                <c:pt idx="317">
                  <c:v>8679.1422730803315</c:v>
                </c:pt>
                <c:pt idx="318">
                  <c:v>8679.7137018750946</c:v>
                </c:pt>
                <c:pt idx="319">
                  <c:v>8679.14227338208</c:v>
                </c:pt>
                <c:pt idx="320">
                  <c:v>8678.8565590336511</c:v>
                </c:pt>
                <c:pt idx="321">
                  <c:v>8679.1422732215724</c:v>
                </c:pt>
                <c:pt idx="322">
                  <c:v>8679.2851303197967</c:v>
                </c:pt>
                <c:pt idx="323">
                  <c:v>8679.2851303403149</c:v>
                </c:pt>
                <c:pt idx="324">
                  <c:v>8680.4279875258217</c:v>
                </c:pt>
                <c:pt idx="325">
                  <c:v>8680.9994161201757</c:v>
                </c:pt>
                <c:pt idx="326">
                  <c:v>8681.4279875428765</c:v>
                </c:pt>
                <c:pt idx="327">
                  <c:v>8682.1422732392384</c:v>
                </c:pt>
                <c:pt idx="328">
                  <c:v>8682.1422732278879</c:v>
                </c:pt>
                <c:pt idx="329">
                  <c:v>8682.8565589431091</c:v>
                </c:pt>
                <c:pt idx="330">
                  <c:v>8687.7137018076319</c:v>
                </c:pt>
                <c:pt idx="331">
                  <c:v>8696.1422732417996</c:v>
                </c:pt>
                <c:pt idx="332">
                  <c:v>8701.7137018134235</c:v>
                </c:pt>
                <c:pt idx="333">
                  <c:v>8705.2851303818461</c:v>
                </c:pt>
                <c:pt idx="334">
                  <c:v>8708.4279875221837</c:v>
                </c:pt>
                <c:pt idx="335">
                  <c:v>8710.427987521718</c:v>
                </c:pt>
                <c:pt idx="336">
                  <c:v>8712.5708446656936</c:v>
                </c:pt>
                <c:pt idx="337">
                  <c:v>8709.1422732383362</c:v>
                </c:pt>
                <c:pt idx="338">
                  <c:v>8703.1422732387146</c:v>
                </c:pt>
                <c:pt idx="339">
                  <c:v>8698.7137018096983</c:v>
                </c:pt>
                <c:pt idx="340">
                  <c:v>8695.9994160948845</c:v>
                </c:pt>
                <c:pt idx="341">
                  <c:v>8693.7137018088833</c:v>
                </c:pt>
                <c:pt idx="342">
                  <c:v>8692.7137018090871</c:v>
                </c:pt>
                <c:pt idx="343">
                  <c:v>8692.1422732378705</c:v>
                </c:pt>
                <c:pt idx="344">
                  <c:v>8691.713701809349</c:v>
                </c:pt>
                <c:pt idx="345">
                  <c:v>8690.4279875235807</c:v>
                </c:pt>
                <c:pt idx="346">
                  <c:v>8692.8565589520149</c:v>
                </c:pt>
                <c:pt idx="347">
                  <c:v>8699.7137018090871</c:v>
                </c:pt>
                <c:pt idx="348">
                  <c:v>8701.142273237725</c:v>
                </c:pt>
                <c:pt idx="349">
                  <c:v>8885.1422732377832</c:v>
                </c:pt>
                <c:pt idx="350">
                  <c:v>9493.4279875235807</c:v>
                </c:pt>
                <c:pt idx="351">
                  <c:v>15073.285130380798</c:v>
                </c:pt>
                <c:pt idx="352">
                  <c:v>22080.856558952073</c:v>
                </c:pt>
                <c:pt idx="353">
                  <c:v>29115.85655895216</c:v>
                </c:pt>
                <c:pt idx="354">
                  <c:v>32468.713701809233</c:v>
                </c:pt>
                <c:pt idx="355">
                  <c:v>37639.142273237783</c:v>
                </c:pt>
                <c:pt idx="356">
                  <c:v>42854.427987523522</c:v>
                </c:pt>
                <c:pt idx="357">
                  <c:v>47576.856558952073</c:v>
                </c:pt>
                <c:pt idx="358">
                  <c:v>46640.856558952073</c:v>
                </c:pt>
                <c:pt idx="359">
                  <c:v>44344.713701809291</c:v>
                </c:pt>
                <c:pt idx="360">
                  <c:v>41193.856558952088</c:v>
                </c:pt>
                <c:pt idx="361">
                  <c:v>39315.856558952146</c:v>
                </c:pt>
                <c:pt idx="362">
                  <c:v>37031.856558952146</c:v>
                </c:pt>
                <c:pt idx="363">
                  <c:v>34344.427987523522</c:v>
                </c:pt>
                <c:pt idx="364">
                  <c:v>31748.856558952088</c:v>
                </c:pt>
                <c:pt idx="365">
                  <c:v>29434.856558952088</c:v>
                </c:pt>
                <c:pt idx="366">
                  <c:v>27539.427987523522</c:v>
                </c:pt>
                <c:pt idx="367">
                  <c:v>25314.285130380711</c:v>
                </c:pt>
                <c:pt idx="368">
                  <c:v>24372.285130380667</c:v>
                </c:pt>
                <c:pt idx="369">
                  <c:v>22212.427987523522</c:v>
                </c:pt>
                <c:pt idx="370">
                  <c:v>21268.285130380711</c:v>
                </c:pt>
                <c:pt idx="371">
                  <c:v>20136.142273237783</c:v>
                </c:pt>
                <c:pt idx="372">
                  <c:v>19267.713701809233</c:v>
                </c:pt>
                <c:pt idx="373">
                  <c:v>18358.713701809218</c:v>
                </c:pt>
                <c:pt idx="374">
                  <c:v>17974.285130380653</c:v>
                </c:pt>
                <c:pt idx="375">
                  <c:v>17922.285130380711</c:v>
                </c:pt>
                <c:pt idx="376">
                  <c:v>18541.285130380726</c:v>
                </c:pt>
                <c:pt idx="377">
                  <c:v>18174.713701809233</c:v>
                </c:pt>
                <c:pt idx="378">
                  <c:v>17798.999416095001</c:v>
                </c:pt>
                <c:pt idx="379">
                  <c:v>17527.142273237798</c:v>
                </c:pt>
                <c:pt idx="380">
                  <c:v>16973.713701809218</c:v>
                </c:pt>
                <c:pt idx="381">
                  <c:v>16368.856558952088</c:v>
                </c:pt>
                <c:pt idx="382">
                  <c:v>15907.427987523508</c:v>
                </c:pt>
                <c:pt idx="383">
                  <c:v>15074.856558952088</c:v>
                </c:pt>
                <c:pt idx="384">
                  <c:v>15203.856558952146</c:v>
                </c:pt>
                <c:pt idx="385">
                  <c:v>15133.142273237798</c:v>
                </c:pt>
                <c:pt idx="386">
                  <c:v>15016.285130380726</c:v>
                </c:pt>
                <c:pt idx="387">
                  <c:v>14846.999416094943</c:v>
                </c:pt>
                <c:pt idx="388">
                  <c:v>14957.570844666363</c:v>
                </c:pt>
                <c:pt idx="389">
                  <c:v>15207.142273237798</c:v>
                </c:pt>
                <c:pt idx="390">
                  <c:v>15675.856558952088</c:v>
                </c:pt>
                <c:pt idx="391">
                  <c:v>15069.285130380653</c:v>
                </c:pt>
                <c:pt idx="392">
                  <c:v>14788.427987523581</c:v>
                </c:pt>
                <c:pt idx="393">
                  <c:v>14614.856558952146</c:v>
                </c:pt>
                <c:pt idx="394">
                  <c:v>14417.856558952146</c:v>
                </c:pt>
                <c:pt idx="395">
                  <c:v>14301.713701809218</c:v>
                </c:pt>
                <c:pt idx="396">
                  <c:v>14309.427987523508</c:v>
                </c:pt>
                <c:pt idx="397">
                  <c:v>14139.285130380653</c:v>
                </c:pt>
                <c:pt idx="398">
                  <c:v>14095.999416094943</c:v>
                </c:pt>
                <c:pt idx="399">
                  <c:v>14078.427987523508</c:v>
                </c:pt>
                <c:pt idx="400">
                  <c:v>13963.856558952088</c:v>
                </c:pt>
                <c:pt idx="401">
                  <c:v>13896.999416095001</c:v>
                </c:pt>
                <c:pt idx="402">
                  <c:v>13731.427987523573</c:v>
                </c:pt>
                <c:pt idx="403">
                  <c:v>13544.856558952146</c:v>
                </c:pt>
                <c:pt idx="404">
                  <c:v>13249.285130380653</c:v>
                </c:pt>
                <c:pt idx="405">
                  <c:v>13162.142273237791</c:v>
                </c:pt>
                <c:pt idx="406">
                  <c:v>13038.142273237798</c:v>
                </c:pt>
                <c:pt idx="407">
                  <c:v>12963.999416094935</c:v>
                </c:pt>
                <c:pt idx="408">
                  <c:v>12913.142273237798</c:v>
                </c:pt>
                <c:pt idx="409">
                  <c:v>12936.570844666428</c:v>
                </c:pt>
                <c:pt idx="410">
                  <c:v>13084.71370180916</c:v>
                </c:pt>
                <c:pt idx="411">
                  <c:v>13298.427987523508</c:v>
                </c:pt>
                <c:pt idx="412">
                  <c:v>13336.713701809225</c:v>
                </c:pt>
                <c:pt idx="413">
                  <c:v>13361.142273237798</c:v>
                </c:pt>
                <c:pt idx="414">
                  <c:v>13421.713701809225</c:v>
                </c:pt>
                <c:pt idx="415">
                  <c:v>13584.142273237791</c:v>
                </c:pt>
                <c:pt idx="416">
                  <c:v>13688.85655895208</c:v>
                </c:pt>
                <c:pt idx="417">
                  <c:v>13300.012548540319</c:v>
                </c:pt>
                <c:pt idx="418">
                  <c:v>12970.656819808028</c:v>
                </c:pt>
                <c:pt idx="419">
                  <c:v>12594.443948218606</c:v>
                </c:pt>
                <c:pt idx="420">
                  <c:v>12149.231076629301</c:v>
                </c:pt>
                <c:pt idx="421">
                  <c:v>11728.303919325583</c:v>
                </c:pt>
                <c:pt idx="422">
                  <c:v>11384.805333450437</c:v>
                </c:pt>
                <c:pt idx="423">
                  <c:v>10935.125464790894</c:v>
                </c:pt>
                <c:pt idx="424">
                  <c:v>10987.243342137896</c:v>
                </c:pt>
                <c:pt idx="425">
                  <c:v>11084.609857098469</c:v>
                </c:pt>
                <c:pt idx="426">
                  <c:v>11269.477167406512</c:v>
                </c:pt>
                <c:pt idx="427">
                  <c:v>11591.952970656028</c:v>
                </c:pt>
                <c:pt idx="428">
                  <c:v>11893.828503640238</c:v>
                </c:pt>
                <c:pt idx="429">
                  <c:v>12008.665067433118</c:v>
                </c:pt>
                <c:pt idx="430">
                  <c:v>12180.334185785352</c:v>
                </c:pt>
                <c:pt idx="431">
                  <c:v>12169.604865888265</c:v>
                </c:pt>
                <c:pt idx="432">
                  <c:v>12330.544664343281</c:v>
                </c:pt>
                <c:pt idx="433">
                  <c:v>12488.328780475873</c:v>
                </c:pt>
                <c:pt idx="434">
                  <c:v>12567.473293127885</c:v>
                </c:pt>
                <c:pt idx="435">
                  <c:v>12674.514037512112</c:v>
                </c:pt>
                <c:pt idx="436">
                  <c:v>12846.056928571445</c:v>
                </c:pt>
                <c:pt idx="437">
                  <c:v>12941.232307422513</c:v>
                </c:pt>
                <c:pt idx="438">
                  <c:v>12314.654451413619</c:v>
                </c:pt>
                <c:pt idx="439">
                  <c:v>11608.155784901232</c:v>
                </c:pt>
                <c:pt idx="440">
                  <c:v>10747.281139164901</c:v>
                </c:pt>
                <c:pt idx="441">
                  <c:v>9765.7332014104904</c:v>
                </c:pt>
                <c:pt idx="442">
                  <c:v>8735.2090740084095</c:v>
                </c:pt>
                <c:pt idx="443">
                  <c:v>7840.5055137732998</c:v>
                </c:pt>
                <c:pt idx="444">
                  <c:v>6905.4891163773282</c:v>
                </c:pt>
                <c:pt idx="445">
                  <c:v>7147.5518804772582</c:v>
                </c:pt>
                <c:pt idx="446">
                  <c:v>6705.9184474652429</c:v>
                </c:pt>
                <c:pt idx="447">
                  <c:v>6280.2375800877053</c:v>
                </c:pt>
                <c:pt idx="448">
                  <c:v>6057.4067846295802</c:v>
                </c:pt>
                <c:pt idx="449">
                  <c:v>5840.2923440269369</c:v>
                </c:pt>
                <c:pt idx="450">
                  <c:v>5270.7718872573023</c:v>
                </c:pt>
                <c:pt idx="451">
                  <c:v>5270.7136009694805</c:v>
                </c:pt>
                <c:pt idx="452">
                  <c:v>5270.6229069449764</c:v>
                </c:pt>
                <c:pt idx="453">
                  <c:v>5270.587369458488</c:v>
                </c:pt>
                <c:pt idx="454">
                  <c:v>5270.6250557526946</c:v>
                </c:pt>
                <c:pt idx="455">
                  <c:v>5270.6653135836677</c:v>
                </c:pt>
                <c:pt idx="456">
                  <c:v>5270.6751958588138</c:v>
                </c:pt>
                <c:pt idx="457">
                  <c:v>5270.6659042609099</c:v>
                </c:pt>
                <c:pt idx="458">
                  <c:v>5270.650763832833</c:v>
                </c:pt>
                <c:pt idx="459">
                  <c:v>5270.6417870988516</c:v>
                </c:pt>
                <c:pt idx="460">
                  <c:v>5270.6444842637138</c:v>
                </c:pt>
                <c:pt idx="461">
                  <c:v>5270.6526435217093</c:v>
                </c:pt>
                <c:pt idx="462">
                  <c:v>5270.6565846313897</c:v>
                </c:pt>
                <c:pt idx="463">
                  <c:v>5270.6553376382217</c:v>
                </c:pt>
                <c:pt idx="464">
                  <c:v>5270.6525007496966</c:v>
                </c:pt>
                <c:pt idx="465">
                  <c:v>5270.6505859623285</c:v>
                </c:pt>
                <c:pt idx="466">
                  <c:v>5270.6505605523853</c:v>
                </c:pt>
                <c:pt idx="467">
                  <c:v>5270.6518139028922</c:v>
                </c:pt>
                <c:pt idx="468">
                  <c:v>5270.6528609940578</c:v>
                </c:pt>
                <c:pt idx="469">
                  <c:v>5270.6528920616402</c:v>
                </c:pt>
                <c:pt idx="470">
                  <c:v>5270.6523645516281</c:v>
                </c:pt>
                <c:pt idx="471">
                  <c:v>5270.6519398248929</c:v>
                </c:pt>
                <c:pt idx="472">
                  <c:v>5270.6518596928363</c:v>
                </c:pt>
                <c:pt idx="473">
                  <c:v>5270.6520416542335</c:v>
                </c:pt>
                <c:pt idx="474">
                  <c:v>5270.6522532402159</c:v>
                </c:pt>
                <c:pt idx="475">
                  <c:v>5270.6523160027136</c:v>
                </c:pt>
                <c:pt idx="476">
                  <c:v>5270.6522381469404</c:v>
                </c:pt>
                <c:pt idx="477">
                  <c:v>5270.652144730484</c:v>
                </c:pt>
                <c:pt idx="478">
                  <c:v>5270.6521133274946</c:v>
                </c:pt>
                <c:pt idx="479">
                  <c:v>5270.6521381135826</c:v>
                </c:pt>
                <c:pt idx="480">
                  <c:v>5270.6521778879687</c:v>
                </c:pt>
                <c:pt idx="481">
                  <c:v>5270.6521973499475</c:v>
                </c:pt>
                <c:pt idx="482">
                  <c:v>5270.6521893657191</c:v>
                </c:pt>
                <c:pt idx="483">
                  <c:v>5270.6521712746471</c:v>
                </c:pt>
                <c:pt idx="484">
                  <c:v>5270.652161721533</c:v>
                </c:pt>
                <c:pt idx="485">
                  <c:v>5270.6521641487052</c:v>
                </c:pt>
                <c:pt idx="486">
                  <c:v>5270.6521714088885</c:v>
                </c:pt>
                <c:pt idx="487">
                  <c:v>5270.6521761654149</c:v>
                </c:pt>
                <c:pt idx="488">
                  <c:v>5270.6521759192838</c:v>
                </c:pt>
                <c:pt idx="489">
                  <c:v>5270.6521728576336</c:v>
                </c:pt>
                <c:pt idx="490">
                  <c:v>5270.6521704993938</c:v>
                </c:pt>
                <c:pt idx="491">
                  <c:v>5270.6521703885664</c:v>
                </c:pt>
                <c:pt idx="492">
                  <c:v>5270.652171626818</c:v>
                </c:pt>
                <c:pt idx="493">
                  <c:v>5270.652172695045</c:v>
                </c:pt>
                <c:pt idx="494">
                  <c:v>5270.6521728787775</c:v>
                </c:pt>
                <c:pt idx="495">
                  <c:v>5270.6521724093909</c:v>
                </c:pt>
                <c:pt idx="496">
                  <c:v>5270.6521719079465</c:v>
                </c:pt>
                <c:pt idx="497">
                  <c:v>5270.6521717722426</c:v>
                </c:pt>
                <c:pt idx="498">
                  <c:v>5270.6521719541124</c:v>
                </c:pt>
                <c:pt idx="499">
                  <c:v>5270.6521721777608</c:v>
                </c:pt>
                <c:pt idx="500">
                  <c:v>5270.6521722565303</c:v>
                </c:pt>
                <c:pt idx="501">
                  <c:v>5270.6521721938625</c:v>
                </c:pt>
                <c:pt idx="502">
                  <c:v>5270.6521720959427</c:v>
                </c:pt>
                <c:pt idx="503">
                  <c:v>5270.6521720512392</c:v>
                </c:pt>
                <c:pt idx="504">
                  <c:v>5270.6521720717283</c:v>
                </c:pt>
                <c:pt idx="505">
                  <c:v>5270.6521721145691</c:v>
                </c:pt>
                <c:pt idx="506">
                  <c:v>5270.652172137321</c:v>
                </c:pt>
                <c:pt idx="507">
                  <c:v>5270.6521721315949</c:v>
                </c:pt>
                <c:pt idx="508">
                  <c:v>5270.6521721137688</c:v>
                </c:pt>
                <c:pt idx="509">
                  <c:v>5270.6521721023237</c:v>
                </c:pt>
                <c:pt idx="510">
                  <c:v>5270.652172103124</c:v>
                </c:pt>
                <c:pt idx="511">
                  <c:v>5270.6521721105746</c:v>
                </c:pt>
                <c:pt idx="512">
                  <c:v>5270.6521721161625</c:v>
                </c:pt>
                <c:pt idx="513">
                  <c:v>5270.6521721164318</c:v>
                </c:pt>
                <c:pt idx="514">
                  <c:v>5270.6521721133686</c:v>
                </c:pt>
                <c:pt idx="515">
                  <c:v>5270.6521721108438</c:v>
                </c:pt>
                <c:pt idx="516">
                  <c:v>5270.6521721103127</c:v>
                </c:pt>
                <c:pt idx="517">
                  <c:v>5270.6521721116369</c:v>
                </c:pt>
                <c:pt idx="518">
                  <c:v>5270.6521721127065</c:v>
                </c:pt>
                <c:pt idx="519">
                  <c:v>5270.6521721129684</c:v>
                </c:pt>
                <c:pt idx="520">
                  <c:v>5270.6521721127065</c:v>
                </c:pt>
                <c:pt idx="521">
                  <c:v>5270.6521721120371</c:v>
                </c:pt>
                <c:pt idx="522">
                  <c:v>5270.6521721117751</c:v>
                </c:pt>
                <c:pt idx="523">
                  <c:v>5270.6521721120371</c:v>
                </c:pt>
                <c:pt idx="524">
                  <c:v>5270.6521721121753</c:v>
                </c:pt>
                <c:pt idx="525">
                  <c:v>5270.6521721124373</c:v>
                </c:pt>
                <c:pt idx="526">
                  <c:v>5270.6521721123063</c:v>
                </c:pt>
                <c:pt idx="527">
                  <c:v>5270.6521721120371</c:v>
                </c:pt>
                <c:pt idx="528">
                  <c:v>5270.6521721121753</c:v>
                </c:pt>
                <c:pt idx="529">
                  <c:v>5270.6521721121753</c:v>
                </c:pt>
                <c:pt idx="530">
                  <c:v>5270.6521721121753</c:v>
                </c:pt>
                <c:pt idx="531">
                  <c:v>5270.6521721123063</c:v>
                </c:pt>
                <c:pt idx="532">
                  <c:v>5270.6521721121753</c:v>
                </c:pt>
                <c:pt idx="533">
                  <c:v>5270.6521721121753</c:v>
                </c:pt>
                <c:pt idx="534">
                  <c:v>5270.6521721123063</c:v>
                </c:pt>
                <c:pt idx="535">
                  <c:v>5270.6521721121753</c:v>
                </c:pt>
                <c:pt idx="536">
                  <c:v>5270.6521721121753</c:v>
                </c:pt>
                <c:pt idx="537">
                  <c:v>5270.6521721123063</c:v>
                </c:pt>
                <c:pt idx="538">
                  <c:v>5270.6521721121753</c:v>
                </c:pt>
                <c:pt idx="539">
                  <c:v>5270.6521721121753</c:v>
                </c:pt>
                <c:pt idx="540">
                  <c:v>5270.6521721123063</c:v>
                </c:pt>
                <c:pt idx="541">
                  <c:v>5270.6521721121753</c:v>
                </c:pt>
                <c:pt idx="542">
                  <c:v>5270.6521721121753</c:v>
                </c:pt>
                <c:pt idx="543">
                  <c:v>5270.6521721123063</c:v>
                </c:pt>
                <c:pt idx="544">
                  <c:v>5270.6521721121753</c:v>
                </c:pt>
                <c:pt idx="545">
                  <c:v>5270.6521721121753</c:v>
                </c:pt>
                <c:pt idx="546">
                  <c:v>5270.6521721121753</c:v>
                </c:pt>
                <c:pt idx="547">
                  <c:v>5270.6521721121753</c:v>
                </c:pt>
                <c:pt idx="548">
                  <c:v>5270.6521721121753</c:v>
                </c:pt>
                <c:pt idx="549">
                  <c:v>5270.6521721121753</c:v>
                </c:pt>
                <c:pt idx="550">
                  <c:v>5270.6521721120371</c:v>
                </c:pt>
                <c:pt idx="551">
                  <c:v>5270.6521721121753</c:v>
                </c:pt>
                <c:pt idx="552">
                  <c:v>5270.6521721121753</c:v>
                </c:pt>
                <c:pt idx="553">
                  <c:v>5270.6521721121753</c:v>
                </c:pt>
                <c:pt idx="554">
                  <c:v>5270.6521721121753</c:v>
                </c:pt>
                <c:pt idx="555">
                  <c:v>5270.6521721121753</c:v>
                </c:pt>
                <c:pt idx="556">
                  <c:v>5270.6521721121753</c:v>
                </c:pt>
                <c:pt idx="557">
                  <c:v>5270.6521721123063</c:v>
                </c:pt>
                <c:pt idx="558">
                  <c:v>5270.6521721121753</c:v>
                </c:pt>
                <c:pt idx="559">
                  <c:v>5270.6521721121753</c:v>
                </c:pt>
                <c:pt idx="560">
                  <c:v>5270.6521721123063</c:v>
                </c:pt>
                <c:pt idx="561">
                  <c:v>5270.6521721121753</c:v>
                </c:pt>
                <c:pt idx="562">
                  <c:v>5270.6521721121753</c:v>
                </c:pt>
                <c:pt idx="563">
                  <c:v>5270.6521721123063</c:v>
                </c:pt>
                <c:pt idx="564">
                  <c:v>5270.6521721121753</c:v>
                </c:pt>
                <c:pt idx="565">
                  <c:v>5270.6521721121753</c:v>
                </c:pt>
                <c:pt idx="566">
                  <c:v>5270.6521721123063</c:v>
                </c:pt>
                <c:pt idx="567">
                  <c:v>5270.6521721121753</c:v>
                </c:pt>
                <c:pt idx="568">
                  <c:v>5270.6521721121753</c:v>
                </c:pt>
                <c:pt idx="569">
                  <c:v>5270.6521721123063</c:v>
                </c:pt>
                <c:pt idx="570">
                  <c:v>5270.6521721121753</c:v>
                </c:pt>
                <c:pt idx="571">
                  <c:v>5270.6521721121753</c:v>
                </c:pt>
                <c:pt idx="572">
                  <c:v>5270.6521721123063</c:v>
                </c:pt>
                <c:pt idx="573">
                  <c:v>5270.6521721121753</c:v>
                </c:pt>
                <c:pt idx="574">
                  <c:v>5270.6521721121753</c:v>
                </c:pt>
                <c:pt idx="575">
                  <c:v>5270.6521721123063</c:v>
                </c:pt>
                <c:pt idx="576">
                  <c:v>5270.6521721121753</c:v>
                </c:pt>
                <c:pt idx="577">
                  <c:v>5270.6521721121753</c:v>
                </c:pt>
                <c:pt idx="578">
                  <c:v>5270.6521721123063</c:v>
                </c:pt>
                <c:pt idx="579">
                  <c:v>5270.6521721121753</c:v>
                </c:pt>
                <c:pt idx="580">
                  <c:v>5270.6521721121753</c:v>
                </c:pt>
                <c:pt idx="581">
                  <c:v>5270.6521721121753</c:v>
                </c:pt>
                <c:pt idx="582">
                  <c:v>5270.6521721121753</c:v>
                </c:pt>
                <c:pt idx="583">
                  <c:v>5270.6521721121753</c:v>
                </c:pt>
                <c:pt idx="584">
                  <c:v>5270.6521721121753</c:v>
                </c:pt>
                <c:pt idx="585">
                  <c:v>5270.6521721120371</c:v>
                </c:pt>
                <c:pt idx="586">
                  <c:v>5270.6521721121753</c:v>
                </c:pt>
                <c:pt idx="587">
                  <c:v>5270.6521721121753</c:v>
                </c:pt>
                <c:pt idx="588">
                  <c:v>5270.6521721121753</c:v>
                </c:pt>
                <c:pt idx="589">
                  <c:v>5270.6521721121753</c:v>
                </c:pt>
                <c:pt idx="590">
                  <c:v>5270.6521721121753</c:v>
                </c:pt>
                <c:pt idx="591">
                  <c:v>5270.6521721121753</c:v>
                </c:pt>
                <c:pt idx="592">
                  <c:v>5270.6521721123063</c:v>
                </c:pt>
                <c:pt idx="593">
                  <c:v>5270.6521721121753</c:v>
                </c:pt>
                <c:pt idx="594">
                  <c:v>5270.6521721121753</c:v>
                </c:pt>
                <c:pt idx="595">
                  <c:v>5270.6521721123063</c:v>
                </c:pt>
                <c:pt idx="596">
                  <c:v>5270.6521721121753</c:v>
                </c:pt>
                <c:pt idx="597">
                  <c:v>5270.6521721121753</c:v>
                </c:pt>
                <c:pt idx="598">
                  <c:v>5270.6521721123063</c:v>
                </c:pt>
                <c:pt idx="599">
                  <c:v>5270.6521721121753</c:v>
                </c:pt>
                <c:pt idx="600">
                  <c:v>5270.6521721121753</c:v>
                </c:pt>
                <c:pt idx="601">
                  <c:v>5270.6521721123063</c:v>
                </c:pt>
                <c:pt idx="602">
                  <c:v>5270.6521721121753</c:v>
                </c:pt>
                <c:pt idx="603">
                  <c:v>5270.6521721121753</c:v>
                </c:pt>
                <c:pt idx="604">
                  <c:v>5270.6521721123063</c:v>
                </c:pt>
                <c:pt idx="605">
                  <c:v>5270.6521721121753</c:v>
                </c:pt>
                <c:pt idx="606">
                  <c:v>5270.6521721121753</c:v>
                </c:pt>
                <c:pt idx="607">
                  <c:v>5270.6521721123063</c:v>
                </c:pt>
                <c:pt idx="608">
                  <c:v>5270.6521721121753</c:v>
                </c:pt>
                <c:pt idx="609">
                  <c:v>5270.6521721121753</c:v>
                </c:pt>
                <c:pt idx="610">
                  <c:v>5270.6521721123063</c:v>
                </c:pt>
                <c:pt idx="611">
                  <c:v>5270.6521721121753</c:v>
                </c:pt>
                <c:pt idx="612">
                  <c:v>5270.6521721121753</c:v>
                </c:pt>
                <c:pt idx="613">
                  <c:v>5270.6521721123063</c:v>
                </c:pt>
                <c:pt idx="614">
                  <c:v>5270.6521721121753</c:v>
                </c:pt>
                <c:pt idx="615">
                  <c:v>5270.6521721121753</c:v>
                </c:pt>
                <c:pt idx="616">
                  <c:v>5270.6521721121753</c:v>
                </c:pt>
                <c:pt idx="617">
                  <c:v>5270.6521721121753</c:v>
                </c:pt>
                <c:pt idx="618">
                  <c:v>5270.6521721121753</c:v>
                </c:pt>
                <c:pt idx="619">
                  <c:v>4571.2411680966616</c:v>
                </c:pt>
                <c:pt idx="620">
                  <c:v>3818.2908577948256</c:v>
                </c:pt>
                <c:pt idx="621">
                  <c:v>3065.3405474931278</c:v>
                </c:pt>
                <c:pt idx="622">
                  <c:v>2312.3902371914228</c:v>
                </c:pt>
                <c:pt idx="623">
                  <c:v>1559.439926889725</c:v>
                </c:pt>
                <c:pt idx="624">
                  <c:v>806.48961658788903</c:v>
                </c:pt>
                <c:pt idx="625">
                  <c:v>53.539306286191277</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numCache>
            </c:numRef>
          </c:val>
          <c:extLst>
            <c:ext xmlns:c16="http://schemas.microsoft.com/office/drawing/2014/chart" uri="{C3380CC4-5D6E-409C-BE32-E72D297353CC}">
              <c16:uniqueId val="{00000001-C3AD-469F-B1BF-E695EBD6B462}"/>
            </c:ext>
          </c:extLst>
        </c:ser>
        <c:ser>
          <c:idx val="2"/>
          <c:order val="2"/>
          <c:spPr>
            <a:solidFill>
              <a:schemeClr val="accent1"/>
            </a:solidFill>
            <a:ln w="9525" algn="ctr">
              <a:solidFill>
                <a:schemeClr val="bg1"/>
              </a:solidFill>
              <a:prstDash val="solid"/>
            </a:ln>
          </c:spPr>
          <c:val>
            <c:numRef>
              <c:f>Sheet1!$A$3:$ABS$3</c:f>
              <c:numCache>
                <c:formatCode>General</c:formatCode>
                <c:ptCount val="747"/>
                <c:pt idx="0">
                  <c:v>85</c:v>
                </c:pt>
                <c:pt idx="1">
                  <c:v>377</c:v>
                </c:pt>
                <c:pt idx="2">
                  <c:v>950.33333333333394</c:v>
                </c:pt>
                <c:pt idx="3">
                  <c:v>1560</c:v>
                </c:pt>
                <c:pt idx="4">
                  <c:v>1621</c:v>
                </c:pt>
                <c:pt idx="5">
                  <c:v>1551.6666666666679</c:v>
                </c:pt>
                <c:pt idx="6">
                  <c:v>1833</c:v>
                </c:pt>
                <c:pt idx="7">
                  <c:v>2345.8571428571413</c:v>
                </c:pt>
                <c:pt idx="8">
                  <c:v>2845.4285714285725</c:v>
                </c:pt>
                <c:pt idx="9">
                  <c:v>2847.8571428571449</c:v>
                </c:pt>
                <c:pt idx="10">
                  <c:v>2400.8571428571413</c:v>
                </c:pt>
                <c:pt idx="11">
                  <c:v>2282.7142857142862</c:v>
                </c:pt>
                <c:pt idx="12">
                  <c:v>2206.1428571428587</c:v>
                </c:pt>
                <c:pt idx="13">
                  <c:v>2413.2857142857138</c:v>
                </c:pt>
                <c:pt idx="14">
                  <c:v>2848.2857142857138</c:v>
                </c:pt>
                <c:pt idx="15">
                  <c:v>3582.5714285714275</c:v>
                </c:pt>
                <c:pt idx="16">
                  <c:v>3821</c:v>
                </c:pt>
                <c:pt idx="17">
                  <c:v>4046.8571428571449</c:v>
                </c:pt>
                <c:pt idx="18">
                  <c:v>4350.7142857142862</c:v>
                </c:pt>
                <c:pt idx="19">
                  <c:v>4386.4285714285725</c:v>
                </c:pt>
                <c:pt idx="20">
                  <c:v>4714.8571428571413</c:v>
                </c:pt>
                <c:pt idx="21">
                  <c:v>5051.5714285714312</c:v>
                </c:pt>
                <c:pt idx="22">
                  <c:v>5214.7142857142862</c:v>
                </c:pt>
                <c:pt idx="23">
                  <c:v>6524.2857142857174</c:v>
                </c:pt>
                <c:pt idx="24">
                  <c:v>8241.1428571428551</c:v>
                </c:pt>
                <c:pt idx="25">
                  <c:v>8584.4285714285725</c:v>
                </c:pt>
                <c:pt idx="26">
                  <c:v>8862.4285714285725</c:v>
                </c:pt>
                <c:pt idx="27">
                  <c:v>10416.000000000007</c:v>
                </c:pt>
                <c:pt idx="28">
                  <c:v>12050.571428571435</c:v>
                </c:pt>
                <c:pt idx="29">
                  <c:v>14276.142857142855</c:v>
                </c:pt>
                <c:pt idx="30">
                  <c:v>17524.142857142855</c:v>
                </c:pt>
                <c:pt idx="31">
                  <c:v>21963</c:v>
                </c:pt>
                <c:pt idx="32">
                  <c:v>26258.71428571429</c:v>
                </c:pt>
                <c:pt idx="33">
                  <c:v>29621</c:v>
                </c:pt>
                <c:pt idx="34">
                  <c:v>33093.428571428565</c:v>
                </c:pt>
                <c:pt idx="35">
                  <c:v>39012.428571428565</c:v>
                </c:pt>
                <c:pt idx="36">
                  <c:v>46957.142857142855</c:v>
                </c:pt>
                <c:pt idx="37">
                  <c:v>56788</c:v>
                </c:pt>
                <c:pt idx="38">
                  <c:v>64729.999999999993</c:v>
                </c:pt>
                <c:pt idx="39">
                  <c:v>69968.28571428571</c:v>
                </c:pt>
                <c:pt idx="40">
                  <c:v>72271.142857142841</c:v>
                </c:pt>
                <c:pt idx="41">
                  <c:v>78679.571428571449</c:v>
                </c:pt>
                <c:pt idx="42">
                  <c:v>84743</c:v>
                </c:pt>
                <c:pt idx="43">
                  <c:v>89273.428571428551</c:v>
                </c:pt>
                <c:pt idx="44">
                  <c:v>91790.428571428565</c:v>
                </c:pt>
                <c:pt idx="45">
                  <c:v>93905.28571428571</c:v>
                </c:pt>
                <c:pt idx="46">
                  <c:v>96803.71428571429</c:v>
                </c:pt>
                <c:pt idx="47">
                  <c:v>98764.142857142841</c:v>
                </c:pt>
                <c:pt idx="48">
                  <c:v>101002.42857142855</c:v>
                </c:pt>
                <c:pt idx="49">
                  <c:v>103084.71428571429</c:v>
                </c:pt>
                <c:pt idx="50">
                  <c:v>105708.14285714287</c:v>
                </c:pt>
                <c:pt idx="51">
                  <c:v>108276.57142857143</c:v>
                </c:pt>
                <c:pt idx="52">
                  <c:v>111872.14285714284</c:v>
                </c:pt>
                <c:pt idx="53">
                  <c:v>113652.99999999999</c:v>
                </c:pt>
                <c:pt idx="54">
                  <c:v>112266.85714285714</c:v>
                </c:pt>
                <c:pt idx="55">
                  <c:v>113446.14285714286</c:v>
                </c:pt>
                <c:pt idx="56">
                  <c:v>113801.28571428571</c:v>
                </c:pt>
                <c:pt idx="57">
                  <c:v>115509.14285714284</c:v>
                </c:pt>
                <c:pt idx="58">
                  <c:v>118404.42857142857</c:v>
                </c:pt>
                <c:pt idx="59">
                  <c:v>121422.28571428571</c:v>
                </c:pt>
                <c:pt idx="60">
                  <c:v>122446.57142857143</c:v>
                </c:pt>
                <c:pt idx="61">
                  <c:v>125815</c:v>
                </c:pt>
                <c:pt idx="62">
                  <c:v>124148.42857142858</c:v>
                </c:pt>
                <c:pt idx="63">
                  <c:v>130679.85714285716</c:v>
                </c:pt>
                <c:pt idx="64">
                  <c:v>135030.71428571432</c:v>
                </c:pt>
                <c:pt idx="65">
                  <c:v>137484.57142857142</c:v>
                </c:pt>
                <c:pt idx="66">
                  <c:v>136618</c:v>
                </c:pt>
                <c:pt idx="67">
                  <c:v>134782.42857142858</c:v>
                </c:pt>
                <c:pt idx="68">
                  <c:v>133066.28571428571</c:v>
                </c:pt>
                <c:pt idx="69">
                  <c:v>133759.71428571432</c:v>
                </c:pt>
                <c:pt idx="70">
                  <c:v>131213.28571428571</c:v>
                </c:pt>
                <c:pt idx="71">
                  <c:v>132387.85714285713</c:v>
                </c:pt>
                <c:pt idx="72">
                  <c:v>135542.71428571429</c:v>
                </c:pt>
                <c:pt idx="73">
                  <c:v>143019.28571428571</c:v>
                </c:pt>
                <c:pt idx="74">
                  <c:v>150728</c:v>
                </c:pt>
                <c:pt idx="75">
                  <c:v>153890.85714285716</c:v>
                </c:pt>
                <c:pt idx="76">
                  <c:v>157885</c:v>
                </c:pt>
                <c:pt idx="77">
                  <c:v>158203.57142857142</c:v>
                </c:pt>
                <c:pt idx="78">
                  <c:v>156102.14285714287</c:v>
                </c:pt>
                <c:pt idx="79">
                  <c:v>151840.14285714287</c:v>
                </c:pt>
                <c:pt idx="80">
                  <c:v>142830.57142857139</c:v>
                </c:pt>
                <c:pt idx="81">
                  <c:v>135243.85714285713</c:v>
                </c:pt>
                <c:pt idx="82">
                  <c:v>130811.99999999997</c:v>
                </c:pt>
                <c:pt idx="83">
                  <c:v>123351</c:v>
                </c:pt>
                <c:pt idx="84">
                  <c:v>118439.57142857142</c:v>
                </c:pt>
                <c:pt idx="85">
                  <c:v>112319.14285714287</c:v>
                </c:pt>
                <c:pt idx="86">
                  <c:v>108189.42857142858</c:v>
                </c:pt>
                <c:pt idx="87">
                  <c:v>108273.57142857142</c:v>
                </c:pt>
                <c:pt idx="88">
                  <c:v>107364.42857142858</c:v>
                </c:pt>
                <c:pt idx="89">
                  <c:v>107220.14285714284</c:v>
                </c:pt>
                <c:pt idx="90">
                  <c:v>109600.42857142858</c:v>
                </c:pt>
                <c:pt idx="91">
                  <c:v>109648.14285714287</c:v>
                </c:pt>
                <c:pt idx="92">
                  <c:v>107034.28571428574</c:v>
                </c:pt>
                <c:pt idx="93">
                  <c:v>102598.85714285713</c:v>
                </c:pt>
                <c:pt idx="94">
                  <c:v>96209.142857142841</c:v>
                </c:pt>
                <c:pt idx="95">
                  <c:v>91570.71428571429</c:v>
                </c:pt>
                <c:pt idx="96">
                  <c:v>87763.857142857159</c:v>
                </c:pt>
                <c:pt idx="97">
                  <c:v>81647.285714285681</c:v>
                </c:pt>
                <c:pt idx="98">
                  <c:v>74872.57142857142</c:v>
                </c:pt>
                <c:pt idx="99">
                  <c:v>70528.714285714319</c:v>
                </c:pt>
                <c:pt idx="100">
                  <c:v>66212.142857142841</c:v>
                </c:pt>
                <c:pt idx="101">
                  <c:v>63822.285714285739</c:v>
                </c:pt>
                <c:pt idx="102">
                  <c:v>63027</c:v>
                </c:pt>
                <c:pt idx="103">
                  <c:v>63807.714285714261</c:v>
                </c:pt>
                <c:pt idx="104">
                  <c:v>63933.285714285739</c:v>
                </c:pt>
                <c:pt idx="105">
                  <c:v>63751.714285714261</c:v>
                </c:pt>
                <c:pt idx="106">
                  <c:v>62944</c:v>
                </c:pt>
                <c:pt idx="107">
                  <c:v>61323</c:v>
                </c:pt>
                <c:pt idx="108">
                  <c:v>58058.142857142841</c:v>
                </c:pt>
                <c:pt idx="109">
                  <c:v>55033</c:v>
                </c:pt>
                <c:pt idx="110">
                  <c:v>53022.57142857142</c:v>
                </c:pt>
                <c:pt idx="111">
                  <c:v>51187.714285714261</c:v>
                </c:pt>
                <c:pt idx="112">
                  <c:v>48681.857142857159</c:v>
                </c:pt>
                <c:pt idx="113">
                  <c:v>45679.57142857142</c:v>
                </c:pt>
                <c:pt idx="114">
                  <c:v>43385.285714285739</c:v>
                </c:pt>
                <c:pt idx="115">
                  <c:v>41486.57142857142</c:v>
                </c:pt>
                <c:pt idx="116">
                  <c:v>41157.142857142841</c:v>
                </c:pt>
                <c:pt idx="117">
                  <c:v>41159.142857142841</c:v>
                </c:pt>
                <c:pt idx="118">
                  <c:v>39646.857142857159</c:v>
                </c:pt>
                <c:pt idx="119">
                  <c:v>37318.714285714261</c:v>
                </c:pt>
                <c:pt idx="120">
                  <c:v>35326.714285714261</c:v>
                </c:pt>
                <c:pt idx="121">
                  <c:v>32995.142857142841</c:v>
                </c:pt>
                <c:pt idx="122">
                  <c:v>30923</c:v>
                </c:pt>
                <c:pt idx="123">
                  <c:v>29199.714285714261</c:v>
                </c:pt>
                <c:pt idx="124">
                  <c:v>28496</c:v>
                </c:pt>
                <c:pt idx="125">
                  <c:v>27306.714285714261</c:v>
                </c:pt>
                <c:pt idx="126">
                  <c:v>26351.285714285739</c:v>
                </c:pt>
                <c:pt idx="127">
                  <c:v>25543.142857142841</c:v>
                </c:pt>
                <c:pt idx="128">
                  <c:v>24775.857142857159</c:v>
                </c:pt>
                <c:pt idx="129">
                  <c:v>24170.285714285739</c:v>
                </c:pt>
                <c:pt idx="130">
                  <c:v>23759.285714285739</c:v>
                </c:pt>
                <c:pt idx="131">
                  <c:v>23710.57142857142</c:v>
                </c:pt>
                <c:pt idx="132">
                  <c:v>23471.142857142841</c:v>
                </c:pt>
                <c:pt idx="133">
                  <c:v>23176.857142857159</c:v>
                </c:pt>
                <c:pt idx="134">
                  <c:v>22603.42857142858</c:v>
                </c:pt>
                <c:pt idx="135">
                  <c:v>21872</c:v>
                </c:pt>
                <c:pt idx="136">
                  <c:v>21119.714285714261</c:v>
                </c:pt>
                <c:pt idx="137">
                  <c:v>20520.285714285739</c:v>
                </c:pt>
                <c:pt idx="138">
                  <c:v>20274</c:v>
                </c:pt>
                <c:pt idx="139">
                  <c:v>19572.857142857159</c:v>
                </c:pt>
                <c:pt idx="140">
                  <c:v>18985.142857142841</c:v>
                </c:pt>
                <c:pt idx="141">
                  <c:v>18406.142857142841</c:v>
                </c:pt>
                <c:pt idx="142">
                  <c:v>17706.714285714261</c:v>
                </c:pt>
                <c:pt idx="143">
                  <c:v>17011.285714285739</c:v>
                </c:pt>
                <c:pt idx="144">
                  <c:v>16618</c:v>
                </c:pt>
                <c:pt idx="145">
                  <c:v>16298.142857142841</c:v>
                </c:pt>
                <c:pt idx="146">
                  <c:v>15725.57142857142</c:v>
                </c:pt>
                <c:pt idx="147">
                  <c:v>14967.142857142841</c:v>
                </c:pt>
                <c:pt idx="148">
                  <c:v>14221.28571428571</c:v>
                </c:pt>
                <c:pt idx="149">
                  <c:v>13537</c:v>
                </c:pt>
                <c:pt idx="150">
                  <c:v>13096.28571428571</c:v>
                </c:pt>
                <c:pt idx="151">
                  <c:v>13111.28571428571</c:v>
                </c:pt>
                <c:pt idx="152">
                  <c:v>13223.571428571449</c:v>
                </c:pt>
                <c:pt idx="153">
                  <c:v>13194.714285714261</c:v>
                </c:pt>
                <c:pt idx="154">
                  <c:v>12991.42857142858</c:v>
                </c:pt>
                <c:pt idx="155">
                  <c:v>12784.42857142858</c:v>
                </c:pt>
                <c:pt idx="156">
                  <c:v>12740.14285714287</c:v>
                </c:pt>
                <c:pt idx="157">
                  <c:v>12637</c:v>
                </c:pt>
                <c:pt idx="158">
                  <c:v>12418</c:v>
                </c:pt>
                <c:pt idx="159">
                  <c:v>12345.28571428571</c:v>
                </c:pt>
                <c:pt idx="160">
                  <c:v>12119.28571428571</c:v>
                </c:pt>
                <c:pt idx="161">
                  <c:v>11675.71428571429</c:v>
                </c:pt>
                <c:pt idx="162">
                  <c:v>11196.85714285713</c:v>
                </c:pt>
                <c:pt idx="163">
                  <c:v>10628.71428571429</c:v>
                </c:pt>
                <c:pt idx="164">
                  <c:v>10092</c:v>
                </c:pt>
                <c:pt idx="165">
                  <c:v>9611.1428571428696</c:v>
                </c:pt>
                <c:pt idx="166">
                  <c:v>9383.5714285714203</c:v>
                </c:pt>
                <c:pt idx="167">
                  <c:v>8040.8571428571449</c:v>
                </c:pt>
                <c:pt idx="168">
                  <c:v>7936.7142857142899</c:v>
                </c:pt>
                <c:pt idx="169">
                  <c:v>7634.5714285714348</c:v>
                </c:pt>
                <c:pt idx="170">
                  <c:v>7315.5714285714348</c:v>
                </c:pt>
                <c:pt idx="171">
                  <c:v>7041.4285714285652</c:v>
                </c:pt>
                <c:pt idx="172">
                  <c:v>7040.2857142857101</c:v>
                </c:pt>
                <c:pt idx="173">
                  <c:v>6964.1428571428696</c:v>
                </c:pt>
                <c:pt idx="174">
                  <c:v>7748.4285714285797</c:v>
                </c:pt>
                <c:pt idx="175">
                  <c:v>7288.2857142857101</c:v>
                </c:pt>
                <c:pt idx="176">
                  <c:v>7070.4285714285797</c:v>
                </c:pt>
                <c:pt idx="177">
                  <c:v>6941.8571428571304</c:v>
                </c:pt>
                <c:pt idx="178">
                  <c:v>6788.4285714285797</c:v>
                </c:pt>
                <c:pt idx="179">
                  <c:v>6657.5714285714203</c:v>
                </c:pt>
                <c:pt idx="180">
                  <c:v>6644.5714285714203</c:v>
                </c:pt>
                <c:pt idx="181">
                  <c:v>6579</c:v>
                </c:pt>
                <c:pt idx="182">
                  <c:v>6510.8571428571449</c:v>
                </c:pt>
                <c:pt idx="183">
                  <c:v>6356.2857142857101</c:v>
                </c:pt>
                <c:pt idx="184">
                  <c:v>6112.1428571428551</c:v>
                </c:pt>
                <c:pt idx="185">
                  <c:v>5871.4285714285652</c:v>
                </c:pt>
                <c:pt idx="186">
                  <c:v>5679.2857142857101</c:v>
                </c:pt>
                <c:pt idx="187">
                  <c:v>5620</c:v>
                </c:pt>
                <c:pt idx="188">
                  <c:v>5312</c:v>
                </c:pt>
                <c:pt idx="189">
                  <c:v>5085.7142857142899</c:v>
                </c:pt>
                <c:pt idx="190">
                  <c:v>4934.4285714285652</c:v>
                </c:pt>
                <c:pt idx="191">
                  <c:v>4824.2857142857101</c:v>
                </c:pt>
                <c:pt idx="192">
                  <c:v>4729</c:v>
                </c:pt>
                <c:pt idx="193">
                  <c:v>4706.1428571428551</c:v>
                </c:pt>
                <c:pt idx="194">
                  <c:v>4708.4285714285652</c:v>
                </c:pt>
                <c:pt idx="195">
                  <c:v>4663.2857142857101</c:v>
                </c:pt>
                <c:pt idx="196">
                  <c:v>4506.4285714285652</c:v>
                </c:pt>
                <c:pt idx="197">
                  <c:v>4392.2857142857101</c:v>
                </c:pt>
                <c:pt idx="198">
                  <c:v>4257.2857142857101</c:v>
                </c:pt>
                <c:pt idx="199">
                  <c:v>4152.7142857142899</c:v>
                </c:pt>
                <c:pt idx="200">
                  <c:v>4045.0000000000073</c:v>
                </c:pt>
                <c:pt idx="201">
                  <c:v>3873.5714285714275</c:v>
                </c:pt>
                <c:pt idx="202">
                  <c:v>3671</c:v>
                </c:pt>
                <c:pt idx="203">
                  <c:v>3730.7142857142826</c:v>
                </c:pt>
                <c:pt idx="204">
                  <c:v>3688.7142857142826</c:v>
                </c:pt>
                <c:pt idx="205">
                  <c:v>3668</c:v>
                </c:pt>
                <c:pt idx="206">
                  <c:v>3625</c:v>
                </c:pt>
                <c:pt idx="207">
                  <c:v>3626.2857142857174</c:v>
                </c:pt>
                <c:pt idx="208">
                  <c:v>3758.1428571428551</c:v>
                </c:pt>
                <c:pt idx="209">
                  <c:v>3969.4285714285652</c:v>
                </c:pt>
                <c:pt idx="210">
                  <c:v>3804.1428571428551</c:v>
                </c:pt>
                <c:pt idx="211">
                  <c:v>3736</c:v>
                </c:pt>
                <c:pt idx="212">
                  <c:v>3680.7142857142826</c:v>
                </c:pt>
                <c:pt idx="213">
                  <c:v>3680.8571428571449</c:v>
                </c:pt>
                <c:pt idx="214">
                  <c:v>3715</c:v>
                </c:pt>
                <c:pt idx="215">
                  <c:v>3723.8571428571449</c:v>
                </c:pt>
                <c:pt idx="216">
                  <c:v>3739.5714285714275</c:v>
                </c:pt>
                <c:pt idx="217">
                  <c:v>3797.2857142857174</c:v>
                </c:pt>
                <c:pt idx="218">
                  <c:v>3867.4285714285725</c:v>
                </c:pt>
                <c:pt idx="219">
                  <c:v>3967.4285714285652</c:v>
                </c:pt>
                <c:pt idx="220">
                  <c:v>4050.4285714285652</c:v>
                </c:pt>
                <c:pt idx="221">
                  <c:v>4077.4285714285725</c:v>
                </c:pt>
                <c:pt idx="222">
                  <c:v>4077.9999999999927</c:v>
                </c:pt>
                <c:pt idx="223">
                  <c:v>4121.8571428571449</c:v>
                </c:pt>
                <c:pt idx="224">
                  <c:v>4190.2857142857101</c:v>
                </c:pt>
                <c:pt idx="225">
                  <c:v>4248.2857142857101</c:v>
                </c:pt>
                <c:pt idx="226">
                  <c:v>4275.7142857142826</c:v>
                </c:pt>
                <c:pt idx="227">
                  <c:v>4271.2857142857101</c:v>
                </c:pt>
                <c:pt idx="228">
                  <c:v>4262.4285714285652</c:v>
                </c:pt>
                <c:pt idx="229">
                  <c:v>4276.7142857142899</c:v>
                </c:pt>
                <c:pt idx="230">
                  <c:v>4298</c:v>
                </c:pt>
                <c:pt idx="231">
                  <c:v>4271.7142857142899</c:v>
                </c:pt>
                <c:pt idx="232">
                  <c:v>4235.5714285714348</c:v>
                </c:pt>
                <c:pt idx="233">
                  <c:v>4212.5714285714348</c:v>
                </c:pt>
                <c:pt idx="234">
                  <c:v>4221.8571428571449</c:v>
                </c:pt>
                <c:pt idx="235">
                  <c:v>4221.2857142857101</c:v>
                </c:pt>
                <c:pt idx="236">
                  <c:v>4252.1428571428551</c:v>
                </c:pt>
                <c:pt idx="237">
                  <c:v>4278.4285714285652</c:v>
                </c:pt>
                <c:pt idx="238">
                  <c:v>4284.1428571428551</c:v>
                </c:pt>
                <c:pt idx="239">
                  <c:v>4219.2857142857101</c:v>
                </c:pt>
                <c:pt idx="240">
                  <c:v>4231.7142857142899</c:v>
                </c:pt>
                <c:pt idx="241">
                  <c:v>4240.8571428571449</c:v>
                </c:pt>
                <c:pt idx="242">
                  <c:v>4402.6119356642303</c:v>
                </c:pt>
                <c:pt idx="243">
                  <c:v>4679.2787361964583</c:v>
                </c:pt>
                <c:pt idx="244">
                  <c:v>4766.1423859617498</c:v>
                </c:pt>
                <c:pt idx="245">
                  <c:v>4815.3207205398212</c:v>
                </c:pt>
                <c:pt idx="246">
                  <c:v>4950.6200985844625</c:v>
                </c:pt>
                <c:pt idx="247">
                  <c:v>5005.0813619217661</c:v>
                </c:pt>
                <c:pt idx="248">
                  <c:v>5002.2112708693166</c:v>
                </c:pt>
                <c:pt idx="249">
                  <c:v>5039.4452756824176</c:v>
                </c:pt>
                <c:pt idx="250">
                  <c:v>5060.9459198902186</c:v>
                </c:pt>
                <c:pt idx="251">
                  <c:v>5065.3001863565296</c:v>
                </c:pt>
                <c:pt idx="252">
                  <c:v>5056.7847246224264</c:v>
                </c:pt>
                <c:pt idx="253">
                  <c:v>5048.6588516799529</c:v>
                </c:pt>
                <c:pt idx="254">
                  <c:v>5044.9875833589031</c:v>
                </c:pt>
                <c:pt idx="255">
                  <c:v>5049.1667074707511</c:v>
                </c:pt>
                <c:pt idx="256">
                  <c:v>5052.8649407909979</c:v>
                </c:pt>
                <c:pt idx="257">
                  <c:v>5065.7638074558781</c:v>
                </c:pt>
                <c:pt idx="258">
                  <c:v>5044.8647445834067</c:v>
                </c:pt>
                <c:pt idx="259">
                  <c:v>5022.310776299928</c:v>
                </c:pt>
                <c:pt idx="260">
                  <c:v>4961.2409471768333</c:v>
                </c:pt>
                <c:pt idx="261">
                  <c:v>4932.8980781880382</c:v>
                </c:pt>
                <c:pt idx="262">
                  <c:v>4901.6218831781298</c:v>
                </c:pt>
                <c:pt idx="263">
                  <c:v>4990.7379784059885</c:v>
                </c:pt>
                <c:pt idx="264">
                  <c:v>5177.2056639165239</c:v>
                </c:pt>
                <c:pt idx="265">
                  <c:v>5172.3447625453409</c:v>
                </c:pt>
                <c:pt idx="266">
                  <c:v>5150.7136812055687</c:v>
                </c:pt>
                <c:pt idx="267">
                  <c:v>5167.2833882559644</c:v>
                </c:pt>
                <c:pt idx="268">
                  <c:v>5146.1624605509278</c:v>
                </c:pt>
                <c:pt idx="269">
                  <c:v>5100.8671168658329</c:v>
                </c:pt>
                <c:pt idx="270">
                  <c:v>5129.3307216782123</c:v>
                </c:pt>
                <c:pt idx="271">
                  <c:v>5149.1296850025101</c:v>
                </c:pt>
                <c:pt idx="272">
                  <c:v>5145.1188308718993</c:v>
                </c:pt>
                <c:pt idx="273">
                  <c:v>5141.2294120618317</c:v>
                </c:pt>
                <c:pt idx="274">
                  <c:v>5139.8745164692955</c:v>
                </c:pt>
                <c:pt idx="275">
                  <c:v>5135.9589633569121</c:v>
                </c:pt>
                <c:pt idx="276">
                  <c:v>5134.5013209006574</c:v>
                </c:pt>
                <c:pt idx="277">
                  <c:v>5139.3062071917375</c:v>
                </c:pt>
                <c:pt idx="278">
                  <c:v>5140.7312765507231</c:v>
                </c:pt>
                <c:pt idx="279">
                  <c:v>25064.990687588492</c:v>
                </c:pt>
                <c:pt idx="280">
                  <c:v>44723.508824553079</c:v>
                </c:pt>
                <c:pt idx="281">
                  <c:v>63962.32570855401</c:v>
                </c:pt>
                <c:pt idx="282">
                  <c:v>82063.285208297893</c:v>
                </c:pt>
                <c:pt idx="283">
                  <c:v>99196.344934251712</c:v>
                </c:pt>
                <c:pt idx="284">
                  <c:v>116870.65787026897</c:v>
                </c:pt>
                <c:pt idx="285">
                  <c:v>135008.36554225371</c:v>
                </c:pt>
                <c:pt idx="286">
                  <c:v>133761.97655980341</c:v>
                </c:pt>
                <c:pt idx="287">
                  <c:v>132290.15238411404</c:v>
                </c:pt>
                <c:pt idx="288">
                  <c:v>131208.42653693765</c:v>
                </c:pt>
                <c:pt idx="289">
                  <c:v>130527.60712175042</c:v>
                </c:pt>
                <c:pt idx="290">
                  <c:v>130087.9665204651</c:v>
                </c:pt>
                <c:pt idx="291">
                  <c:v>129692.00575581403</c:v>
                </c:pt>
                <c:pt idx="292">
                  <c:v>129247.54087648942</c:v>
                </c:pt>
                <c:pt idx="293">
                  <c:v>132656.31162276119</c:v>
                </c:pt>
                <c:pt idx="294">
                  <c:v>138900.42888658919</c:v>
                </c:pt>
                <c:pt idx="295">
                  <c:v>145349.96369983657</c:v>
                </c:pt>
                <c:pt idx="296">
                  <c:v>151330.5385475058</c:v>
                </c:pt>
                <c:pt idx="297">
                  <c:v>156495.46743872546</c:v>
                </c:pt>
                <c:pt idx="298">
                  <c:v>161196.12869172118</c:v>
                </c:pt>
                <c:pt idx="299">
                  <c:v>166431.2728886556</c:v>
                </c:pt>
                <c:pt idx="300">
                  <c:v>167149.74599591218</c:v>
                </c:pt>
                <c:pt idx="301">
                  <c:v>165927.5569344355</c:v>
                </c:pt>
                <c:pt idx="302">
                  <c:v>164380.31341524661</c:v>
                </c:pt>
                <c:pt idx="303">
                  <c:v>162982.52750009374</c:v>
                </c:pt>
                <c:pt idx="304">
                  <c:v>162097.44571750477</c:v>
                </c:pt>
                <c:pt idx="305">
                  <c:v>161680.66080949141</c:v>
                </c:pt>
                <c:pt idx="306">
                  <c:v>161005.85552943341</c:v>
                </c:pt>
                <c:pt idx="307">
                  <c:v>141420.7333508365</c:v>
                </c:pt>
                <c:pt idx="308">
                  <c:v>120968.77014248125</c:v>
                </c:pt>
                <c:pt idx="309">
                  <c:v>100712.8881796886</c:v>
                </c:pt>
                <c:pt idx="310">
                  <c:v>81347.653137175366</c:v>
                </c:pt>
                <c:pt idx="311">
                  <c:v>61771.354537171719</c:v>
                </c:pt>
                <c:pt idx="312">
                  <c:v>40836.159010475792</c:v>
                </c:pt>
                <c:pt idx="313">
                  <c:v>20476.352424126904</c:v>
                </c:pt>
                <c:pt idx="314">
                  <c:v>19655.589224504336</c:v>
                </c:pt>
                <c:pt idx="315">
                  <c:v>19231.58930505786</c:v>
                </c:pt>
                <c:pt idx="316">
                  <c:v>18798.017901273415</c:v>
                </c:pt>
                <c:pt idx="317">
                  <c:v>18318.017879644933</c:v>
                </c:pt>
                <c:pt idx="318">
                  <c:v>18125.160703777743</c:v>
                </c:pt>
                <c:pt idx="319">
                  <c:v>18051.874972903577</c:v>
                </c:pt>
                <c:pt idx="320">
                  <c:v>17769.160693797137</c:v>
                </c:pt>
                <c:pt idx="321">
                  <c:v>17492.874995239079</c:v>
                </c:pt>
                <c:pt idx="322">
                  <c:v>17265.017860446125</c:v>
                </c:pt>
                <c:pt idx="323">
                  <c:v>16766.732143868809</c:v>
                </c:pt>
                <c:pt idx="324">
                  <c:v>16393.017851994489</c:v>
                </c:pt>
                <c:pt idx="325">
                  <c:v>16151.446419473214</c:v>
                </c:pt>
                <c:pt idx="326">
                  <c:v>15949.589276817511</c:v>
                </c:pt>
                <c:pt idx="327">
                  <c:v>15555.73213656008</c:v>
                </c:pt>
                <c:pt idx="328">
                  <c:v>15023.303567158873</c:v>
                </c:pt>
                <c:pt idx="329">
                  <c:v>14524.58928151484</c:v>
                </c:pt>
                <c:pt idx="330">
                  <c:v>14144.732137585874</c:v>
                </c:pt>
                <c:pt idx="331">
                  <c:v>13863.874993831181</c:v>
                </c:pt>
                <c:pt idx="332">
                  <c:v>13936.017850829026</c:v>
                </c:pt>
                <c:pt idx="333">
                  <c:v>14038.589279797452</c:v>
                </c:pt>
                <c:pt idx="334">
                  <c:v>13990.303565938288</c:v>
                </c:pt>
                <c:pt idx="335">
                  <c:v>13853.732137481536</c:v>
                </c:pt>
                <c:pt idx="336">
                  <c:v>13670.017851609213</c:v>
                </c:pt>
                <c:pt idx="337">
                  <c:v>13630.73213713296</c:v>
                </c:pt>
                <c:pt idx="338">
                  <c:v>13601.303565639741</c:v>
                </c:pt>
                <c:pt idx="339">
                  <c:v>13435.017851407785</c:v>
                </c:pt>
                <c:pt idx="340">
                  <c:v>13357.017851490789</c:v>
                </c:pt>
                <c:pt idx="341">
                  <c:v>13223.446422956622</c:v>
                </c:pt>
                <c:pt idx="342">
                  <c:v>12946.732137225306</c:v>
                </c:pt>
                <c:pt idx="343">
                  <c:v>12654.874994331447</c:v>
                </c:pt>
                <c:pt idx="344">
                  <c:v>12259.160708597716</c:v>
                </c:pt>
                <c:pt idx="345">
                  <c:v>11828.446422888752</c:v>
                </c:pt>
                <c:pt idx="346">
                  <c:v>11431.732137189654</c:v>
                </c:pt>
                <c:pt idx="347">
                  <c:v>11267.017851484939</c:v>
                </c:pt>
                <c:pt idx="348">
                  <c:v>10373.874994341284</c:v>
                </c:pt>
                <c:pt idx="349">
                  <c:v>10352.87499433491</c:v>
                </c:pt>
                <c:pt idx="350">
                  <c:v>10141.160708615556</c:v>
                </c:pt>
                <c:pt idx="351">
                  <c:v>9956.8749943301082</c:v>
                </c:pt>
                <c:pt idx="352">
                  <c:v>9821.1607086182048</c:v>
                </c:pt>
                <c:pt idx="353">
                  <c:v>9888.5892800489091</c:v>
                </c:pt>
                <c:pt idx="354">
                  <c:v>9846.0178514777508</c:v>
                </c:pt>
                <c:pt idx="355">
                  <c:v>10350.303565762413</c:v>
                </c:pt>
                <c:pt idx="356">
                  <c:v>9989.8749943327566</c:v>
                </c:pt>
                <c:pt idx="357">
                  <c:v>9850.5892800470465</c:v>
                </c:pt>
                <c:pt idx="358">
                  <c:v>9773.1607086184958</c:v>
                </c:pt>
                <c:pt idx="359">
                  <c:v>9629.8749943333096</c:v>
                </c:pt>
                <c:pt idx="360">
                  <c:v>9538.8749943335715</c:v>
                </c:pt>
                <c:pt idx="361">
                  <c:v>9549.4464229052537</c:v>
                </c:pt>
                <c:pt idx="362">
                  <c:v>9494.017851476412</c:v>
                </c:pt>
                <c:pt idx="363">
                  <c:v>9430.8749943335715</c:v>
                </c:pt>
                <c:pt idx="364">
                  <c:v>9304.1607086190197</c:v>
                </c:pt>
                <c:pt idx="365">
                  <c:v>9108.1607086192816</c:v>
                </c:pt>
                <c:pt idx="366">
                  <c:v>8949.7321371907019</c:v>
                </c:pt>
                <c:pt idx="367">
                  <c:v>8807.4464229049918</c:v>
                </c:pt>
                <c:pt idx="368">
                  <c:v>8748.1607086190197</c:v>
                </c:pt>
                <c:pt idx="369">
                  <c:v>8479.8749943330477</c:v>
                </c:pt>
                <c:pt idx="370">
                  <c:v>8296.0178514758882</c:v>
                </c:pt>
                <c:pt idx="371">
                  <c:v>8147.8749943333096</c:v>
                </c:pt>
                <c:pt idx="372">
                  <c:v>8060.4464229044679</c:v>
                </c:pt>
                <c:pt idx="373">
                  <c:v>7962.446422904206</c:v>
                </c:pt>
                <c:pt idx="374">
                  <c:v>7929.589280047323</c:v>
                </c:pt>
                <c:pt idx="375">
                  <c:v>7930.1607086187578</c:v>
                </c:pt>
                <c:pt idx="376">
                  <c:v>7910.0178514761501</c:v>
                </c:pt>
                <c:pt idx="377">
                  <c:v>7785.5892800473084</c:v>
                </c:pt>
                <c:pt idx="378">
                  <c:v>7702.4464229044679</c:v>
                </c:pt>
                <c:pt idx="379">
                  <c:v>7585.1607086190197</c:v>
                </c:pt>
                <c:pt idx="380">
                  <c:v>7505.3035657616128</c:v>
                </c:pt>
                <c:pt idx="381">
                  <c:v>7422.4464229044679</c:v>
                </c:pt>
                <c:pt idx="382">
                  <c:v>7318.589280047323</c:v>
                </c:pt>
                <c:pt idx="383">
                  <c:v>7217.3035657616128</c:v>
                </c:pt>
                <c:pt idx="384">
                  <c:v>7283.1607086187432</c:v>
                </c:pt>
                <c:pt idx="385">
                  <c:v>7256.3035657616128</c:v>
                </c:pt>
                <c:pt idx="386">
                  <c:v>7246.1607086187432</c:v>
                </c:pt>
                <c:pt idx="387">
                  <c:v>7222.1607086190197</c:v>
                </c:pt>
                <c:pt idx="388">
                  <c:v>7230.0178514758882</c:v>
                </c:pt>
                <c:pt idx="389">
                  <c:v>7303.589280047323</c:v>
                </c:pt>
                <c:pt idx="390">
                  <c:v>7427.3035657616128</c:v>
                </c:pt>
                <c:pt idx="391">
                  <c:v>7285.874994333295</c:v>
                </c:pt>
                <c:pt idx="392">
                  <c:v>7239.4464229047298</c:v>
                </c:pt>
                <c:pt idx="393">
                  <c:v>7186.8749943330331</c:v>
                </c:pt>
                <c:pt idx="394">
                  <c:v>7155.8749943330331</c:v>
                </c:pt>
                <c:pt idx="395">
                  <c:v>7153.5892800475849</c:v>
                </c:pt>
                <c:pt idx="396">
                  <c:v>7147.1607086187432</c:v>
                </c:pt>
                <c:pt idx="397">
                  <c:v>7114.8749943330331</c:v>
                </c:pt>
                <c:pt idx="398">
                  <c:v>7096.0178514758882</c:v>
                </c:pt>
                <c:pt idx="399">
                  <c:v>7080.4464229044679</c:v>
                </c:pt>
                <c:pt idx="400">
                  <c:v>7090.0178514758882</c:v>
                </c:pt>
                <c:pt idx="401">
                  <c:v>7083.732137190178</c:v>
                </c:pt>
                <c:pt idx="402">
                  <c:v>7073.4464229044679</c:v>
                </c:pt>
                <c:pt idx="403">
                  <c:v>7035.4464229047298</c:v>
                </c:pt>
                <c:pt idx="404">
                  <c:v>6977.73213719044</c:v>
                </c:pt>
                <c:pt idx="405">
                  <c:v>6982.7321371899161</c:v>
                </c:pt>
                <c:pt idx="406">
                  <c:v>6975.8749943330331</c:v>
                </c:pt>
                <c:pt idx="407">
                  <c:v>6954.0178514761647</c:v>
                </c:pt>
                <c:pt idx="408">
                  <c:v>6928.3035657618748</c:v>
                </c:pt>
                <c:pt idx="409">
                  <c:v>6919.8749943330331</c:v>
                </c:pt>
                <c:pt idx="410">
                  <c:v>6939.3035657616128</c:v>
                </c:pt>
                <c:pt idx="411">
                  <c:v>6950.0178514758882</c:v>
                </c:pt>
                <c:pt idx="412">
                  <c:v>6927.3035657616128</c:v>
                </c:pt>
                <c:pt idx="413">
                  <c:v>6897.8749943330331</c:v>
                </c:pt>
                <c:pt idx="414">
                  <c:v>6873.1607086187432</c:v>
                </c:pt>
                <c:pt idx="415">
                  <c:v>6875.8749943330331</c:v>
                </c:pt>
                <c:pt idx="416">
                  <c:v>6878.3035657618748</c:v>
                </c:pt>
                <c:pt idx="417">
                  <c:v>6896.589280047323</c:v>
                </c:pt>
                <c:pt idx="418">
                  <c:v>6944.8749943330331</c:v>
                </c:pt>
                <c:pt idx="419">
                  <c:v>6975.0178514761647</c:v>
                </c:pt>
                <c:pt idx="420">
                  <c:v>6979.1607086187432</c:v>
                </c:pt>
                <c:pt idx="421">
                  <c:v>7023.589280047323</c:v>
                </c:pt>
                <c:pt idx="422">
                  <c:v>7068.8749943330331</c:v>
                </c:pt>
                <c:pt idx="423">
                  <c:v>7129.9563177525997</c:v>
                </c:pt>
                <c:pt idx="424">
                  <c:v>7194.1391532697889</c:v>
                </c:pt>
                <c:pt idx="425">
                  <c:v>7286.1639858758281</c:v>
                </c:pt>
                <c:pt idx="426">
                  <c:v>7359.8122437000275</c:v>
                </c:pt>
                <c:pt idx="427">
                  <c:v>7476.2201054548641</c:v>
                </c:pt>
                <c:pt idx="428">
                  <c:v>7554.8053501751274</c:v>
                </c:pt>
                <c:pt idx="429">
                  <c:v>7603.6483807028999</c:v>
                </c:pt>
                <c:pt idx="430">
                  <c:v>7608.5137081385765</c:v>
                </c:pt>
                <c:pt idx="431">
                  <c:v>7607.4035023993638</c:v>
                </c:pt>
                <c:pt idx="432">
                  <c:v>7616.2716496419162</c:v>
                </c:pt>
                <c:pt idx="433">
                  <c:v>7612.1775969604787</c:v>
                </c:pt>
                <c:pt idx="434">
                  <c:v>7605.6090596150607</c:v>
                </c:pt>
                <c:pt idx="435">
                  <c:v>7606.4163914461242</c:v>
                </c:pt>
                <c:pt idx="436">
                  <c:v>7612.2676326773508</c:v>
                </c:pt>
                <c:pt idx="437">
                  <c:v>7610.4892681927595</c:v>
                </c:pt>
                <c:pt idx="438">
                  <c:v>7621.7532627074252</c:v>
                </c:pt>
                <c:pt idx="439">
                  <c:v>7602.215895941481</c:v>
                </c:pt>
                <c:pt idx="440">
                  <c:v>7580.5733116686897</c:v>
                </c:pt>
                <c:pt idx="441">
                  <c:v>7519.9134344067425</c:v>
                </c:pt>
                <c:pt idx="442">
                  <c:v>7491.8166053172754</c:v>
                </c:pt>
                <c:pt idx="443">
                  <c:v>7460.1817987420218</c:v>
                </c:pt>
                <c:pt idx="444">
                  <c:v>7548.649178306965</c:v>
                </c:pt>
                <c:pt idx="445">
                  <c:v>7735.1578456027637</c:v>
                </c:pt>
                <c:pt idx="446">
                  <c:v>7730.5773337217252</c:v>
                </c:pt>
                <c:pt idx="447">
                  <c:v>7709.0721694992098</c:v>
                </c:pt>
                <c:pt idx="448">
                  <c:v>7725.6555841104855</c:v>
                </c:pt>
                <c:pt idx="449">
                  <c:v>7704.4917576371517</c:v>
                </c:pt>
                <c:pt idx="450">
                  <c:v>7659.112238231246</c:v>
                </c:pt>
                <c:pt idx="451">
                  <c:v>7687.5308724442293</c:v>
                </c:pt>
                <c:pt idx="452">
                  <c:v>7707.3711144636763</c:v>
                </c:pt>
                <c:pt idx="453">
                  <c:v>7703.4015814438462</c:v>
                </c:pt>
                <c:pt idx="454">
                  <c:v>7699.5193311183539</c:v>
                </c:pt>
                <c:pt idx="455">
                  <c:v>7698.1546399212821</c:v>
                </c:pt>
                <c:pt idx="456">
                  <c:v>7694.225933608468</c:v>
                </c:pt>
                <c:pt idx="457">
                  <c:v>7692.7593873188453</c:v>
                </c:pt>
                <c:pt idx="458">
                  <c:v>7697.5661229025573</c:v>
                </c:pt>
                <c:pt idx="459">
                  <c:v>7698.9997301112307</c:v>
                </c:pt>
                <c:pt idx="460">
                  <c:v>7697.8038180611475</c:v>
                </c:pt>
                <c:pt idx="461">
                  <c:v>7697.004137577751</c:v>
                </c:pt>
                <c:pt idx="462">
                  <c:v>7696.6448242142797</c:v>
                </c:pt>
                <c:pt idx="463">
                  <c:v>7696.4291362562944</c:v>
                </c:pt>
                <c:pt idx="464">
                  <c:v>7696.7438794914633</c:v>
                </c:pt>
                <c:pt idx="465">
                  <c:v>7697.3130926590966</c:v>
                </c:pt>
                <c:pt idx="466">
                  <c:v>7697.2769454813388</c:v>
                </c:pt>
                <c:pt idx="467">
                  <c:v>7697.0308333914727</c:v>
                </c:pt>
                <c:pt idx="468">
                  <c:v>7696.9204070099804</c:v>
                </c:pt>
                <c:pt idx="469">
                  <c:v>7696.9084455000993</c:v>
                </c:pt>
                <c:pt idx="470">
                  <c:v>7696.9461056842847</c:v>
                </c:pt>
                <c:pt idx="471">
                  <c:v>7697.0199584599031</c:v>
                </c:pt>
                <c:pt idx="472">
                  <c:v>7697.0593983126601</c:v>
                </c:pt>
                <c:pt idx="473">
                  <c:v>7697.0231562629342</c:v>
                </c:pt>
                <c:pt idx="474">
                  <c:v>7696.9869006600784</c:v>
                </c:pt>
                <c:pt idx="475">
                  <c:v>7696.980624556003</c:v>
                </c:pt>
                <c:pt idx="476">
                  <c:v>7696.9892270626297</c:v>
                </c:pt>
                <c:pt idx="477">
                  <c:v>7697.0007672855427</c:v>
                </c:pt>
                <c:pt idx="478">
                  <c:v>7697.008576085791</c:v>
                </c:pt>
                <c:pt idx="479">
                  <c:v>7697.0069500322279</c:v>
                </c:pt>
                <c:pt idx="480">
                  <c:v>7696.9994574210432</c:v>
                </c:pt>
                <c:pt idx="481">
                  <c:v>7696.9960718719085</c:v>
                </c:pt>
                <c:pt idx="482">
                  <c:v>7696.9973820447922</c:v>
                </c:pt>
                <c:pt idx="483">
                  <c:v>7696.9997759719554</c:v>
                </c:pt>
                <c:pt idx="484">
                  <c:v>7697.0012829591142</c:v>
                </c:pt>
                <c:pt idx="485">
                  <c:v>7697.0013566264679</c:v>
                </c:pt>
                <c:pt idx="486">
                  <c:v>7697.0003252753231</c:v>
                </c:pt>
                <c:pt idx="487">
                  <c:v>7696.9993788812862</c:v>
                </c:pt>
                <c:pt idx="488">
                  <c:v>7696.9993676615122</c:v>
                </c:pt>
                <c:pt idx="489">
                  <c:v>7696.9998384884384</c:v>
                </c:pt>
                <c:pt idx="490">
                  <c:v>7697.0001894091984</c:v>
                </c:pt>
                <c:pt idx="491">
                  <c:v>7697.0002484715369</c:v>
                </c:pt>
                <c:pt idx="492">
                  <c:v>7697.0001006876846</c:v>
                </c:pt>
                <c:pt idx="493">
                  <c:v>7696.9999212678522</c:v>
                </c:pt>
                <c:pt idx="494">
                  <c:v>7696.9998635527299</c:v>
                </c:pt>
                <c:pt idx="495">
                  <c:v>7696.9999327912374</c:v>
                </c:pt>
                <c:pt idx="496">
                  <c:v>7697.000013524128</c:v>
                </c:pt>
                <c:pt idx="497">
                  <c:v>7697.0000385290841</c:v>
                </c:pt>
                <c:pt idx="498">
                  <c:v>7697.0000169745545</c:v>
                </c:pt>
                <c:pt idx="499">
                  <c:v>7696.9999839040829</c:v>
                </c:pt>
                <c:pt idx="500">
                  <c:v>7696.9999672203703</c:v>
                </c:pt>
                <c:pt idx="501">
                  <c:v>7696.999973784863</c:v>
                </c:pt>
                <c:pt idx="502">
                  <c:v>7696.9999895329966</c:v>
                </c:pt>
                <c:pt idx="503">
                  <c:v>7696.9999976389663</c:v>
                </c:pt>
                <c:pt idx="504">
                  <c:v>7696.9999953694642</c:v>
                </c:pt>
                <c:pt idx="505">
                  <c:v>7696.9999892035776</c:v>
                </c:pt>
                <c:pt idx="506">
                  <c:v>7696.9999852361434</c:v>
                </c:pt>
                <c:pt idx="507">
                  <c:v>7696.9999854266644</c:v>
                </c:pt>
                <c:pt idx="508">
                  <c:v>7696.9999880274481</c:v>
                </c:pt>
                <c:pt idx="509">
                  <c:v>7696.9999900619878</c:v>
                </c:pt>
                <c:pt idx="510">
                  <c:v>7696.9999901375631</c:v>
                </c:pt>
                <c:pt idx="511">
                  <c:v>7696.9999890660038</c:v>
                </c:pt>
                <c:pt idx="512">
                  <c:v>7696.9999881660842</c:v>
                </c:pt>
                <c:pt idx="513">
                  <c:v>7696.9999880176038</c:v>
                </c:pt>
                <c:pt idx="514">
                  <c:v>7696.9999884148783</c:v>
                </c:pt>
                <c:pt idx="515">
                  <c:v>7696.9999888416933</c:v>
                </c:pt>
                <c:pt idx="516">
                  <c:v>7696.9999889577084</c:v>
                </c:pt>
                <c:pt idx="517">
                  <c:v>7696.9999888001839</c:v>
                </c:pt>
                <c:pt idx="518">
                  <c:v>7696.9999886091246</c:v>
                </c:pt>
                <c:pt idx="519">
                  <c:v>7696.999988543932</c:v>
                </c:pt>
                <c:pt idx="520">
                  <c:v>7696.9999885976868</c:v>
                </c:pt>
                <c:pt idx="521">
                  <c:v>7696.9999886804362</c:v>
                </c:pt>
                <c:pt idx="522">
                  <c:v>7696.9999887187587</c:v>
                </c:pt>
                <c:pt idx="523">
                  <c:v>7696.9999887017257</c:v>
                </c:pt>
                <c:pt idx="524">
                  <c:v>7696.9999886644728</c:v>
                </c:pt>
                <c:pt idx="525">
                  <c:v>7696.999988645046</c:v>
                </c:pt>
                <c:pt idx="526">
                  <c:v>7696.9999886501028</c:v>
                </c:pt>
                <c:pt idx="527">
                  <c:v>7696.9999886660735</c:v>
                </c:pt>
                <c:pt idx="528">
                  <c:v>7696.9999886756486</c:v>
                </c:pt>
                <c:pt idx="529">
                  <c:v>7696.9999886745863</c:v>
                </c:pt>
                <c:pt idx="530">
                  <c:v>7696.9999886676669</c:v>
                </c:pt>
                <c:pt idx="531">
                  <c:v>7696.9999886636724</c:v>
                </c:pt>
                <c:pt idx="532">
                  <c:v>7696.9999886634105</c:v>
                </c:pt>
                <c:pt idx="533">
                  <c:v>7696.9999886658043</c:v>
                </c:pt>
                <c:pt idx="534">
                  <c:v>7696.9999886676669</c:v>
                </c:pt>
                <c:pt idx="535">
                  <c:v>7696.9999886681981</c:v>
                </c:pt>
                <c:pt idx="536">
                  <c:v>7696.9999886671358</c:v>
                </c:pt>
                <c:pt idx="537">
                  <c:v>7696.9999886660735</c:v>
                </c:pt>
                <c:pt idx="538">
                  <c:v>7696.9999886658043</c:v>
                </c:pt>
                <c:pt idx="539">
                  <c:v>7696.9999886666046</c:v>
                </c:pt>
                <c:pt idx="540">
                  <c:v>7696.9999886666046</c:v>
                </c:pt>
                <c:pt idx="541">
                  <c:v>7696.9999886668666</c:v>
                </c:pt>
                <c:pt idx="542">
                  <c:v>7696.9999886666046</c:v>
                </c:pt>
                <c:pt idx="543">
                  <c:v>7696.9999886666046</c:v>
                </c:pt>
                <c:pt idx="544">
                  <c:v>7696.9999886668666</c:v>
                </c:pt>
                <c:pt idx="545">
                  <c:v>7696.9999886666046</c:v>
                </c:pt>
                <c:pt idx="546">
                  <c:v>7696.9999886663354</c:v>
                </c:pt>
                <c:pt idx="547">
                  <c:v>7696.9999886666046</c:v>
                </c:pt>
                <c:pt idx="548">
                  <c:v>7696.9999886666046</c:v>
                </c:pt>
                <c:pt idx="549">
                  <c:v>7696.9999886666046</c:v>
                </c:pt>
                <c:pt idx="550">
                  <c:v>7696.9999886663354</c:v>
                </c:pt>
                <c:pt idx="551">
                  <c:v>7696.9999886666046</c:v>
                </c:pt>
                <c:pt idx="552">
                  <c:v>7696.9999886666046</c:v>
                </c:pt>
                <c:pt idx="553">
                  <c:v>7696.9999886663354</c:v>
                </c:pt>
                <c:pt idx="554">
                  <c:v>7696.9999886666046</c:v>
                </c:pt>
                <c:pt idx="555">
                  <c:v>7696.9999886663354</c:v>
                </c:pt>
                <c:pt idx="556">
                  <c:v>7696.9999886666046</c:v>
                </c:pt>
                <c:pt idx="557">
                  <c:v>7696.9999886663354</c:v>
                </c:pt>
                <c:pt idx="558">
                  <c:v>7696.9999886663354</c:v>
                </c:pt>
                <c:pt idx="559">
                  <c:v>7696.9999886663354</c:v>
                </c:pt>
                <c:pt idx="560">
                  <c:v>7696.9999886666046</c:v>
                </c:pt>
                <c:pt idx="561">
                  <c:v>7696.9999886660735</c:v>
                </c:pt>
                <c:pt idx="562">
                  <c:v>7696.9999886666046</c:v>
                </c:pt>
                <c:pt idx="563">
                  <c:v>7696.9999886663354</c:v>
                </c:pt>
                <c:pt idx="564">
                  <c:v>7696.9999886666046</c:v>
                </c:pt>
                <c:pt idx="565">
                  <c:v>7696.9999886663354</c:v>
                </c:pt>
                <c:pt idx="566">
                  <c:v>7696.9999886663354</c:v>
                </c:pt>
                <c:pt idx="567">
                  <c:v>7696.9999886663354</c:v>
                </c:pt>
                <c:pt idx="568">
                  <c:v>7696.9999886666046</c:v>
                </c:pt>
                <c:pt idx="569">
                  <c:v>7696.9999886660735</c:v>
                </c:pt>
                <c:pt idx="570">
                  <c:v>7696.9999886663354</c:v>
                </c:pt>
                <c:pt idx="571">
                  <c:v>7696.9999886663354</c:v>
                </c:pt>
                <c:pt idx="572">
                  <c:v>7696.9999886660735</c:v>
                </c:pt>
                <c:pt idx="573">
                  <c:v>7696.9999886663354</c:v>
                </c:pt>
                <c:pt idx="574">
                  <c:v>7696.9999886663354</c:v>
                </c:pt>
                <c:pt idx="575">
                  <c:v>7696.9999886666046</c:v>
                </c:pt>
                <c:pt idx="576">
                  <c:v>7696.9999886666046</c:v>
                </c:pt>
                <c:pt idx="577">
                  <c:v>7696.9999886663354</c:v>
                </c:pt>
                <c:pt idx="578">
                  <c:v>7696.9999886663354</c:v>
                </c:pt>
                <c:pt idx="579">
                  <c:v>7696.9999886666046</c:v>
                </c:pt>
                <c:pt idx="580">
                  <c:v>7696.9999886663354</c:v>
                </c:pt>
                <c:pt idx="581">
                  <c:v>7696.9999886663354</c:v>
                </c:pt>
                <c:pt idx="582">
                  <c:v>7696.9999886660735</c:v>
                </c:pt>
                <c:pt idx="583">
                  <c:v>7696.9999886666046</c:v>
                </c:pt>
                <c:pt idx="584">
                  <c:v>7696.9999886666046</c:v>
                </c:pt>
                <c:pt idx="585">
                  <c:v>7696.9999886663354</c:v>
                </c:pt>
                <c:pt idx="586">
                  <c:v>7696.9999886663354</c:v>
                </c:pt>
                <c:pt idx="587">
                  <c:v>7696.9999886666046</c:v>
                </c:pt>
                <c:pt idx="588">
                  <c:v>7696.9999886663354</c:v>
                </c:pt>
                <c:pt idx="589">
                  <c:v>7696.9999886666046</c:v>
                </c:pt>
                <c:pt idx="590">
                  <c:v>7696.9999886660735</c:v>
                </c:pt>
                <c:pt idx="591">
                  <c:v>7696.9999886663354</c:v>
                </c:pt>
                <c:pt idx="592">
                  <c:v>7696.9999886663354</c:v>
                </c:pt>
                <c:pt idx="593">
                  <c:v>7696.9999886663354</c:v>
                </c:pt>
                <c:pt idx="594">
                  <c:v>7696.9999886660735</c:v>
                </c:pt>
                <c:pt idx="595">
                  <c:v>7696.9999886666046</c:v>
                </c:pt>
                <c:pt idx="596">
                  <c:v>7696.9999886660735</c:v>
                </c:pt>
                <c:pt idx="597">
                  <c:v>7696.9999886666046</c:v>
                </c:pt>
                <c:pt idx="598">
                  <c:v>7696.9999886663354</c:v>
                </c:pt>
                <c:pt idx="599">
                  <c:v>7696.9999886666046</c:v>
                </c:pt>
                <c:pt idx="600">
                  <c:v>7696.9999886663354</c:v>
                </c:pt>
                <c:pt idx="601">
                  <c:v>7696.9999886663354</c:v>
                </c:pt>
                <c:pt idx="602">
                  <c:v>7696.9999886663354</c:v>
                </c:pt>
                <c:pt idx="603">
                  <c:v>7696.9999886666046</c:v>
                </c:pt>
                <c:pt idx="604">
                  <c:v>7696.9999886660735</c:v>
                </c:pt>
                <c:pt idx="605">
                  <c:v>7696.9999886663354</c:v>
                </c:pt>
                <c:pt idx="606">
                  <c:v>7696.9999886663354</c:v>
                </c:pt>
                <c:pt idx="607">
                  <c:v>7696.9999886668666</c:v>
                </c:pt>
                <c:pt idx="608">
                  <c:v>7696.9999886666046</c:v>
                </c:pt>
                <c:pt idx="609">
                  <c:v>7696.9999886660735</c:v>
                </c:pt>
                <c:pt idx="610">
                  <c:v>7696.9999886663354</c:v>
                </c:pt>
                <c:pt idx="611">
                  <c:v>7696.9999886666046</c:v>
                </c:pt>
                <c:pt idx="612">
                  <c:v>7696.9999886666046</c:v>
                </c:pt>
                <c:pt idx="613">
                  <c:v>7696.9999886663354</c:v>
                </c:pt>
                <c:pt idx="614">
                  <c:v>7696.9999886660735</c:v>
                </c:pt>
                <c:pt idx="615">
                  <c:v>7696.9999886660735</c:v>
                </c:pt>
                <c:pt idx="616">
                  <c:v>7696.9999886666046</c:v>
                </c:pt>
                <c:pt idx="617">
                  <c:v>7696.9999886666046</c:v>
                </c:pt>
                <c:pt idx="618">
                  <c:v>7696.9999886666046</c:v>
                </c:pt>
                <c:pt idx="619">
                  <c:v>7696.9999886660735</c:v>
                </c:pt>
                <c:pt idx="620">
                  <c:v>7696.9999886666046</c:v>
                </c:pt>
                <c:pt idx="621">
                  <c:v>7696.9999886660735</c:v>
                </c:pt>
                <c:pt idx="622">
                  <c:v>7696.9999886666046</c:v>
                </c:pt>
                <c:pt idx="623">
                  <c:v>7696.9999886666046</c:v>
                </c:pt>
                <c:pt idx="624">
                  <c:v>7696.9999886660735</c:v>
                </c:pt>
                <c:pt idx="625">
                  <c:v>7696.9999886660735</c:v>
                </c:pt>
                <c:pt idx="626">
                  <c:v>7696.9999886666046</c:v>
                </c:pt>
                <c:pt idx="627">
                  <c:v>7696.9999886660735</c:v>
                </c:pt>
                <c:pt idx="628">
                  <c:v>7696.9999886666046</c:v>
                </c:pt>
                <c:pt idx="629">
                  <c:v>7696.9999886660735</c:v>
                </c:pt>
                <c:pt idx="630">
                  <c:v>7696.9999886660735</c:v>
                </c:pt>
                <c:pt idx="631">
                  <c:v>7696.9999886671358</c:v>
                </c:pt>
                <c:pt idx="632">
                  <c:v>7696.9999886666046</c:v>
                </c:pt>
                <c:pt idx="633">
                  <c:v>7696.9999886660735</c:v>
                </c:pt>
                <c:pt idx="634">
                  <c:v>7696.9999886666046</c:v>
                </c:pt>
                <c:pt idx="635">
                  <c:v>7696.9999886666046</c:v>
                </c:pt>
                <c:pt idx="636">
                  <c:v>7696.9999886666046</c:v>
                </c:pt>
                <c:pt idx="637">
                  <c:v>7696.9999886666046</c:v>
                </c:pt>
                <c:pt idx="638">
                  <c:v>7696.9999886660735</c:v>
                </c:pt>
                <c:pt idx="639">
                  <c:v>7696.9999886666046</c:v>
                </c:pt>
                <c:pt idx="640">
                  <c:v>7696.9999886666046</c:v>
                </c:pt>
                <c:pt idx="641">
                  <c:v>7696.9999886660735</c:v>
                </c:pt>
                <c:pt idx="642">
                  <c:v>7696.9999886660735</c:v>
                </c:pt>
                <c:pt idx="643">
                  <c:v>7696.9999886666046</c:v>
                </c:pt>
                <c:pt idx="644">
                  <c:v>7696.9999886660735</c:v>
                </c:pt>
                <c:pt idx="645">
                  <c:v>7696.9999886660735</c:v>
                </c:pt>
                <c:pt idx="646">
                  <c:v>7696.9999886660735</c:v>
                </c:pt>
                <c:pt idx="647">
                  <c:v>7696.9999886660735</c:v>
                </c:pt>
                <c:pt idx="648">
                  <c:v>7696.9999886666046</c:v>
                </c:pt>
                <c:pt idx="649">
                  <c:v>7696.9999886666046</c:v>
                </c:pt>
                <c:pt idx="650">
                  <c:v>7696.9999886660735</c:v>
                </c:pt>
                <c:pt idx="651">
                  <c:v>7696.9999886666046</c:v>
                </c:pt>
                <c:pt idx="652">
                  <c:v>7696.9999886660735</c:v>
                </c:pt>
                <c:pt idx="653">
                  <c:v>7696.9999886666046</c:v>
                </c:pt>
                <c:pt idx="654">
                  <c:v>7696.9999886666046</c:v>
                </c:pt>
                <c:pt idx="655">
                  <c:v>7696.9999886666046</c:v>
                </c:pt>
                <c:pt idx="656">
                  <c:v>7696.9999886666046</c:v>
                </c:pt>
                <c:pt idx="657">
                  <c:v>7696.9999886666046</c:v>
                </c:pt>
                <c:pt idx="658">
                  <c:v>7696.9999886660735</c:v>
                </c:pt>
                <c:pt idx="659">
                  <c:v>7696.9999886666046</c:v>
                </c:pt>
                <c:pt idx="660">
                  <c:v>7696.9999886666046</c:v>
                </c:pt>
                <c:pt idx="661">
                  <c:v>7696.9999886666046</c:v>
                </c:pt>
                <c:pt idx="662">
                  <c:v>7696.9999886660735</c:v>
                </c:pt>
                <c:pt idx="663">
                  <c:v>7696.9999886660735</c:v>
                </c:pt>
                <c:pt idx="664">
                  <c:v>7696.9999886666046</c:v>
                </c:pt>
                <c:pt idx="665">
                  <c:v>7696.9999886666046</c:v>
                </c:pt>
                <c:pt idx="666">
                  <c:v>7696.9999886660735</c:v>
                </c:pt>
                <c:pt idx="667">
                  <c:v>7696.9999886660735</c:v>
                </c:pt>
                <c:pt idx="668">
                  <c:v>7696.9999886666046</c:v>
                </c:pt>
                <c:pt idx="669">
                  <c:v>7696.9999886666046</c:v>
                </c:pt>
                <c:pt idx="670">
                  <c:v>7696.9999886660735</c:v>
                </c:pt>
                <c:pt idx="671">
                  <c:v>7696.9999886660735</c:v>
                </c:pt>
                <c:pt idx="672">
                  <c:v>7696.9999886666046</c:v>
                </c:pt>
                <c:pt idx="673">
                  <c:v>7696.9999886666046</c:v>
                </c:pt>
                <c:pt idx="674">
                  <c:v>7696.9999886660735</c:v>
                </c:pt>
                <c:pt idx="675">
                  <c:v>7696.9999886660735</c:v>
                </c:pt>
                <c:pt idx="676">
                  <c:v>7696.999988666601</c:v>
                </c:pt>
                <c:pt idx="677">
                  <c:v>7696.999988666601</c:v>
                </c:pt>
                <c:pt idx="678">
                  <c:v>7696.9999886660698</c:v>
                </c:pt>
                <c:pt idx="679">
                  <c:v>7696.9999886666028</c:v>
                </c:pt>
                <c:pt idx="680">
                  <c:v>7696.9999886666046</c:v>
                </c:pt>
                <c:pt idx="681">
                  <c:v>7696.9999886666028</c:v>
                </c:pt>
                <c:pt idx="682">
                  <c:v>7696.9999886666028</c:v>
                </c:pt>
                <c:pt idx="683">
                  <c:v>7696.9999886666028</c:v>
                </c:pt>
                <c:pt idx="684">
                  <c:v>7696.9999886666028</c:v>
                </c:pt>
                <c:pt idx="685">
                  <c:v>7696.9999886666028</c:v>
                </c:pt>
                <c:pt idx="686">
                  <c:v>7696.9999886660707</c:v>
                </c:pt>
                <c:pt idx="687">
                  <c:v>7328.3622335642576</c:v>
                </c:pt>
                <c:pt idx="688">
                  <c:v>6959.7244784624445</c:v>
                </c:pt>
                <c:pt idx="689">
                  <c:v>6591.0867233601002</c:v>
                </c:pt>
                <c:pt idx="690">
                  <c:v>6222.4489682582871</c:v>
                </c:pt>
                <c:pt idx="691">
                  <c:v>5853.8112131564749</c:v>
                </c:pt>
                <c:pt idx="692">
                  <c:v>5485.1734580546618</c:v>
                </c:pt>
                <c:pt idx="693">
                  <c:v>5116.5357029523166</c:v>
                </c:pt>
                <c:pt idx="694">
                  <c:v>5116.5357029523166</c:v>
                </c:pt>
                <c:pt idx="695">
                  <c:v>5116.5357029523166</c:v>
                </c:pt>
                <c:pt idx="696">
                  <c:v>5116.5357029523166</c:v>
                </c:pt>
                <c:pt idx="697">
                  <c:v>5116.5357029523166</c:v>
                </c:pt>
                <c:pt idx="698">
                  <c:v>5116.5357029517845</c:v>
                </c:pt>
                <c:pt idx="699">
                  <c:v>5116.5357029523166</c:v>
                </c:pt>
                <c:pt idx="700">
                  <c:v>5116.5357029523166</c:v>
                </c:pt>
                <c:pt idx="701">
                  <c:v>5116.5357029523166</c:v>
                </c:pt>
                <c:pt idx="702">
                  <c:v>5116.5357029523166</c:v>
                </c:pt>
                <c:pt idx="703">
                  <c:v>5116.5357029523166</c:v>
                </c:pt>
                <c:pt idx="704">
                  <c:v>5116.5357029523166</c:v>
                </c:pt>
                <c:pt idx="705">
                  <c:v>5116.5357029528486</c:v>
                </c:pt>
                <c:pt idx="706">
                  <c:v>5116.5357029523166</c:v>
                </c:pt>
                <c:pt idx="707">
                  <c:v>5116.5357029523166</c:v>
                </c:pt>
                <c:pt idx="708">
                  <c:v>5116.5357029523166</c:v>
                </c:pt>
                <c:pt idx="709">
                  <c:v>5116.5357029517845</c:v>
                </c:pt>
                <c:pt idx="710">
                  <c:v>5116.5357029523166</c:v>
                </c:pt>
                <c:pt idx="711">
                  <c:v>5116.5357029523166</c:v>
                </c:pt>
                <c:pt idx="712">
                  <c:v>5116.5357029517845</c:v>
                </c:pt>
                <c:pt idx="713">
                  <c:v>5116.5357029523166</c:v>
                </c:pt>
                <c:pt idx="714">
                  <c:v>5116.5357029523166</c:v>
                </c:pt>
                <c:pt idx="715">
                  <c:v>5116.5357029523166</c:v>
                </c:pt>
                <c:pt idx="716">
                  <c:v>5116.5357029523166</c:v>
                </c:pt>
                <c:pt idx="717">
                  <c:v>5116.5357029523166</c:v>
                </c:pt>
                <c:pt idx="718">
                  <c:v>5116.5357029523166</c:v>
                </c:pt>
                <c:pt idx="719">
                  <c:v>5116.5357029528486</c:v>
                </c:pt>
                <c:pt idx="720">
                  <c:v>5116.5357029523166</c:v>
                </c:pt>
                <c:pt idx="721">
                  <c:v>5116.5357029517845</c:v>
                </c:pt>
                <c:pt idx="722">
                  <c:v>5116.5357029523166</c:v>
                </c:pt>
                <c:pt idx="723">
                  <c:v>5116.5357029523166</c:v>
                </c:pt>
                <c:pt idx="724">
                  <c:v>5116.5357029523166</c:v>
                </c:pt>
                <c:pt idx="725">
                  <c:v>5116.5357029523166</c:v>
                </c:pt>
                <c:pt idx="726">
                  <c:v>5116.5357029517845</c:v>
                </c:pt>
                <c:pt idx="727">
                  <c:v>5116.5357029523166</c:v>
                </c:pt>
                <c:pt idx="728">
                  <c:v>5116.5357029528486</c:v>
                </c:pt>
                <c:pt idx="729">
                  <c:v>5116.5357029523166</c:v>
                </c:pt>
                <c:pt idx="730">
                  <c:v>5116.5357029523166</c:v>
                </c:pt>
                <c:pt idx="731">
                  <c:v>5116.5357029523166</c:v>
                </c:pt>
                <c:pt idx="732">
                  <c:v>5116.5357029523166</c:v>
                </c:pt>
                <c:pt idx="733">
                  <c:v>5116.5357029528486</c:v>
                </c:pt>
                <c:pt idx="734">
                  <c:v>5116.5357029523166</c:v>
                </c:pt>
                <c:pt idx="735">
                  <c:v>5116.5357029517845</c:v>
                </c:pt>
                <c:pt idx="736">
                  <c:v>5116.5357029523166</c:v>
                </c:pt>
                <c:pt idx="737">
                  <c:v>5116.5357029523166</c:v>
                </c:pt>
                <c:pt idx="738">
                  <c:v>5116.5357029523166</c:v>
                </c:pt>
                <c:pt idx="739">
                  <c:v>5116.5357029523166</c:v>
                </c:pt>
                <c:pt idx="740">
                  <c:v>5116.5357029517845</c:v>
                </c:pt>
                <c:pt idx="741">
                  <c:v>5116.5357029523166</c:v>
                </c:pt>
                <c:pt idx="742">
                  <c:v>5116.5357029528486</c:v>
                </c:pt>
                <c:pt idx="743">
                  <c:v>5116.5357029523166</c:v>
                </c:pt>
                <c:pt idx="744">
                  <c:v>5116.5357029523166</c:v>
                </c:pt>
                <c:pt idx="745">
                  <c:v>5116.5357029523166</c:v>
                </c:pt>
                <c:pt idx="746">
                  <c:v>5116.5357029523166</c:v>
                </c:pt>
              </c:numCache>
            </c:numRef>
          </c:val>
          <c:extLst>
            <c:ext xmlns:c16="http://schemas.microsoft.com/office/drawing/2014/chart" uri="{C3380CC4-5D6E-409C-BE32-E72D297353CC}">
              <c16:uniqueId val="{00000002-C3AD-469F-B1BF-E695EBD6B462}"/>
            </c:ext>
          </c:extLst>
        </c:ser>
        <c:ser>
          <c:idx val="3"/>
          <c:order val="3"/>
          <c:spPr>
            <a:solidFill>
              <a:srgbClr val="FF0000"/>
            </a:solidFill>
            <a:ln w="9525" algn="ctr">
              <a:solidFill>
                <a:schemeClr val="bg1"/>
              </a:solidFill>
              <a:prstDash val="solid"/>
            </a:ln>
          </c:spPr>
          <c:val>
            <c:numRef>
              <c:f>Sheet1!$A$4:$ABS$4</c:f>
              <c:numCache>
                <c:formatCode>General</c:formatCode>
                <c:ptCount val="74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15311.592739285712</c:v>
                </c:pt>
                <c:pt idx="242">
                  <c:v>16196.857939285677</c:v>
                </c:pt>
                <c:pt idx="243">
                  <c:v>15960.586113729994</c:v>
                </c:pt>
                <c:pt idx="244">
                  <c:v>15732.257275829514</c:v>
                </c:pt>
                <c:pt idx="245">
                  <c:v>16184.016063794727</c:v>
                </c:pt>
                <c:pt idx="246">
                  <c:v>16257.550094546459</c:v>
                </c:pt>
                <c:pt idx="247">
                  <c:v>16275.763730593811</c:v>
                </c:pt>
                <c:pt idx="248">
                  <c:v>16122.970643496315</c:v>
                </c:pt>
                <c:pt idx="249">
                  <c:v>16153.29504290456</c:v>
                </c:pt>
                <c:pt idx="250">
                  <c:v>16164.159564168789</c:v>
                </c:pt>
                <c:pt idx="251">
                  <c:v>16168.243237863906</c:v>
                </c:pt>
                <c:pt idx="252">
                  <c:v>16181.876589470092</c:v>
                </c:pt>
                <c:pt idx="253">
                  <c:v>16195.265035260789</c:v>
                </c:pt>
                <c:pt idx="254">
                  <c:v>16198.441671523135</c:v>
                </c:pt>
                <c:pt idx="255">
                  <c:v>16205.844031065353</c:v>
                </c:pt>
                <c:pt idx="256">
                  <c:v>16218.595582077804</c:v>
                </c:pt>
                <c:pt idx="257">
                  <c:v>16223.94695709752</c:v>
                </c:pt>
                <c:pt idx="258">
                  <c:v>16229.31002108434</c:v>
                </c:pt>
                <c:pt idx="259">
                  <c:v>16232.19875903058</c:v>
                </c:pt>
                <c:pt idx="260">
                  <c:v>16226.370500381672</c:v>
                </c:pt>
                <c:pt idx="261">
                  <c:v>16214.652967179558</c:v>
                </c:pt>
                <c:pt idx="262">
                  <c:v>16212.911712829155</c:v>
                </c:pt>
                <c:pt idx="263">
                  <c:v>16208.593796384564</c:v>
                </c:pt>
                <c:pt idx="264">
                  <c:v>16227.807569051263</c:v>
                </c:pt>
                <c:pt idx="265">
                  <c:v>16289.153730400998</c:v>
                </c:pt>
                <c:pt idx="266">
                  <c:v>16287.651307506603</c:v>
                </c:pt>
                <c:pt idx="267">
                  <c:v>16284.391293644832</c:v>
                </c:pt>
                <c:pt idx="268">
                  <c:v>16294.1646995919</c:v>
                </c:pt>
                <c:pt idx="269">
                  <c:v>14106.904833487497</c:v>
                </c:pt>
                <c:pt idx="270">
                  <c:v>11894.693163260366</c:v>
                </c:pt>
                <c:pt idx="271">
                  <c:v>9716.0142218665278</c:v>
                </c:pt>
                <c:pt idx="272">
                  <c:v>7535.8320915107033</c:v>
                </c:pt>
                <c:pt idx="273">
                  <c:v>5347.9131182435813</c:v>
                </c:pt>
                <c:pt idx="274">
                  <c:v>3160.1304079698457</c:v>
                </c:pt>
                <c:pt idx="275">
                  <c:v>972.75451125534892</c:v>
                </c:pt>
                <c:pt idx="276">
                  <c:v>971.3520185338275</c:v>
                </c:pt>
                <c:pt idx="277">
                  <c:v>969.73338039177179</c:v>
                </c:pt>
                <c:pt idx="278">
                  <c:v>971.43226235805196</c:v>
                </c:pt>
                <c:pt idx="279">
                  <c:v>972.13220604343223</c:v>
                </c:pt>
                <c:pt idx="280">
                  <c:v>971.90524725947762</c:v>
                </c:pt>
                <c:pt idx="281">
                  <c:v>971.72423464077292</c:v>
                </c:pt>
                <c:pt idx="282">
                  <c:v>971.576265783282</c:v>
                </c:pt>
                <c:pt idx="283">
                  <c:v>971.40794500155607</c:v>
                </c:pt>
                <c:pt idx="284">
                  <c:v>971.41593449690845</c:v>
                </c:pt>
                <c:pt idx="285">
                  <c:v>971.65629936906043</c:v>
                </c:pt>
                <c:pt idx="286">
                  <c:v>971.68830465635983</c:v>
                </c:pt>
                <c:pt idx="287">
                  <c:v>971.62489017250482</c:v>
                </c:pt>
                <c:pt idx="288">
                  <c:v>971.58483916003024</c:v>
                </c:pt>
                <c:pt idx="289">
                  <c:v>971.56492551992415</c:v>
                </c:pt>
                <c:pt idx="290">
                  <c:v>971.56330548232654</c:v>
                </c:pt>
                <c:pt idx="291">
                  <c:v>971.58549983671401</c:v>
                </c:pt>
                <c:pt idx="292">
                  <c:v>971.60972345672781</c:v>
                </c:pt>
                <c:pt idx="293">
                  <c:v>971.60306975495769</c:v>
                </c:pt>
                <c:pt idx="294">
                  <c:v>971.59089334047167</c:v>
                </c:pt>
                <c:pt idx="295">
                  <c:v>971.5860366501729</c:v>
                </c:pt>
                <c:pt idx="296">
                  <c:v>971.58620772016002</c:v>
                </c:pt>
                <c:pt idx="297">
                  <c:v>971.58924803452101</c:v>
                </c:pt>
                <c:pt idx="298">
                  <c:v>971.59295411338098</c:v>
                </c:pt>
                <c:pt idx="299">
                  <c:v>971.59401901008096</c:v>
                </c:pt>
                <c:pt idx="300">
                  <c:v>971.59177551767789</c:v>
                </c:pt>
                <c:pt idx="301">
                  <c:v>971.59016205521766</c:v>
                </c:pt>
                <c:pt idx="302">
                  <c:v>971.59005758585408</c:v>
                </c:pt>
                <c:pt idx="303">
                  <c:v>971.59063200524542</c:v>
                </c:pt>
                <c:pt idx="304">
                  <c:v>971.59126404603012</c:v>
                </c:pt>
                <c:pt idx="305">
                  <c:v>971.59155204764102</c:v>
                </c:pt>
                <c:pt idx="306">
                  <c:v>971.59135175251868</c:v>
                </c:pt>
                <c:pt idx="307">
                  <c:v>971.5909707157407</c:v>
                </c:pt>
                <c:pt idx="308">
                  <c:v>971.59085574402707</c:v>
                </c:pt>
                <c:pt idx="309">
                  <c:v>971.59095484245336</c:v>
                </c:pt>
                <c:pt idx="310">
                  <c:v>971.59108302195091</c:v>
                </c:pt>
                <c:pt idx="311">
                  <c:v>971.59114745288389</c:v>
                </c:pt>
                <c:pt idx="312">
                  <c:v>971.59113079670351</c:v>
                </c:pt>
                <c:pt idx="313">
                  <c:v>971.59107061801478</c:v>
                </c:pt>
                <c:pt idx="314">
                  <c:v>971.59103045595111</c:v>
                </c:pt>
                <c:pt idx="315">
                  <c:v>971.59103899030015</c:v>
                </c:pt>
                <c:pt idx="316">
                  <c:v>971.59106516832253</c:v>
                </c:pt>
                <c:pt idx="317">
                  <c:v>971.59108092915267</c:v>
                </c:pt>
                <c:pt idx="318">
                  <c:v>971.59108063019812</c:v>
                </c:pt>
                <c:pt idx="319">
                  <c:v>971.59107108408352</c:v>
                </c:pt>
                <c:pt idx="320">
                  <c:v>971.59106255369261</c:v>
                </c:pt>
                <c:pt idx="321">
                  <c:v>971.59106140170479</c:v>
                </c:pt>
                <c:pt idx="322">
                  <c:v>971.59106582251843</c:v>
                </c:pt>
                <c:pt idx="323">
                  <c:v>971.59106965566752</c:v>
                </c:pt>
                <c:pt idx="324">
                  <c:v>971.59107029670849</c:v>
                </c:pt>
                <c:pt idx="325">
                  <c:v>971.59106877777958</c:v>
                </c:pt>
                <c:pt idx="326">
                  <c:v>971.59106708463514</c:v>
                </c:pt>
                <c:pt idx="327">
                  <c:v>971.59106651321054</c:v>
                </c:pt>
                <c:pt idx="328">
                  <c:v>971.59106707887258</c:v>
                </c:pt>
                <c:pt idx="329">
                  <c:v>971.59106788993813</c:v>
                </c:pt>
                <c:pt idx="330">
                  <c:v>971.5910681852838</c:v>
                </c:pt>
                <c:pt idx="331">
                  <c:v>971.59106797524146</c:v>
                </c:pt>
                <c:pt idx="332">
                  <c:v>971.59106764357421</c:v>
                </c:pt>
                <c:pt idx="333">
                  <c:v>971.59106748155318</c:v>
                </c:pt>
                <c:pt idx="334">
                  <c:v>971.59106753827655</c:v>
                </c:pt>
                <c:pt idx="335">
                  <c:v>971.59106768466881</c:v>
                </c:pt>
                <c:pt idx="336">
                  <c:v>971.59106777122361</c:v>
                </c:pt>
                <c:pt idx="337">
                  <c:v>971.59106775422697</c:v>
                </c:pt>
                <c:pt idx="338">
                  <c:v>971.59106769264326</c:v>
                </c:pt>
                <c:pt idx="339">
                  <c:v>971.59106765230536</c:v>
                </c:pt>
                <c:pt idx="340">
                  <c:v>971.59106765352772</c:v>
                </c:pt>
                <c:pt idx="341">
                  <c:v>971.59106767812045</c:v>
                </c:pt>
                <c:pt idx="342">
                  <c:v>971.59106769808568</c:v>
                </c:pt>
                <c:pt idx="343">
                  <c:v>971.59106770000653</c:v>
                </c:pt>
                <c:pt idx="344">
                  <c:v>971.5910676898493</c:v>
                </c:pt>
                <c:pt idx="345">
                  <c:v>971.59106768065249</c:v>
                </c:pt>
                <c:pt idx="346">
                  <c:v>971.59106767893536</c:v>
                </c:pt>
                <c:pt idx="347">
                  <c:v>971.59106768274796</c:v>
                </c:pt>
                <c:pt idx="348">
                  <c:v>971.59106768690981</c:v>
                </c:pt>
                <c:pt idx="349">
                  <c:v>971.59106768819038</c:v>
                </c:pt>
                <c:pt idx="350">
                  <c:v>971.59106768676429</c:v>
                </c:pt>
                <c:pt idx="351">
                  <c:v>971.59106768487254</c:v>
                </c:pt>
                <c:pt idx="352">
                  <c:v>971.59106768417405</c:v>
                </c:pt>
                <c:pt idx="353">
                  <c:v>971.59106768466881</c:v>
                </c:pt>
                <c:pt idx="354">
                  <c:v>971.59106768548372</c:v>
                </c:pt>
                <c:pt idx="355">
                  <c:v>971.59106768589118</c:v>
                </c:pt>
                <c:pt idx="356">
                  <c:v>971.59106768568745</c:v>
                </c:pt>
                <c:pt idx="357">
                  <c:v>971.59106768536731</c:v>
                </c:pt>
                <c:pt idx="358">
                  <c:v>971.59106768516358</c:v>
                </c:pt>
                <c:pt idx="359">
                  <c:v>971.59106768519268</c:v>
                </c:pt>
                <c:pt idx="360">
                  <c:v>971.59106768536731</c:v>
                </c:pt>
                <c:pt idx="361">
                  <c:v>971.59106768545462</c:v>
                </c:pt>
                <c:pt idx="362">
                  <c:v>971.59106768542551</c:v>
                </c:pt>
                <c:pt idx="363">
                  <c:v>971.59106768536731</c:v>
                </c:pt>
                <c:pt idx="364">
                  <c:v>971.5910676853382</c:v>
                </c:pt>
                <c:pt idx="365">
                  <c:v>971.5910676853382</c:v>
                </c:pt>
                <c:pt idx="366">
                  <c:v>971.5910676853382</c:v>
                </c:pt>
                <c:pt idx="367">
                  <c:v>971.5910676853382</c:v>
                </c:pt>
                <c:pt idx="368">
                  <c:v>971.59106768536731</c:v>
                </c:pt>
                <c:pt idx="369">
                  <c:v>971.59106768536731</c:v>
                </c:pt>
                <c:pt idx="370">
                  <c:v>971.5910676853382</c:v>
                </c:pt>
                <c:pt idx="371">
                  <c:v>971.5910676853382</c:v>
                </c:pt>
                <c:pt idx="372">
                  <c:v>971.5910676853382</c:v>
                </c:pt>
                <c:pt idx="373">
                  <c:v>971.5910676853382</c:v>
                </c:pt>
                <c:pt idx="374">
                  <c:v>971.5910676853382</c:v>
                </c:pt>
                <c:pt idx="375">
                  <c:v>971.5910676853382</c:v>
                </c:pt>
                <c:pt idx="376">
                  <c:v>971.5910676853382</c:v>
                </c:pt>
                <c:pt idx="377">
                  <c:v>971.5910676853382</c:v>
                </c:pt>
                <c:pt idx="378">
                  <c:v>971.5910676853382</c:v>
                </c:pt>
                <c:pt idx="379">
                  <c:v>971.59106768532365</c:v>
                </c:pt>
                <c:pt idx="380">
                  <c:v>971.5910676853091</c:v>
                </c:pt>
                <c:pt idx="381">
                  <c:v>971.5910676853091</c:v>
                </c:pt>
                <c:pt idx="382">
                  <c:v>971.5910676853091</c:v>
                </c:pt>
                <c:pt idx="383">
                  <c:v>971.5910676853091</c:v>
                </c:pt>
                <c:pt idx="384">
                  <c:v>971.5910676853091</c:v>
                </c:pt>
                <c:pt idx="385">
                  <c:v>971.5910676853091</c:v>
                </c:pt>
                <c:pt idx="386">
                  <c:v>971.5910676853091</c:v>
                </c:pt>
                <c:pt idx="387">
                  <c:v>971.5910676853091</c:v>
                </c:pt>
                <c:pt idx="388">
                  <c:v>971.5910676853091</c:v>
                </c:pt>
                <c:pt idx="389">
                  <c:v>971.5910676853091</c:v>
                </c:pt>
                <c:pt idx="390">
                  <c:v>971.5910676853091</c:v>
                </c:pt>
                <c:pt idx="391">
                  <c:v>971.5910676853091</c:v>
                </c:pt>
                <c:pt idx="392">
                  <c:v>971.5910676853091</c:v>
                </c:pt>
                <c:pt idx="393">
                  <c:v>971.5910676853091</c:v>
                </c:pt>
                <c:pt idx="394">
                  <c:v>971.59106768532365</c:v>
                </c:pt>
                <c:pt idx="395">
                  <c:v>971.59106768532365</c:v>
                </c:pt>
                <c:pt idx="396">
                  <c:v>971.5910676853091</c:v>
                </c:pt>
                <c:pt idx="397">
                  <c:v>971.59106768532365</c:v>
                </c:pt>
                <c:pt idx="398">
                  <c:v>971.5910676853091</c:v>
                </c:pt>
                <c:pt idx="399">
                  <c:v>971.5910676853091</c:v>
                </c:pt>
                <c:pt idx="400">
                  <c:v>971.59106768532365</c:v>
                </c:pt>
                <c:pt idx="401">
                  <c:v>971.5910676853091</c:v>
                </c:pt>
                <c:pt idx="402">
                  <c:v>971.5910676853091</c:v>
                </c:pt>
                <c:pt idx="403">
                  <c:v>971.59106768532365</c:v>
                </c:pt>
                <c:pt idx="404">
                  <c:v>971.5910676853091</c:v>
                </c:pt>
                <c:pt idx="405">
                  <c:v>971.5910676853091</c:v>
                </c:pt>
                <c:pt idx="406">
                  <c:v>971.5910676853091</c:v>
                </c:pt>
                <c:pt idx="407">
                  <c:v>971.59106768529455</c:v>
                </c:pt>
                <c:pt idx="408">
                  <c:v>971.5910676853091</c:v>
                </c:pt>
                <c:pt idx="409">
                  <c:v>971.59106768532365</c:v>
                </c:pt>
                <c:pt idx="410">
                  <c:v>971.5910676853091</c:v>
                </c:pt>
                <c:pt idx="411">
                  <c:v>971.5910676853091</c:v>
                </c:pt>
                <c:pt idx="412">
                  <c:v>971.5910676853091</c:v>
                </c:pt>
                <c:pt idx="413">
                  <c:v>971.5910676853091</c:v>
                </c:pt>
                <c:pt idx="414">
                  <c:v>971.59106768532365</c:v>
                </c:pt>
                <c:pt idx="415">
                  <c:v>971.5910676853091</c:v>
                </c:pt>
                <c:pt idx="416">
                  <c:v>971.59106768529455</c:v>
                </c:pt>
                <c:pt idx="417">
                  <c:v>971.5910676853091</c:v>
                </c:pt>
                <c:pt idx="418">
                  <c:v>971.5910676853091</c:v>
                </c:pt>
                <c:pt idx="419">
                  <c:v>971.5910676853091</c:v>
                </c:pt>
                <c:pt idx="420">
                  <c:v>971.59106768532365</c:v>
                </c:pt>
                <c:pt idx="421">
                  <c:v>971.5910676853091</c:v>
                </c:pt>
                <c:pt idx="422">
                  <c:v>971.5910676853091</c:v>
                </c:pt>
                <c:pt idx="423">
                  <c:v>971.59106768532365</c:v>
                </c:pt>
                <c:pt idx="424">
                  <c:v>971.5910676853091</c:v>
                </c:pt>
                <c:pt idx="425">
                  <c:v>971.5910676853091</c:v>
                </c:pt>
                <c:pt idx="426">
                  <c:v>971.59106768532365</c:v>
                </c:pt>
                <c:pt idx="427">
                  <c:v>971.5910676853091</c:v>
                </c:pt>
                <c:pt idx="428">
                  <c:v>971.59106768532365</c:v>
                </c:pt>
                <c:pt idx="429">
                  <c:v>971.59106768532365</c:v>
                </c:pt>
                <c:pt idx="430">
                  <c:v>971.5910676853091</c:v>
                </c:pt>
                <c:pt idx="431">
                  <c:v>971.5910676853091</c:v>
                </c:pt>
                <c:pt idx="432">
                  <c:v>971.5910676853091</c:v>
                </c:pt>
                <c:pt idx="433">
                  <c:v>971.59106768529455</c:v>
                </c:pt>
                <c:pt idx="434">
                  <c:v>971.59106768529455</c:v>
                </c:pt>
                <c:pt idx="435">
                  <c:v>971.59106768529455</c:v>
                </c:pt>
                <c:pt idx="436">
                  <c:v>971.59106768529455</c:v>
                </c:pt>
                <c:pt idx="437">
                  <c:v>971.5910676853091</c:v>
                </c:pt>
                <c:pt idx="438">
                  <c:v>971.5910676853091</c:v>
                </c:pt>
                <c:pt idx="439">
                  <c:v>971.5910676853091</c:v>
                </c:pt>
                <c:pt idx="440">
                  <c:v>971.5910676853091</c:v>
                </c:pt>
                <c:pt idx="441">
                  <c:v>971.5910676853091</c:v>
                </c:pt>
                <c:pt idx="442">
                  <c:v>971.5910676853091</c:v>
                </c:pt>
                <c:pt idx="443">
                  <c:v>971.5910676853091</c:v>
                </c:pt>
                <c:pt idx="444">
                  <c:v>971.59106768529455</c:v>
                </c:pt>
                <c:pt idx="445">
                  <c:v>971.59106768529455</c:v>
                </c:pt>
                <c:pt idx="446">
                  <c:v>971.5910676853091</c:v>
                </c:pt>
                <c:pt idx="447">
                  <c:v>971.5910676853091</c:v>
                </c:pt>
                <c:pt idx="448">
                  <c:v>971.5910676853091</c:v>
                </c:pt>
                <c:pt idx="449">
                  <c:v>971.59106768529455</c:v>
                </c:pt>
                <c:pt idx="450">
                  <c:v>971.5910676853091</c:v>
                </c:pt>
                <c:pt idx="451">
                  <c:v>971.5910676853091</c:v>
                </c:pt>
                <c:pt idx="452">
                  <c:v>971.5910676853091</c:v>
                </c:pt>
                <c:pt idx="453">
                  <c:v>971.5910676853091</c:v>
                </c:pt>
                <c:pt idx="454">
                  <c:v>971.5910676853091</c:v>
                </c:pt>
                <c:pt idx="455">
                  <c:v>971.5910676853091</c:v>
                </c:pt>
                <c:pt idx="456">
                  <c:v>971.5910676853091</c:v>
                </c:pt>
                <c:pt idx="457">
                  <c:v>971.59106768529455</c:v>
                </c:pt>
                <c:pt idx="458">
                  <c:v>971.5910676853091</c:v>
                </c:pt>
                <c:pt idx="459">
                  <c:v>971.5910676853091</c:v>
                </c:pt>
                <c:pt idx="460">
                  <c:v>971.5910676853091</c:v>
                </c:pt>
                <c:pt idx="461">
                  <c:v>971.5910676853091</c:v>
                </c:pt>
                <c:pt idx="462">
                  <c:v>971.5910676853091</c:v>
                </c:pt>
                <c:pt idx="463">
                  <c:v>971.5910676853091</c:v>
                </c:pt>
                <c:pt idx="464">
                  <c:v>971.5910676853091</c:v>
                </c:pt>
                <c:pt idx="465">
                  <c:v>971.59106768529455</c:v>
                </c:pt>
                <c:pt idx="466">
                  <c:v>971.59106768529455</c:v>
                </c:pt>
                <c:pt idx="467">
                  <c:v>971.59106768529455</c:v>
                </c:pt>
                <c:pt idx="468">
                  <c:v>971.59106768529455</c:v>
                </c:pt>
                <c:pt idx="469">
                  <c:v>971.5910676853091</c:v>
                </c:pt>
                <c:pt idx="470">
                  <c:v>971.5910676853091</c:v>
                </c:pt>
                <c:pt idx="471">
                  <c:v>971.5910676853091</c:v>
                </c:pt>
                <c:pt idx="472">
                  <c:v>971.5910676853091</c:v>
                </c:pt>
                <c:pt idx="473">
                  <c:v>971.5910676853091</c:v>
                </c:pt>
                <c:pt idx="474">
                  <c:v>971.5910676853091</c:v>
                </c:pt>
                <c:pt idx="475">
                  <c:v>971.5910676853091</c:v>
                </c:pt>
                <c:pt idx="476">
                  <c:v>971.59106768529455</c:v>
                </c:pt>
                <c:pt idx="477">
                  <c:v>971.59106768529455</c:v>
                </c:pt>
                <c:pt idx="478">
                  <c:v>971.5910676853091</c:v>
                </c:pt>
                <c:pt idx="479">
                  <c:v>971.5910676853091</c:v>
                </c:pt>
                <c:pt idx="480">
                  <c:v>971.5910676853091</c:v>
                </c:pt>
                <c:pt idx="481">
                  <c:v>971.5910676853091</c:v>
                </c:pt>
                <c:pt idx="482">
                  <c:v>971.5910676853091</c:v>
                </c:pt>
                <c:pt idx="483">
                  <c:v>971.5910676853091</c:v>
                </c:pt>
                <c:pt idx="484">
                  <c:v>971.5910676853091</c:v>
                </c:pt>
                <c:pt idx="485">
                  <c:v>971.5910676853091</c:v>
                </c:pt>
                <c:pt idx="486">
                  <c:v>971.5910676853091</c:v>
                </c:pt>
                <c:pt idx="487">
                  <c:v>971.5910676853091</c:v>
                </c:pt>
                <c:pt idx="488">
                  <c:v>971.59106768529455</c:v>
                </c:pt>
                <c:pt idx="489">
                  <c:v>971.59106768529455</c:v>
                </c:pt>
                <c:pt idx="490">
                  <c:v>971.5910676853091</c:v>
                </c:pt>
                <c:pt idx="491">
                  <c:v>971.5910676853091</c:v>
                </c:pt>
                <c:pt idx="492">
                  <c:v>971.5910676853091</c:v>
                </c:pt>
                <c:pt idx="493">
                  <c:v>971.5910676853091</c:v>
                </c:pt>
                <c:pt idx="494">
                  <c:v>971.5910676853091</c:v>
                </c:pt>
                <c:pt idx="495">
                  <c:v>971.5910676853091</c:v>
                </c:pt>
                <c:pt idx="496">
                  <c:v>832.79234373026702</c:v>
                </c:pt>
                <c:pt idx="497">
                  <c:v>0</c:v>
                </c:pt>
                <c:pt idx="498">
                  <c:v>0</c:v>
                </c:pt>
                <c:pt idx="499">
                  <c:v>0</c:v>
                </c:pt>
                <c:pt idx="500">
                  <c:v>0</c:v>
                </c:pt>
                <c:pt idx="501">
                  <c:v>0</c:v>
                </c:pt>
                <c:pt idx="502">
                  <c:v>0</c:v>
                </c:pt>
                <c:pt idx="503">
                  <c:v>0</c:v>
                </c:pt>
                <c:pt idx="504">
                  <c:v>0</c:v>
                </c:pt>
                <c:pt idx="505">
                  <c:v>0</c:v>
                </c:pt>
                <c:pt idx="506">
                  <c:v>0</c:v>
                </c:pt>
                <c:pt idx="507">
                  <c:v>0</c:v>
                </c:pt>
                <c:pt idx="508">
                  <c:v>0</c:v>
                </c:pt>
                <c:pt idx="509">
                  <c:v>0</c:v>
                </c:pt>
                <c:pt idx="510">
                  <c:v>0</c:v>
                </c:pt>
                <c:pt idx="511">
                  <c:v>0</c:v>
                </c:pt>
                <c:pt idx="512">
                  <c:v>0</c:v>
                </c:pt>
                <c:pt idx="513">
                  <c:v>0</c:v>
                </c:pt>
                <c:pt idx="514">
                  <c:v>0</c:v>
                </c:pt>
                <c:pt idx="515">
                  <c:v>0</c:v>
                </c:pt>
                <c:pt idx="516">
                  <c:v>0</c:v>
                </c:pt>
                <c:pt idx="517">
                  <c:v>0</c:v>
                </c:pt>
                <c:pt idx="518">
                  <c:v>0</c:v>
                </c:pt>
                <c:pt idx="519">
                  <c:v>0</c:v>
                </c:pt>
                <c:pt idx="520">
                  <c:v>0</c:v>
                </c:pt>
                <c:pt idx="521">
                  <c:v>0</c:v>
                </c:pt>
                <c:pt idx="522">
                  <c:v>0</c:v>
                </c:pt>
                <c:pt idx="523">
                  <c:v>0</c:v>
                </c:pt>
                <c:pt idx="524">
                  <c:v>0</c:v>
                </c:pt>
                <c:pt idx="525">
                  <c:v>0</c:v>
                </c:pt>
                <c:pt idx="526">
                  <c:v>0</c:v>
                </c:pt>
                <c:pt idx="527">
                  <c:v>0</c:v>
                </c:pt>
                <c:pt idx="528">
                  <c:v>0</c:v>
                </c:pt>
                <c:pt idx="529">
                  <c:v>0</c:v>
                </c:pt>
                <c:pt idx="530">
                  <c:v>0</c:v>
                </c:pt>
                <c:pt idx="531">
                  <c:v>0</c:v>
                </c:pt>
                <c:pt idx="532">
                  <c:v>0</c:v>
                </c:pt>
                <c:pt idx="533">
                  <c:v>0</c:v>
                </c:pt>
                <c:pt idx="534">
                  <c:v>0</c:v>
                </c:pt>
                <c:pt idx="535">
                  <c:v>0</c:v>
                </c:pt>
                <c:pt idx="536">
                  <c:v>0</c:v>
                </c:pt>
                <c:pt idx="537">
                  <c:v>0</c:v>
                </c:pt>
                <c:pt idx="538">
                  <c:v>0</c:v>
                </c:pt>
                <c:pt idx="539">
                  <c:v>0</c:v>
                </c:pt>
                <c:pt idx="540">
                  <c:v>0</c:v>
                </c:pt>
                <c:pt idx="541">
                  <c:v>0</c:v>
                </c:pt>
                <c:pt idx="542">
                  <c:v>0</c:v>
                </c:pt>
                <c:pt idx="543">
                  <c:v>0</c:v>
                </c:pt>
                <c:pt idx="544">
                  <c:v>0</c:v>
                </c:pt>
                <c:pt idx="545">
                  <c:v>0</c:v>
                </c:pt>
                <c:pt idx="546">
                  <c:v>0</c:v>
                </c:pt>
                <c:pt idx="547">
                  <c:v>0</c:v>
                </c:pt>
                <c:pt idx="548">
                  <c:v>0</c:v>
                </c:pt>
                <c:pt idx="549">
                  <c:v>0</c:v>
                </c:pt>
                <c:pt idx="550">
                  <c:v>0</c:v>
                </c:pt>
                <c:pt idx="551">
                  <c:v>0</c:v>
                </c:pt>
                <c:pt idx="552">
                  <c:v>0</c:v>
                </c:pt>
                <c:pt idx="553">
                  <c:v>0</c:v>
                </c:pt>
                <c:pt idx="554">
                  <c:v>0</c:v>
                </c:pt>
                <c:pt idx="555">
                  <c:v>0</c:v>
                </c:pt>
                <c:pt idx="556">
                  <c:v>0</c:v>
                </c:pt>
                <c:pt idx="557">
                  <c:v>0</c:v>
                </c:pt>
                <c:pt idx="558">
                  <c:v>0</c:v>
                </c:pt>
                <c:pt idx="559">
                  <c:v>0</c:v>
                </c:pt>
                <c:pt idx="560">
                  <c:v>0</c:v>
                </c:pt>
                <c:pt idx="561">
                  <c:v>0</c:v>
                </c:pt>
                <c:pt idx="562">
                  <c:v>0</c:v>
                </c:pt>
                <c:pt idx="563">
                  <c:v>0</c:v>
                </c:pt>
                <c:pt idx="564">
                  <c:v>0</c:v>
                </c:pt>
                <c:pt idx="565">
                  <c:v>0</c:v>
                </c:pt>
                <c:pt idx="566">
                  <c:v>0</c:v>
                </c:pt>
                <c:pt idx="567">
                  <c:v>0</c:v>
                </c:pt>
                <c:pt idx="568">
                  <c:v>0</c:v>
                </c:pt>
                <c:pt idx="569">
                  <c:v>0</c:v>
                </c:pt>
                <c:pt idx="570">
                  <c:v>0</c:v>
                </c:pt>
                <c:pt idx="571">
                  <c:v>0</c:v>
                </c:pt>
                <c:pt idx="572">
                  <c:v>0</c:v>
                </c:pt>
                <c:pt idx="573">
                  <c:v>0</c:v>
                </c:pt>
                <c:pt idx="574">
                  <c:v>0</c:v>
                </c:pt>
                <c:pt idx="575">
                  <c:v>0</c:v>
                </c:pt>
                <c:pt idx="576">
                  <c:v>0</c:v>
                </c:pt>
                <c:pt idx="577">
                  <c:v>0</c:v>
                </c:pt>
                <c:pt idx="578">
                  <c:v>0</c:v>
                </c:pt>
                <c:pt idx="579">
                  <c:v>0</c:v>
                </c:pt>
                <c:pt idx="580">
                  <c:v>0</c:v>
                </c:pt>
                <c:pt idx="581">
                  <c:v>0</c:v>
                </c:pt>
                <c:pt idx="582">
                  <c:v>0</c:v>
                </c:pt>
                <c:pt idx="583">
                  <c:v>0</c:v>
                </c:pt>
                <c:pt idx="584">
                  <c:v>0</c:v>
                </c:pt>
                <c:pt idx="585">
                  <c:v>0</c:v>
                </c:pt>
                <c:pt idx="586">
                  <c:v>0</c:v>
                </c:pt>
                <c:pt idx="587">
                  <c:v>0</c:v>
                </c:pt>
                <c:pt idx="588">
                  <c:v>0</c:v>
                </c:pt>
                <c:pt idx="589">
                  <c:v>0</c:v>
                </c:pt>
                <c:pt idx="590">
                  <c:v>0</c:v>
                </c:pt>
                <c:pt idx="591">
                  <c:v>0</c:v>
                </c:pt>
                <c:pt idx="592">
                  <c:v>0</c:v>
                </c:pt>
                <c:pt idx="593">
                  <c:v>0</c:v>
                </c:pt>
                <c:pt idx="594">
                  <c:v>0</c:v>
                </c:pt>
                <c:pt idx="595">
                  <c:v>0</c:v>
                </c:pt>
                <c:pt idx="596">
                  <c:v>0</c:v>
                </c:pt>
                <c:pt idx="597">
                  <c:v>0</c:v>
                </c:pt>
                <c:pt idx="598">
                  <c:v>0</c:v>
                </c:pt>
                <c:pt idx="599">
                  <c:v>0</c:v>
                </c:pt>
                <c:pt idx="600">
                  <c:v>0</c:v>
                </c:pt>
                <c:pt idx="601">
                  <c:v>0</c:v>
                </c:pt>
                <c:pt idx="602">
                  <c:v>0</c:v>
                </c:pt>
                <c:pt idx="603">
                  <c:v>0</c:v>
                </c:pt>
                <c:pt idx="604">
                  <c:v>0</c:v>
                </c:pt>
                <c:pt idx="605">
                  <c:v>0</c:v>
                </c:pt>
                <c:pt idx="606">
                  <c:v>0</c:v>
                </c:pt>
                <c:pt idx="607">
                  <c:v>0</c:v>
                </c:pt>
                <c:pt idx="608">
                  <c:v>0</c:v>
                </c:pt>
                <c:pt idx="609">
                  <c:v>0</c:v>
                </c:pt>
                <c:pt idx="610">
                  <c:v>0</c:v>
                </c:pt>
                <c:pt idx="611">
                  <c:v>0</c:v>
                </c:pt>
                <c:pt idx="612">
                  <c:v>0</c:v>
                </c:pt>
                <c:pt idx="613">
                  <c:v>0</c:v>
                </c:pt>
                <c:pt idx="614">
                  <c:v>0</c:v>
                </c:pt>
                <c:pt idx="615">
                  <c:v>0</c:v>
                </c:pt>
                <c:pt idx="616">
                  <c:v>0</c:v>
                </c:pt>
                <c:pt idx="617">
                  <c:v>0</c:v>
                </c:pt>
                <c:pt idx="618">
                  <c:v>0</c:v>
                </c:pt>
                <c:pt idx="619">
                  <c:v>0</c:v>
                </c:pt>
                <c:pt idx="620">
                  <c:v>0</c:v>
                </c:pt>
                <c:pt idx="621">
                  <c:v>0</c:v>
                </c:pt>
                <c:pt idx="622">
                  <c:v>0</c:v>
                </c:pt>
                <c:pt idx="623">
                  <c:v>0</c:v>
                </c:pt>
                <c:pt idx="624">
                  <c:v>0</c:v>
                </c:pt>
                <c:pt idx="625">
                  <c:v>0</c:v>
                </c:pt>
                <c:pt idx="626">
                  <c:v>0</c:v>
                </c:pt>
                <c:pt idx="627">
                  <c:v>0</c:v>
                </c:pt>
                <c:pt idx="628">
                  <c:v>0</c:v>
                </c:pt>
                <c:pt idx="629">
                  <c:v>0</c:v>
                </c:pt>
                <c:pt idx="630">
                  <c:v>0</c:v>
                </c:pt>
                <c:pt idx="631">
                  <c:v>0</c:v>
                </c:pt>
                <c:pt idx="632">
                  <c:v>0</c:v>
                </c:pt>
                <c:pt idx="633">
                  <c:v>0</c:v>
                </c:pt>
                <c:pt idx="634">
                  <c:v>0</c:v>
                </c:pt>
                <c:pt idx="635">
                  <c:v>0</c:v>
                </c:pt>
                <c:pt idx="636">
                  <c:v>0</c:v>
                </c:pt>
                <c:pt idx="637">
                  <c:v>0</c:v>
                </c:pt>
                <c:pt idx="638">
                  <c:v>0</c:v>
                </c:pt>
                <c:pt idx="639">
                  <c:v>0</c:v>
                </c:pt>
                <c:pt idx="640">
                  <c:v>0</c:v>
                </c:pt>
                <c:pt idx="641">
                  <c:v>0</c:v>
                </c:pt>
                <c:pt idx="642">
                  <c:v>0</c:v>
                </c:pt>
                <c:pt idx="643">
                  <c:v>0</c:v>
                </c:pt>
                <c:pt idx="644">
                  <c:v>0</c:v>
                </c:pt>
                <c:pt idx="645">
                  <c:v>0</c:v>
                </c:pt>
                <c:pt idx="646">
                  <c:v>0</c:v>
                </c:pt>
                <c:pt idx="647">
                  <c:v>0</c:v>
                </c:pt>
                <c:pt idx="648">
                  <c:v>0</c:v>
                </c:pt>
                <c:pt idx="649">
                  <c:v>0</c:v>
                </c:pt>
                <c:pt idx="650">
                  <c:v>0</c:v>
                </c:pt>
                <c:pt idx="651">
                  <c:v>0</c:v>
                </c:pt>
                <c:pt idx="652">
                  <c:v>0</c:v>
                </c:pt>
                <c:pt idx="653">
                  <c:v>0</c:v>
                </c:pt>
                <c:pt idx="654">
                  <c:v>0</c:v>
                </c:pt>
                <c:pt idx="655">
                  <c:v>0</c:v>
                </c:pt>
                <c:pt idx="656">
                  <c:v>0</c:v>
                </c:pt>
                <c:pt idx="657">
                  <c:v>0</c:v>
                </c:pt>
                <c:pt idx="658">
                  <c:v>0</c:v>
                </c:pt>
                <c:pt idx="659">
                  <c:v>0</c:v>
                </c:pt>
                <c:pt idx="660">
                  <c:v>0</c:v>
                </c:pt>
                <c:pt idx="661">
                  <c:v>0</c:v>
                </c:pt>
                <c:pt idx="662">
                  <c:v>0</c:v>
                </c:pt>
                <c:pt idx="663">
                  <c:v>0</c:v>
                </c:pt>
                <c:pt idx="664">
                  <c:v>0</c:v>
                </c:pt>
                <c:pt idx="665">
                  <c:v>0</c:v>
                </c:pt>
                <c:pt idx="666">
                  <c:v>0</c:v>
                </c:pt>
                <c:pt idx="667">
                  <c:v>0</c:v>
                </c:pt>
                <c:pt idx="668">
                  <c:v>0</c:v>
                </c:pt>
                <c:pt idx="669">
                  <c:v>0</c:v>
                </c:pt>
                <c:pt idx="670">
                  <c:v>0</c:v>
                </c:pt>
                <c:pt idx="671">
                  <c:v>0</c:v>
                </c:pt>
                <c:pt idx="672">
                  <c:v>0</c:v>
                </c:pt>
                <c:pt idx="673">
                  <c:v>0</c:v>
                </c:pt>
                <c:pt idx="674">
                  <c:v>0</c:v>
                </c:pt>
                <c:pt idx="675">
                  <c:v>0</c:v>
                </c:pt>
                <c:pt idx="676">
                  <c:v>0</c:v>
                </c:pt>
                <c:pt idx="677">
                  <c:v>0</c:v>
                </c:pt>
                <c:pt idx="678">
                  <c:v>0</c:v>
                </c:pt>
                <c:pt idx="679">
                  <c:v>0</c:v>
                </c:pt>
                <c:pt idx="680">
                  <c:v>0</c:v>
                </c:pt>
                <c:pt idx="681">
                  <c:v>0</c:v>
                </c:pt>
                <c:pt idx="682">
                  <c:v>0</c:v>
                </c:pt>
                <c:pt idx="683">
                  <c:v>0</c:v>
                </c:pt>
                <c:pt idx="684">
                  <c:v>0</c:v>
                </c:pt>
                <c:pt idx="685">
                  <c:v>0</c:v>
                </c:pt>
                <c:pt idx="686">
                  <c:v>0</c:v>
                </c:pt>
                <c:pt idx="687">
                  <c:v>0</c:v>
                </c:pt>
                <c:pt idx="688">
                  <c:v>0</c:v>
                </c:pt>
                <c:pt idx="689">
                  <c:v>0</c:v>
                </c:pt>
                <c:pt idx="690">
                  <c:v>0</c:v>
                </c:pt>
                <c:pt idx="691">
                  <c:v>0</c:v>
                </c:pt>
                <c:pt idx="692">
                  <c:v>0</c:v>
                </c:pt>
                <c:pt idx="693">
                  <c:v>0</c:v>
                </c:pt>
                <c:pt idx="694">
                  <c:v>0</c:v>
                </c:pt>
                <c:pt idx="695">
                  <c:v>0</c:v>
                </c:pt>
                <c:pt idx="696">
                  <c:v>0</c:v>
                </c:pt>
                <c:pt idx="697">
                  <c:v>0</c:v>
                </c:pt>
                <c:pt idx="698">
                  <c:v>0</c:v>
                </c:pt>
                <c:pt idx="699">
                  <c:v>0</c:v>
                </c:pt>
                <c:pt idx="700">
                  <c:v>0</c:v>
                </c:pt>
                <c:pt idx="701">
                  <c:v>0</c:v>
                </c:pt>
                <c:pt idx="702">
                  <c:v>0</c:v>
                </c:pt>
                <c:pt idx="703">
                  <c:v>0</c:v>
                </c:pt>
                <c:pt idx="704">
                  <c:v>0</c:v>
                </c:pt>
                <c:pt idx="705">
                  <c:v>0</c:v>
                </c:pt>
                <c:pt idx="706">
                  <c:v>0</c:v>
                </c:pt>
                <c:pt idx="707">
                  <c:v>0</c:v>
                </c:pt>
                <c:pt idx="708">
                  <c:v>0</c:v>
                </c:pt>
                <c:pt idx="709">
                  <c:v>0</c:v>
                </c:pt>
                <c:pt idx="710">
                  <c:v>0</c:v>
                </c:pt>
                <c:pt idx="711">
                  <c:v>0</c:v>
                </c:pt>
                <c:pt idx="712">
                  <c:v>0</c:v>
                </c:pt>
                <c:pt idx="713">
                  <c:v>0</c:v>
                </c:pt>
                <c:pt idx="714">
                  <c:v>0</c:v>
                </c:pt>
                <c:pt idx="715">
                  <c:v>0</c:v>
                </c:pt>
                <c:pt idx="716">
                  <c:v>0</c:v>
                </c:pt>
                <c:pt idx="717">
                  <c:v>0</c:v>
                </c:pt>
                <c:pt idx="718">
                  <c:v>0</c:v>
                </c:pt>
                <c:pt idx="719">
                  <c:v>0</c:v>
                </c:pt>
                <c:pt idx="720">
                  <c:v>0</c:v>
                </c:pt>
                <c:pt idx="721">
                  <c:v>0</c:v>
                </c:pt>
                <c:pt idx="722">
                  <c:v>0</c:v>
                </c:pt>
                <c:pt idx="723">
                  <c:v>0</c:v>
                </c:pt>
                <c:pt idx="724">
                  <c:v>0</c:v>
                </c:pt>
                <c:pt idx="725">
                  <c:v>0</c:v>
                </c:pt>
                <c:pt idx="726">
                  <c:v>0</c:v>
                </c:pt>
                <c:pt idx="727">
                  <c:v>0</c:v>
                </c:pt>
                <c:pt idx="728">
                  <c:v>0</c:v>
                </c:pt>
                <c:pt idx="729">
                  <c:v>0</c:v>
                </c:pt>
                <c:pt idx="730">
                  <c:v>0</c:v>
                </c:pt>
                <c:pt idx="731">
                  <c:v>0</c:v>
                </c:pt>
                <c:pt idx="732">
                  <c:v>0</c:v>
                </c:pt>
                <c:pt idx="733">
                  <c:v>0</c:v>
                </c:pt>
                <c:pt idx="734">
                  <c:v>0</c:v>
                </c:pt>
                <c:pt idx="735">
                  <c:v>0</c:v>
                </c:pt>
                <c:pt idx="736">
                  <c:v>0</c:v>
                </c:pt>
                <c:pt idx="737">
                  <c:v>0</c:v>
                </c:pt>
                <c:pt idx="738">
                  <c:v>0</c:v>
                </c:pt>
                <c:pt idx="739">
                  <c:v>0</c:v>
                </c:pt>
                <c:pt idx="740">
                  <c:v>0</c:v>
                </c:pt>
                <c:pt idx="741">
                  <c:v>0</c:v>
                </c:pt>
                <c:pt idx="742">
                  <c:v>0</c:v>
                </c:pt>
                <c:pt idx="743">
                  <c:v>0</c:v>
                </c:pt>
                <c:pt idx="744">
                  <c:v>0</c:v>
                </c:pt>
                <c:pt idx="745">
                  <c:v>0</c:v>
                </c:pt>
                <c:pt idx="746">
                  <c:v>0</c:v>
                </c:pt>
              </c:numCache>
            </c:numRef>
          </c:val>
          <c:extLst>
            <c:ext xmlns:c16="http://schemas.microsoft.com/office/drawing/2014/chart" uri="{C3380CC4-5D6E-409C-BE32-E72D297353CC}">
              <c16:uniqueId val="{00000003-C3AD-469F-B1BF-E695EBD6B462}"/>
            </c:ext>
          </c:extLst>
        </c:ser>
        <c:ser>
          <c:idx val="4"/>
          <c:order val="4"/>
          <c:spPr>
            <a:solidFill>
              <a:schemeClr val="accent4"/>
            </a:solidFill>
            <a:ln w="9525" algn="ctr">
              <a:solidFill>
                <a:schemeClr val="bg1"/>
              </a:solidFill>
              <a:prstDash val="solid"/>
            </a:ln>
          </c:spPr>
          <c:val>
            <c:numRef>
              <c:f>Sheet1!$A$5:$ABS$5</c:f>
              <c:numCache>
                <c:formatCode>General</c:formatCode>
                <c:ptCount val="74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0</c:v>
                </c:pt>
                <c:pt idx="306">
                  <c:v>0</c:v>
                </c:pt>
                <c:pt idx="307">
                  <c:v>0</c:v>
                </c:pt>
                <c:pt idx="308">
                  <c:v>0</c:v>
                </c:pt>
                <c:pt idx="309">
                  <c:v>0</c:v>
                </c:pt>
                <c:pt idx="310">
                  <c:v>0</c:v>
                </c:pt>
                <c:pt idx="311">
                  <c:v>0</c:v>
                </c:pt>
                <c:pt idx="312">
                  <c:v>0</c:v>
                </c:pt>
                <c:pt idx="313">
                  <c:v>0</c:v>
                </c:pt>
                <c:pt idx="314">
                  <c:v>0</c:v>
                </c:pt>
                <c:pt idx="315">
                  <c:v>0</c:v>
                </c:pt>
                <c:pt idx="316">
                  <c:v>0</c:v>
                </c:pt>
                <c:pt idx="317">
                  <c:v>0</c:v>
                </c:pt>
                <c:pt idx="318">
                  <c:v>0</c:v>
                </c:pt>
                <c:pt idx="319">
                  <c:v>0</c:v>
                </c:pt>
                <c:pt idx="320">
                  <c:v>0</c:v>
                </c:pt>
                <c:pt idx="321">
                  <c:v>0</c:v>
                </c:pt>
                <c:pt idx="322">
                  <c:v>0</c:v>
                </c:pt>
                <c:pt idx="323">
                  <c:v>0</c:v>
                </c:pt>
                <c:pt idx="324">
                  <c:v>0</c:v>
                </c:pt>
                <c:pt idx="325">
                  <c:v>0</c:v>
                </c:pt>
                <c:pt idx="326">
                  <c:v>0</c:v>
                </c:pt>
                <c:pt idx="327">
                  <c:v>0</c:v>
                </c:pt>
                <c:pt idx="328">
                  <c:v>0</c:v>
                </c:pt>
                <c:pt idx="329">
                  <c:v>0</c:v>
                </c:pt>
                <c:pt idx="330">
                  <c:v>0</c:v>
                </c:pt>
                <c:pt idx="331">
                  <c:v>0</c:v>
                </c:pt>
                <c:pt idx="332">
                  <c:v>0</c:v>
                </c:pt>
                <c:pt idx="333">
                  <c:v>0</c:v>
                </c:pt>
                <c:pt idx="334">
                  <c:v>0</c:v>
                </c:pt>
                <c:pt idx="335">
                  <c:v>0</c:v>
                </c:pt>
                <c:pt idx="336">
                  <c:v>0</c:v>
                </c:pt>
                <c:pt idx="337">
                  <c:v>0</c:v>
                </c:pt>
                <c:pt idx="338">
                  <c:v>0</c:v>
                </c:pt>
                <c:pt idx="339">
                  <c:v>0</c:v>
                </c:pt>
                <c:pt idx="340">
                  <c:v>0</c:v>
                </c:pt>
                <c:pt idx="341">
                  <c:v>0</c:v>
                </c:pt>
                <c:pt idx="342">
                  <c:v>0</c:v>
                </c:pt>
                <c:pt idx="343">
                  <c:v>0</c:v>
                </c:pt>
                <c:pt idx="344">
                  <c:v>0</c:v>
                </c:pt>
                <c:pt idx="345">
                  <c:v>0</c:v>
                </c:pt>
                <c:pt idx="346">
                  <c:v>0</c:v>
                </c:pt>
                <c:pt idx="347">
                  <c:v>0</c:v>
                </c:pt>
                <c:pt idx="348">
                  <c:v>0</c:v>
                </c:pt>
                <c:pt idx="349">
                  <c:v>0</c:v>
                </c:pt>
                <c:pt idx="350">
                  <c:v>0</c:v>
                </c:pt>
                <c:pt idx="351">
                  <c:v>0</c:v>
                </c:pt>
                <c:pt idx="352">
                  <c:v>66351.410526913183</c:v>
                </c:pt>
                <c:pt idx="353">
                  <c:v>64152.637479102472</c:v>
                </c:pt>
                <c:pt idx="354">
                  <c:v>65794.055046027759</c:v>
                </c:pt>
                <c:pt idx="355">
                  <c:v>35223.504219703638</c:v>
                </c:pt>
                <c:pt idx="356">
                  <c:v>43118.427579292358</c:v>
                </c:pt>
                <c:pt idx="357">
                  <c:v>45245.686583730741</c:v>
                </c:pt>
                <c:pt idx="358">
                  <c:v>48197.059802268632</c:v>
                </c:pt>
                <c:pt idx="359">
                  <c:v>48477.602421393385</c:v>
                </c:pt>
                <c:pt idx="360">
                  <c:v>44979.414340607764</c:v>
                </c:pt>
                <c:pt idx="361">
                  <c:v>40837.924196199077</c:v>
                </c:pt>
                <c:pt idx="362">
                  <c:v>37965.848862488958</c:v>
                </c:pt>
                <c:pt idx="363">
                  <c:v>34582.472443171719</c:v>
                </c:pt>
                <c:pt idx="364">
                  <c:v>30986.17552737426</c:v>
                </c:pt>
                <c:pt idx="365">
                  <c:v>27212.147565009916</c:v>
                </c:pt>
                <c:pt idx="366">
                  <c:v>24503.37073850134</c:v>
                </c:pt>
                <c:pt idx="367">
                  <c:v>22219.948414862243</c:v>
                </c:pt>
                <c:pt idx="368">
                  <c:v>18796.031154631026</c:v>
                </c:pt>
                <c:pt idx="369">
                  <c:v>17323.263485907897</c:v>
                </c:pt>
                <c:pt idx="370">
                  <c:v>14713.73063795676</c:v>
                </c:pt>
                <c:pt idx="371">
                  <c:v>13897.075938585505</c:v>
                </c:pt>
                <c:pt idx="372">
                  <c:v>21141.994061845326</c:v>
                </c:pt>
                <c:pt idx="373">
                  <c:v>28545.748627163499</c:v>
                </c:pt>
                <c:pt idx="374">
                  <c:v>36154.424601391744</c:v>
                </c:pt>
                <c:pt idx="375">
                  <c:v>40762.917712726718</c:v>
                </c:pt>
                <c:pt idx="376">
                  <c:v>46321.100415346154</c:v>
                </c:pt>
                <c:pt idx="377">
                  <c:v>53548.406235301984</c:v>
                </c:pt>
                <c:pt idx="378">
                  <c:v>59445.702751965408</c:v>
                </c:pt>
                <c:pt idx="379">
                  <c:v>55471.604407915103</c:v>
                </c:pt>
                <c:pt idx="380">
                  <c:v>52084.850752012091</c:v>
                </c:pt>
                <c:pt idx="381">
                  <c:v>47603.785361689108</c:v>
                </c:pt>
                <c:pt idx="382">
                  <c:v>44390.959218015734</c:v>
                </c:pt>
                <c:pt idx="383">
                  <c:v>40948.191492551137</c:v>
                </c:pt>
                <c:pt idx="384">
                  <c:v>37446.046832705048</c:v>
                </c:pt>
                <c:pt idx="385">
                  <c:v>33779.887586107405</c:v>
                </c:pt>
                <c:pt idx="386">
                  <c:v>31205.462310991075</c:v>
                </c:pt>
                <c:pt idx="387">
                  <c:v>28900.335137910864</c:v>
                </c:pt>
                <c:pt idx="388">
                  <c:v>25568.179405622664</c:v>
                </c:pt>
                <c:pt idx="389">
                  <c:v>23887.39280335122</c:v>
                </c:pt>
                <c:pt idx="390">
                  <c:v>21588.768121329398</c:v>
                </c:pt>
                <c:pt idx="391">
                  <c:v>20724.313414364515</c:v>
                </c:pt>
                <c:pt idx="392">
                  <c:v>19397.08522203115</c:v>
                </c:pt>
                <c:pt idx="393">
                  <c:v>18522.737712156755</c:v>
                </c:pt>
                <c:pt idx="394">
                  <c:v>17683.195280476793</c:v>
                </c:pt>
                <c:pt idx="395">
                  <c:v>17607.541959094189</c:v>
                </c:pt>
                <c:pt idx="396">
                  <c:v>17690.264219754739</c:v>
                </c:pt>
                <c:pt idx="397">
                  <c:v>19073.630047109269</c:v>
                </c:pt>
                <c:pt idx="398">
                  <c:v>18708.903608378852</c:v>
                </c:pt>
                <c:pt idx="399">
                  <c:v>18298.411299377549</c:v>
                </c:pt>
                <c:pt idx="400">
                  <c:v>17988.570613045304</c:v>
                </c:pt>
                <c:pt idx="401">
                  <c:v>17138.322823899405</c:v>
                </c:pt>
                <c:pt idx="402">
                  <c:v>16385.65948363833</c:v>
                </c:pt>
                <c:pt idx="403">
                  <c:v>15658.25350189695</c:v>
                </c:pt>
                <c:pt idx="404">
                  <c:v>15004.562330207351</c:v>
                </c:pt>
                <c:pt idx="405">
                  <c:v>14219.681902975848</c:v>
                </c:pt>
                <c:pt idx="406">
                  <c:v>14003.666095100081</c:v>
                </c:pt>
                <c:pt idx="407">
                  <c:v>13589.240278783021</c:v>
                </c:pt>
                <c:pt idx="408">
                  <c:v>13201.061035040562</c:v>
                </c:pt>
                <c:pt idx="409">
                  <c:v>12799.284589383547</c:v>
                </c:pt>
                <c:pt idx="410">
                  <c:v>12918.941368839107</c:v>
                </c:pt>
                <c:pt idx="411">
                  <c:v>13091.086906667799</c:v>
                </c:pt>
                <c:pt idx="412">
                  <c:v>13195.638187746415</c:v>
                </c:pt>
                <c:pt idx="413">
                  <c:v>12963.325938230177</c:v>
                </c:pt>
                <c:pt idx="414">
                  <c:v>12770.188330601828</c:v>
                </c:pt>
                <c:pt idx="415">
                  <c:v>12689.798841630312</c:v>
                </c:pt>
                <c:pt idx="416">
                  <c:v>12852.262639675828</c:v>
                </c:pt>
                <c:pt idx="417">
                  <c:v>12998.139869193707</c:v>
                </c:pt>
                <c:pt idx="418">
                  <c:v>12865.900873456776</c:v>
                </c:pt>
                <c:pt idx="419">
                  <c:v>12937.085297670012</c:v>
                </c:pt>
                <c:pt idx="420">
                  <c:v>13066.946737014485</c:v>
                </c:pt>
                <c:pt idx="421">
                  <c:v>12787.89103519381</c:v>
                </c:pt>
                <c:pt idx="422">
                  <c:v>12032.04650450495</c:v>
                </c:pt>
                <c:pt idx="423">
                  <c:v>10846.637380519809</c:v>
                </c:pt>
                <c:pt idx="424">
                  <c:v>10088.700492624295</c:v>
                </c:pt>
                <c:pt idx="425">
                  <c:v>9641.7754490820225</c:v>
                </c:pt>
                <c:pt idx="426">
                  <c:v>8857.9317538071627</c:v>
                </c:pt>
                <c:pt idx="427">
                  <c:v>7836.2033788672852</c:v>
                </c:pt>
                <c:pt idx="428">
                  <c:v>7243.4244258079416</c:v>
                </c:pt>
                <c:pt idx="429">
                  <c:v>7099.6618999501952</c:v>
                </c:pt>
                <c:pt idx="430">
                  <c:v>7136.5177672126883</c:v>
                </c:pt>
                <c:pt idx="431">
                  <c:v>7352.6054121305788</c:v>
                </c:pt>
                <c:pt idx="432">
                  <c:v>7673.2332700992556</c:v>
                </c:pt>
                <c:pt idx="433">
                  <c:v>7660.531501527541</c:v>
                </c:pt>
                <c:pt idx="434">
                  <c:v>7662.2505636966962</c:v>
                </c:pt>
                <c:pt idx="435">
                  <c:v>7764.0838290516549</c:v>
                </c:pt>
                <c:pt idx="436">
                  <c:v>7922.4792180322111</c:v>
                </c:pt>
                <c:pt idx="437">
                  <c:v>8007.3625357712881</c:v>
                </c:pt>
                <c:pt idx="438">
                  <c:v>8027.9847674026823</c:v>
                </c:pt>
                <c:pt idx="439">
                  <c:v>8140.6197064152366</c:v>
                </c:pt>
                <c:pt idx="440">
                  <c:v>8250.5898139573255</c:v>
                </c:pt>
                <c:pt idx="441">
                  <c:v>8054.58259754545</c:v>
                </c:pt>
                <c:pt idx="442">
                  <c:v>7449.3555658146652</c:v>
                </c:pt>
                <c:pt idx="443">
                  <c:v>6591.8350426617835</c:v>
                </c:pt>
                <c:pt idx="444">
                  <c:v>6112.9716022407374</c:v>
                </c:pt>
                <c:pt idx="445">
                  <c:v>6011.3888756262604</c:v>
                </c:pt>
                <c:pt idx="446">
                  <c:v>5276.0042348560673</c:v>
                </c:pt>
                <c:pt idx="447">
                  <c:v>4412.2534430385567</c:v>
                </c:pt>
                <c:pt idx="448">
                  <c:v>3889.4461453667755</c:v>
                </c:pt>
                <c:pt idx="449">
                  <c:v>3733.8734428348689</c:v>
                </c:pt>
                <c:pt idx="450">
                  <c:v>3601.1937095838221</c:v>
                </c:pt>
                <c:pt idx="451">
                  <c:v>3539.8506525488774</c:v>
                </c:pt>
                <c:pt idx="452">
                  <c:v>3493.137623270246</c:v>
                </c:pt>
                <c:pt idx="453">
                  <c:v>3462.5454814233817</c:v>
                </c:pt>
                <c:pt idx="454">
                  <c:v>3444.5035105303687</c:v>
                </c:pt>
                <c:pt idx="455">
                  <c:v>3439.0393961606169</c:v>
                </c:pt>
                <c:pt idx="456">
                  <c:v>3428.7517674126284</c:v>
                </c:pt>
                <c:pt idx="457">
                  <c:v>3410.0457221121906</c:v>
                </c:pt>
                <c:pt idx="458">
                  <c:v>3362.1784863894136</c:v>
                </c:pt>
                <c:pt idx="459">
                  <c:v>3311.5041943050746</c:v>
                </c:pt>
                <c:pt idx="460">
                  <c:v>3258.7869806972158</c:v>
                </c:pt>
                <c:pt idx="461">
                  <c:v>3207.656788770837</c:v>
                </c:pt>
                <c:pt idx="462">
                  <c:v>3148.3897893633693</c:v>
                </c:pt>
                <c:pt idx="463">
                  <c:v>3089.0590996703977</c:v>
                </c:pt>
                <c:pt idx="464">
                  <c:v>3005.3545030439273</c:v>
                </c:pt>
                <c:pt idx="465">
                  <c:v>2924.5354768244724</c:v>
                </c:pt>
                <c:pt idx="466">
                  <c:v>2842.7211239524477</c:v>
                </c:pt>
                <c:pt idx="467">
                  <c:v>2757.96893392333</c:v>
                </c:pt>
                <c:pt idx="468">
                  <c:v>2666.3573067162943</c:v>
                </c:pt>
                <c:pt idx="469">
                  <c:v>2580.9261439395341</c:v>
                </c:pt>
                <c:pt idx="470">
                  <c:v>2499.0556370002596</c:v>
                </c:pt>
                <c:pt idx="471">
                  <c:v>2469.4437499183987</c:v>
                </c:pt>
                <c:pt idx="472">
                  <c:v>2364.0584321686911</c:v>
                </c:pt>
                <c:pt idx="473">
                  <c:v>2330.6328683766915</c:v>
                </c:pt>
                <c:pt idx="474">
                  <c:v>2300.6584496597497</c:v>
                </c:pt>
                <c:pt idx="475">
                  <c:v>2277.4447848729033</c:v>
                </c:pt>
                <c:pt idx="476">
                  <c:v>2249.8181535282347</c:v>
                </c:pt>
                <c:pt idx="477">
                  <c:v>2218.3034127070569</c:v>
                </c:pt>
                <c:pt idx="478">
                  <c:v>2158.2819712833298</c:v>
                </c:pt>
                <c:pt idx="479">
                  <c:v>2171.2697037108446</c:v>
                </c:pt>
                <c:pt idx="480">
                  <c:v>2122.4921408413065</c:v>
                </c:pt>
                <c:pt idx="481">
                  <c:v>2078.8453555225569</c:v>
                </c:pt>
                <c:pt idx="482">
                  <c:v>2039.7308583352715</c:v>
                </c:pt>
                <c:pt idx="483">
                  <c:v>2008.7963941844937</c:v>
                </c:pt>
                <c:pt idx="484">
                  <c:v>1985.6431292971974</c:v>
                </c:pt>
                <c:pt idx="485">
                  <c:v>1975.8418371994048</c:v>
                </c:pt>
                <c:pt idx="486">
                  <c:v>1977.0985571245837</c:v>
                </c:pt>
                <c:pt idx="487">
                  <c:v>1974.6317878324917</c:v>
                </c:pt>
                <c:pt idx="488">
                  <c:v>1970.4782865406742</c:v>
                </c:pt>
                <c:pt idx="489">
                  <c:v>1966.2700720004359</c:v>
                </c:pt>
                <c:pt idx="490">
                  <c:v>1964.9349617823027</c:v>
                </c:pt>
                <c:pt idx="491">
                  <c:v>1965.2001842201134</c:v>
                </c:pt>
                <c:pt idx="492">
                  <c:v>1894.9527380203072</c:v>
                </c:pt>
                <c:pt idx="493">
                  <c:v>1883.9348886267835</c:v>
                </c:pt>
                <c:pt idx="494">
                  <c:v>1878.1919268533384</c:v>
                </c:pt>
                <c:pt idx="495">
                  <c:v>1869.6896744635887</c:v>
                </c:pt>
                <c:pt idx="496">
                  <c:v>1857.4332945069473</c:v>
                </c:pt>
                <c:pt idx="497">
                  <c:v>1840.8765563294946</c:v>
                </c:pt>
                <c:pt idx="498">
                  <c:v>1815.1459226670122</c:v>
                </c:pt>
                <c:pt idx="499">
                  <c:v>1846.573284013466</c:v>
                </c:pt>
                <c:pt idx="500">
                  <c:v>1815.2217033924535</c:v>
                </c:pt>
                <c:pt idx="501">
                  <c:v>1780.7056001524543</c:v>
                </c:pt>
                <c:pt idx="502">
                  <c:v>1750.6901409497586</c:v>
                </c:pt>
                <c:pt idx="503">
                  <c:v>1725.770627780621</c:v>
                </c:pt>
                <c:pt idx="504">
                  <c:v>1705.3922586244807</c:v>
                </c:pt>
                <c:pt idx="505">
                  <c:v>1697.5198243322884</c:v>
                </c:pt>
                <c:pt idx="506">
                  <c:v>1702.7514217494609</c:v>
                </c:pt>
                <c:pt idx="507">
                  <c:v>1706.9410034149332</c:v>
                </c:pt>
                <c:pt idx="508">
                  <c:v>1712.000969370165</c:v>
                </c:pt>
                <c:pt idx="509">
                  <c:v>1719.5704612205082</c:v>
                </c:pt>
                <c:pt idx="510">
                  <c:v>1729.5862006955504</c:v>
                </c:pt>
                <c:pt idx="511">
                  <c:v>1739.6963832705005</c:v>
                </c:pt>
                <c:pt idx="512">
                  <c:v>1744.819785018517</c:v>
                </c:pt>
                <c:pt idx="513">
                  <c:v>1746.8911689152665</c:v>
                </c:pt>
                <c:pt idx="514">
                  <c:v>1754.3721941564509</c:v>
                </c:pt>
                <c:pt idx="515">
                  <c:v>1760.0865932500819</c:v>
                </c:pt>
                <c:pt idx="516">
                  <c:v>1763.9012283277043</c:v>
                </c:pt>
                <c:pt idx="517">
                  <c:v>1766.9921927257164</c:v>
                </c:pt>
                <c:pt idx="518">
                  <c:v>1769.458835233534</c:v>
                </c:pt>
                <c:pt idx="519">
                  <c:v>1771.5018884398596</c:v>
                </c:pt>
                <c:pt idx="520">
                  <c:v>1771.4890291662232</c:v>
                </c:pt>
                <c:pt idx="521">
                  <c:v>1768.0836424105146</c:v>
                </c:pt>
                <c:pt idx="522">
                  <c:v>1767.3590585075872</c:v>
                </c:pt>
                <c:pt idx="523">
                  <c:v>1768.3979821158573</c:v>
                </c:pt>
                <c:pt idx="524">
                  <c:v>1769.0403755140869</c:v>
                </c:pt>
                <c:pt idx="525">
                  <c:v>1769.3329730553451</c:v>
                </c:pt>
                <c:pt idx="526">
                  <c:v>1769.3149927441409</c:v>
                </c:pt>
                <c:pt idx="527">
                  <c:v>1769.0025790733562</c:v>
                </c:pt>
                <c:pt idx="528">
                  <c:v>1768.6473719173009</c:v>
                </c:pt>
                <c:pt idx="529">
                  <c:v>1768.7279047039992</c:v>
                </c:pt>
                <c:pt idx="530">
                  <c:v>1768.9234541606711</c:v>
                </c:pt>
                <c:pt idx="531">
                  <c:v>1768.9985215955967</c:v>
                </c:pt>
                <c:pt idx="532">
                  <c:v>1768.9925424643516</c:v>
                </c:pt>
                <c:pt idx="533">
                  <c:v>1768.9439095228081</c:v>
                </c:pt>
                <c:pt idx="534">
                  <c:v>1768.8908976339735</c:v>
                </c:pt>
                <c:pt idx="535">
                  <c:v>1768.8749431426913</c:v>
                </c:pt>
                <c:pt idx="536">
                  <c:v>1768.9074533177263</c:v>
                </c:pt>
                <c:pt idx="537">
                  <c:v>1768.9331031196853</c:v>
                </c:pt>
                <c:pt idx="538">
                  <c:v>1768.9344815424265</c:v>
                </c:pt>
                <c:pt idx="539">
                  <c:v>1768.9253329634012</c:v>
                </c:pt>
                <c:pt idx="540">
                  <c:v>1768.9157316061392</c:v>
                </c:pt>
                <c:pt idx="541">
                  <c:v>1768.9117061894285</c:v>
                </c:pt>
                <c:pt idx="542">
                  <c:v>1768.9146788401631</c:v>
                </c:pt>
                <c:pt idx="543">
                  <c:v>1768.9203553684711</c:v>
                </c:pt>
                <c:pt idx="544">
                  <c:v>1768.9221985185141</c:v>
                </c:pt>
                <c:pt idx="545">
                  <c:v>1768.9206407184611</c:v>
                </c:pt>
                <c:pt idx="546">
                  <c:v>1768.9186634578364</c:v>
                </c:pt>
                <c:pt idx="547">
                  <c:v>1768.9177106712668</c:v>
                </c:pt>
                <c:pt idx="548">
                  <c:v>1768.9179933949272</c:v>
                </c:pt>
                <c:pt idx="549">
                  <c:v>1768.9188915672057</c:v>
                </c:pt>
                <c:pt idx="550">
                  <c:v>1768.9194933852559</c:v>
                </c:pt>
                <c:pt idx="551">
                  <c:v>1768.9193702447883</c:v>
                </c:pt>
                <c:pt idx="552">
                  <c:v>10144.277897510874</c:v>
                </c:pt>
                <c:pt idx="553">
                  <c:v>18242.091420060351</c:v>
                </c:pt>
                <c:pt idx="554">
                  <c:v>26547.096886903179</c:v>
                </c:pt>
                <c:pt idx="555">
                  <c:v>30993.264617703389</c:v>
                </c:pt>
                <c:pt idx="556">
                  <c:v>36435.987132421964</c:v>
                </c:pt>
                <c:pt idx="557">
                  <c:v>42147.227682416589</c:v>
                </c:pt>
                <c:pt idx="558">
                  <c:v>48231.01200057652</c:v>
                </c:pt>
                <c:pt idx="559">
                  <c:v>44603.294542649222</c:v>
                </c:pt>
                <c:pt idx="560">
                  <c:v>41512.326852750375</c:v>
                </c:pt>
                <c:pt idx="561">
                  <c:v>37852.943249612508</c:v>
                </c:pt>
                <c:pt idx="562">
                  <c:v>35315.203214445624</c:v>
                </c:pt>
                <c:pt idx="563">
                  <c:v>32325.682098737787</c:v>
                </c:pt>
                <c:pt idx="564">
                  <c:v>29148.02632095079</c:v>
                </c:pt>
                <c:pt idx="565">
                  <c:v>25813.32897741042</c:v>
                </c:pt>
                <c:pt idx="566">
                  <c:v>23419.878011657587</c:v>
                </c:pt>
                <c:pt idx="567">
                  <c:v>21402.266485601271</c:v>
                </c:pt>
                <c:pt idx="568">
                  <c:v>18376.923842406897</c:v>
                </c:pt>
                <c:pt idx="569">
                  <c:v>17075.599513506852</c:v>
                </c:pt>
                <c:pt idx="570">
                  <c:v>14769.839642587845</c:v>
                </c:pt>
                <c:pt idx="571">
                  <c:v>14048.250856788298</c:v>
                </c:pt>
                <c:pt idx="572">
                  <c:v>13049.403474556813</c:v>
                </c:pt>
                <c:pt idx="573">
                  <c:v>12436.138980432079</c:v>
                </c:pt>
                <c:pt idx="574">
                  <c:v>11820.868481629128</c:v>
                </c:pt>
                <c:pt idx="575">
                  <c:v>11964.297865154949</c:v>
                </c:pt>
                <c:pt idx="576">
                  <c:v>12066.317566064587</c:v>
                </c:pt>
                <c:pt idx="577">
                  <c:v>13405.89928485686</c:v>
                </c:pt>
                <c:pt idx="578">
                  <c:v>13241.120273213433</c:v>
                </c:pt>
                <c:pt idx="579">
                  <c:v>12935.061170379631</c:v>
                </c:pt>
                <c:pt idx="580">
                  <c:v>12673.70732993546</c:v>
                </c:pt>
                <c:pt idx="581">
                  <c:v>11947.676677489522</c:v>
                </c:pt>
                <c:pt idx="582">
                  <c:v>11351.176656454067</c:v>
                </c:pt>
                <c:pt idx="583">
                  <c:v>10950.692015784458</c:v>
                </c:pt>
                <c:pt idx="584">
                  <c:v>10663.97653598505</c:v>
                </c:pt>
                <c:pt idx="585">
                  <c:v>10371.099754067138</c:v>
                </c:pt>
                <c:pt idx="586">
                  <c:v>10211.192470038048</c:v>
                </c:pt>
                <c:pt idx="587">
                  <c:v>9957.1462204053896</c:v>
                </c:pt>
                <c:pt idx="588">
                  <c:v>9686.0489252332045</c:v>
                </c:pt>
                <c:pt idx="589">
                  <c:v>9350.7594586673949</c:v>
                </c:pt>
                <c:pt idx="590">
                  <c:v>9357.0640469149512</c:v>
                </c:pt>
                <c:pt idx="591">
                  <c:v>9230.8289956111839</c:v>
                </c:pt>
                <c:pt idx="592">
                  <c:v>8940.6746495535044</c:v>
                </c:pt>
                <c:pt idx="593">
                  <c:v>8709.9840336791895</c:v>
                </c:pt>
                <c:pt idx="594">
                  <c:v>8511.8193617806392</c:v>
                </c:pt>
                <c:pt idx="595">
                  <c:v>8318.2398449765897</c:v>
                </c:pt>
                <c:pt idx="596">
                  <c:v>8301.188799452706</c:v>
                </c:pt>
                <c:pt idx="597">
                  <c:v>8339.8760455926604</c:v>
                </c:pt>
                <c:pt idx="598">
                  <c:v>8163.2042882139795</c:v>
                </c:pt>
                <c:pt idx="599">
                  <c:v>8070.9280418631242</c:v>
                </c:pt>
                <c:pt idx="600">
                  <c:v>8028.0854989147192</c:v>
                </c:pt>
                <c:pt idx="601">
                  <c:v>7918.3283487508452</c:v>
                </c:pt>
                <c:pt idx="602">
                  <c:v>7780.3438375130572</c:v>
                </c:pt>
                <c:pt idx="603">
                  <c:v>7491.4790663242893</c:v>
                </c:pt>
                <c:pt idx="604">
                  <c:v>7167.2226292212872</c:v>
                </c:pt>
                <c:pt idx="605">
                  <c:v>6732.4926114704358</c:v>
                </c:pt>
                <c:pt idx="606">
                  <c:v>6682.9156219708457</c:v>
                </c:pt>
                <c:pt idx="607">
                  <c:v>6541.205672216267</c:v>
                </c:pt>
                <c:pt idx="608">
                  <c:v>6437.7531103123911</c:v>
                </c:pt>
                <c:pt idx="609">
                  <c:v>6379.0058106162687</c:v>
                </c:pt>
                <c:pt idx="610">
                  <c:v>6479.1627922932894</c:v>
                </c:pt>
                <c:pt idx="611">
                  <c:v>6742.8092104414754</c:v>
                </c:pt>
                <c:pt idx="612">
                  <c:v>7091.5675701007349</c:v>
                </c:pt>
                <c:pt idx="613">
                  <c:v>7090.1347091326388</c:v>
                </c:pt>
                <c:pt idx="614">
                  <c:v>7094.576578133936</c:v>
                </c:pt>
                <c:pt idx="615">
                  <c:v>7194.5902737141587</c:v>
                </c:pt>
                <c:pt idx="616">
                  <c:v>7353.2079828935675</c:v>
                </c:pt>
                <c:pt idx="617">
                  <c:v>7447.9200928913706</c:v>
                </c:pt>
                <c:pt idx="618">
                  <c:v>7487.1804834199793</c:v>
                </c:pt>
                <c:pt idx="619">
                  <c:v>7631.6128690140977</c:v>
                </c:pt>
                <c:pt idx="620">
                  <c:v>7784.2125621271698</c:v>
                </c:pt>
                <c:pt idx="621">
                  <c:v>7634.6218770474297</c:v>
                </c:pt>
                <c:pt idx="622">
                  <c:v>7088.6862934960882</c:v>
                </c:pt>
                <c:pt idx="623">
                  <c:v>6296.5077271303817</c:v>
                </c:pt>
                <c:pt idx="624">
                  <c:v>5913.3115621018878</c:v>
                </c:pt>
                <c:pt idx="625">
                  <c:v>5902.5361464540474</c:v>
                </c:pt>
                <c:pt idx="626">
                  <c:v>5253.7446566671133</c:v>
                </c:pt>
                <c:pt idx="627">
                  <c:v>4476.1682520375689</c:v>
                </c:pt>
                <c:pt idx="628">
                  <c:v>4043.8038321164058</c:v>
                </c:pt>
                <c:pt idx="629">
                  <c:v>3968.6851391371893</c:v>
                </c:pt>
                <c:pt idx="630">
                  <c:v>3912.7528409639272</c:v>
                </c:pt>
                <c:pt idx="631">
                  <c:v>3870.7303345723631</c:v>
                </c:pt>
                <c:pt idx="632">
                  <c:v>3845.8744750370824</c:v>
                </c:pt>
                <c:pt idx="633">
                  <c:v>3835.9173691314645</c:v>
                </c:pt>
                <c:pt idx="634">
                  <c:v>3833.511521382592</c:v>
                </c:pt>
                <c:pt idx="635">
                  <c:v>3835.1192769511326</c:v>
                </c:pt>
                <c:pt idx="636">
                  <c:v>3834.9228368130789</c:v>
                </c:pt>
                <c:pt idx="637">
                  <c:v>3826.238203937588</c:v>
                </c:pt>
                <c:pt idx="638">
                  <c:v>3809.7696935411441</c:v>
                </c:pt>
                <c:pt idx="639">
                  <c:v>3781.6737543177514</c:v>
                </c:pt>
                <c:pt idx="640">
                  <c:v>3744.0066340275007</c:v>
                </c:pt>
                <c:pt idx="641">
                  <c:v>3702.9934023546884</c:v>
                </c:pt>
                <c:pt idx="642">
                  <c:v>3650.6040093814954</c:v>
                </c:pt>
                <c:pt idx="643">
                  <c:v>3592.8684411524519</c:v>
                </c:pt>
                <c:pt idx="644">
                  <c:v>3508.3376928049038</c:v>
                </c:pt>
                <c:pt idx="645">
                  <c:v>3428.1011655292095</c:v>
                </c:pt>
                <c:pt idx="646">
                  <c:v>3351.5882322996476</c:v>
                </c:pt>
                <c:pt idx="647">
                  <c:v>3275.445315011646</c:v>
                </c:pt>
                <c:pt idx="648">
                  <c:v>3195.5307976639451</c:v>
                </c:pt>
                <c:pt idx="649">
                  <c:v>3124.4423548591221</c:v>
                </c:pt>
                <c:pt idx="650">
                  <c:v>3056.6290080877297</c:v>
                </c:pt>
                <c:pt idx="651">
                  <c:v>3039.5575424515919</c:v>
                </c:pt>
                <c:pt idx="652">
                  <c:v>3020.2447428806408</c:v>
                </c:pt>
                <c:pt idx="653">
                  <c:v>3002.0118097993545</c:v>
                </c:pt>
                <c:pt idx="654">
                  <c:v>2988.1958713272033</c:v>
                </c:pt>
                <c:pt idx="655">
                  <c:v>2981.9472303405782</c:v>
                </c:pt>
                <c:pt idx="656">
                  <c:v>2973.0307463974314</c:v>
                </c:pt>
                <c:pt idx="657">
                  <c:v>2964.1759160669899</c:v>
                </c:pt>
                <c:pt idx="658">
                  <c:v>2936.43228337654</c:v>
                </c:pt>
                <c:pt idx="659">
                  <c:v>2916.4822528570512</c:v>
                </c:pt>
                <c:pt idx="660">
                  <c:v>2903.1841250948055</c:v>
                </c:pt>
                <c:pt idx="661">
                  <c:v>2894.2448695581406</c:v>
                </c:pt>
                <c:pt idx="662">
                  <c:v>2888.1678780650618</c:v>
                </c:pt>
                <c:pt idx="663">
                  <c:v>2886.7584430153584</c:v>
                </c:pt>
                <c:pt idx="664">
                  <c:v>2887.4884232822806</c:v>
                </c:pt>
                <c:pt idx="665">
                  <c:v>2886.9737324287562</c:v>
                </c:pt>
                <c:pt idx="666">
                  <c:v>2882.2894454786656</c:v>
                </c:pt>
                <c:pt idx="667">
                  <c:v>2874.6823691346581</c:v>
                </c:pt>
                <c:pt idx="668">
                  <c:v>2864.3469075480098</c:v>
                </c:pt>
                <c:pt idx="669">
                  <c:v>2851.6738085431425</c:v>
                </c:pt>
                <c:pt idx="670">
                  <c:v>2839.2530276257166</c:v>
                </c:pt>
                <c:pt idx="671">
                  <c:v>2828.1724234687063</c:v>
                </c:pt>
                <c:pt idx="672">
                  <c:v>2752.1195167255864</c:v>
                </c:pt>
                <c:pt idx="673">
                  <c:v>2738.6954441983253</c:v>
                </c:pt>
                <c:pt idx="674">
                  <c:v>2724.4179556670497</c:v>
                </c:pt>
                <c:pt idx="675">
                  <c:v>2709.427812468326</c:v>
                </c:pt>
                <c:pt idx="676">
                  <c:v>2692.8956936737522</c:v>
                </c:pt>
                <c:pt idx="677">
                  <c:v>2672.8735995624593</c:v>
                </c:pt>
                <c:pt idx="678">
                  <c:v>2644.3532166411824</c:v>
                </c:pt>
                <c:pt idx="679">
                  <c:v>2673.4567291995372</c:v>
                </c:pt>
                <c:pt idx="680">
                  <c:v>2642.107417867519</c:v>
                </c:pt>
                <c:pt idx="681">
                  <c:v>2611.4401551725205</c:v>
                </c:pt>
                <c:pt idx="682">
                  <c:v>2582.2485108155361</c:v>
                </c:pt>
                <c:pt idx="683">
                  <c:v>2556.1604593408156</c:v>
                </c:pt>
                <c:pt idx="684">
                  <c:v>2535.0574376694858</c:v>
                </c:pt>
                <c:pt idx="685">
                  <c:v>2526.8518799218091</c:v>
                </c:pt>
                <c:pt idx="686">
                  <c:v>2532.1013004268925</c:v>
                </c:pt>
                <c:pt idx="687">
                  <c:v>2536.6432297339525</c:v>
                </c:pt>
                <c:pt idx="688">
                  <c:v>2542.1055545240115</c:v>
                </c:pt>
                <c:pt idx="689">
                  <c:v>2549.5850506790775</c:v>
                </c:pt>
                <c:pt idx="690">
                  <c:v>2559.3802500959891</c:v>
                </c:pt>
                <c:pt idx="691">
                  <c:v>2569.4053209338863</c:v>
                </c:pt>
                <c:pt idx="692">
                  <c:v>2574.5349739132052</c:v>
                </c:pt>
                <c:pt idx="693">
                  <c:v>2576.6610911392072</c:v>
                </c:pt>
                <c:pt idx="694">
                  <c:v>2584.2021226012812</c:v>
                </c:pt>
                <c:pt idx="695">
                  <c:v>2589.9347648558069</c:v>
                </c:pt>
                <c:pt idx="696">
                  <c:v>2593.7127694266055</c:v>
                </c:pt>
                <c:pt idx="697">
                  <c:v>2596.7747269159718</c:v>
                </c:pt>
                <c:pt idx="698">
                  <c:v>2599.2397243937348</c:v>
                </c:pt>
                <c:pt idx="699">
                  <c:v>2601.2930563852588</c:v>
                </c:pt>
                <c:pt idx="700">
                  <c:v>2601.291051261659</c:v>
                </c:pt>
                <c:pt idx="701">
                  <c:v>2597.8902502020683</c:v>
                </c:pt>
                <c:pt idx="702">
                  <c:v>2597.1623347772147</c:v>
                </c:pt>
                <c:pt idx="703">
                  <c:v>2598.1948447659879</c:v>
                </c:pt>
                <c:pt idx="704">
                  <c:v>2598.8351412431475</c:v>
                </c:pt>
                <c:pt idx="705">
                  <c:v>2599.1294861470478</c:v>
                </c:pt>
                <c:pt idx="706">
                  <c:v>2599.1137378260355</c:v>
                </c:pt>
                <c:pt idx="707">
                  <c:v>2598.8024066033377</c:v>
                </c:pt>
                <c:pt idx="708">
                  <c:v>2598.4468859378912</c:v>
                </c:pt>
                <c:pt idx="709">
                  <c:v>2598.5264053286855</c:v>
                </c:pt>
                <c:pt idx="710">
                  <c:v>2598.7212725503905</c:v>
                </c:pt>
                <c:pt idx="711">
                  <c:v>2598.7964765194665</c:v>
                </c:pt>
                <c:pt idx="712">
                  <c:v>2598.7909529874369</c:v>
                </c:pt>
                <c:pt idx="713">
                  <c:v>2598.7425911076634</c:v>
                </c:pt>
                <c:pt idx="714">
                  <c:v>2598.6895701478097</c:v>
                </c:pt>
                <c:pt idx="715">
                  <c:v>2598.6734506541725</c:v>
                </c:pt>
                <c:pt idx="716">
                  <c:v>2598.7058170421187</c:v>
                </c:pt>
                <c:pt idx="717">
                  <c:v>2598.7314472870366</c:v>
                </c:pt>
                <c:pt idx="718">
                  <c:v>2598.7329008208726</c:v>
                </c:pt>
                <c:pt idx="719">
                  <c:v>2598.7238185782253</c:v>
                </c:pt>
                <c:pt idx="720">
                  <c:v>2598.7142279483378</c:v>
                </c:pt>
                <c:pt idx="721">
                  <c:v>2598.7101760684918</c:v>
                </c:pt>
                <c:pt idx="722">
                  <c:v>2598.7131197713315</c:v>
                </c:pt>
                <c:pt idx="723">
                  <c:v>2598.718786788173</c:v>
                </c:pt>
                <c:pt idx="724">
                  <c:v>2598.7206396088668</c:v>
                </c:pt>
                <c:pt idx="725">
                  <c:v>2598.719095654852</c:v>
                </c:pt>
                <c:pt idx="726">
                  <c:v>2598.7171234882962</c:v>
                </c:pt>
                <c:pt idx="727">
                  <c:v>2598.7161670467549</c:v>
                </c:pt>
                <c:pt idx="728">
                  <c:v>2598.7164440608058</c:v>
                </c:pt>
                <c:pt idx="729">
                  <c:v>2598.7173394884776</c:v>
                </c:pt>
                <c:pt idx="730">
                  <c:v>2598.7179423051748</c:v>
                </c:pt>
                <c:pt idx="731">
                  <c:v>2598.7178216647089</c:v>
                </c:pt>
                <c:pt idx="732">
                  <c:v>2598.717419101391</c:v>
                </c:pt>
                <c:pt idx="733">
                  <c:v>2598.7171795937638</c:v>
                </c:pt>
                <c:pt idx="734">
                  <c:v>2598.7171876088578</c:v>
                </c:pt>
                <c:pt idx="735">
                  <c:v>2598.717333403416</c:v>
                </c:pt>
                <c:pt idx="736">
                  <c:v>2598.7174604521797</c:v>
                </c:pt>
                <c:pt idx="737">
                  <c:v>2598.7174777327373</c:v>
                </c:pt>
                <c:pt idx="738">
                  <c:v>2598.71741136536</c:v>
                </c:pt>
                <c:pt idx="739">
                  <c:v>2598.7173527509767</c:v>
                </c:pt>
                <c:pt idx="740">
                  <c:v>2598.7173432723748</c:v>
                </c:pt>
                <c:pt idx="741">
                  <c:v>2598.7173666550243</c:v>
                </c:pt>
                <c:pt idx="742">
                  <c:v>2598.717392233134</c:v>
                </c:pt>
                <c:pt idx="743">
                  <c:v>2598.7174006374553</c:v>
                </c:pt>
                <c:pt idx="744">
                  <c:v>2598.7173920925043</c:v>
                </c:pt>
                <c:pt idx="745">
                  <c:v>2598.7173798581853</c:v>
                </c:pt>
                <c:pt idx="746">
                  <c:v>2598.7173753571697</c:v>
                </c:pt>
              </c:numCache>
            </c:numRef>
          </c:val>
          <c:extLst>
            <c:ext xmlns:c16="http://schemas.microsoft.com/office/drawing/2014/chart" uri="{C3380CC4-5D6E-409C-BE32-E72D297353CC}">
              <c16:uniqueId val="{00000004-C3AD-469F-B1BF-E695EBD6B462}"/>
            </c:ext>
          </c:extLst>
        </c:ser>
        <c:ser>
          <c:idx val="5"/>
          <c:order val="5"/>
          <c:spPr>
            <a:solidFill>
              <a:schemeClr val="accent4"/>
            </a:solidFill>
            <a:ln w="9525" algn="ctr">
              <a:solidFill>
                <a:schemeClr val="bg1"/>
              </a:solidFill>
              <a:prstDash val="solid"/>
            </a:ln>
          </c:spPr>
          <c:val>
            <c:numRef>
              <c:f>Sheet1!$A$6:$ABS$6</c:f>
              <c:numCache>
                <c:formatCode>General</c:formatCode>
                <c:ptCount val="747"/>
                <c:pt idx="0">
                  <c:v>0</c:v>
                </c:pt>
                <c:pt idx="1">
                  <c:v>0</c:v>
                </c:pt>
                <c:pt idx="2">
                  <c:v>0</c:v>
                </c:pt>
                <c:pt idx="3">
                  <c:v>0</c:v>
                </c:pt>
                <c:pt idx="4">
                  <c:v>0</c:v>
                </c:pt>
                <c:pt idx="5">
                  <c:v>0</c:v>
                </c:pt>
                <c:pt idx="6">
                  <c:v>0</c:v>
                </c:pt>
                <c:pt idx="7">
                  <c:v>0</c:v>
                </c:pt>
                <c:pt idx="8">
                  <c:v>0</c:v>
                </c:pt>
                <c:pt idx="9">
                  <c:v>0</c:v>
                </c:pt>
                <c:pt idx="10">
                  <c:v>0</c:v>
                </c:pt>
                <c:pt idx="11">
                  <c:v>0</c:v>
                </c:pt>
                <c:pt idx="12">
                  <c:v>0</c:v>
                </c:pt>
                <c:pt idx="13">
                  <c:v>0</c:v>
                </c:pt>
                <c:pt idx="14">
                  <c:v>0</c:v>
                </c:pt>
                <c:pt idx="15">
                  <c:v>0</c:v>
                </c:pt>
                <c:pt idx="16">
                  <c:v>0</c:v>
                </c:pt>
                <c:pt idx="17">
                  <c:v>0</c:v>
                </c:pt>
                <c:pt idx="18">
                  <c:v>0</c:v>
                </c:pt>
                <c:pt idx="19">
                  <c:v>0</c:v>
                </c:pt>
                <c:pt idx="20">
                  <c:v>0</c:v>
                </c:pt>
                <c:pt idx="21">
                  <c:v>0</c:v>
                </c:pt>
                <c:pt idx="22">
                  <c:v>0</c:v>
                </c:pt>
                <c:pt idx="23">
                  <c:v>0</c:v>
                </c:pt>
                <c:pt idx="24">
                  <c:v>0</c:v>
                </c:pt>
                <c:pt idx="25">
                  <c:v>0</c:v>
                </c:pt>
                <c:pt idx="26">
                  <c:v>0</c:v>
                </c:pt>
                <c:pt idx="27">
                  <c:v>0</c:v>
                </c:pt>
                <c:pt idx="28">
                  <c:v>0</c:v>
                </c:pt>
                <c:pt idx="29">
                  <c:v>0</c:v>
                </c:pt>
                <c:pt idx="30">
                  <c:v>0</c:v>
                </c:pt>
                <c:pt idx="31">
                  <c:v>0</c:v>
                </c:pt>
                <c:pt idx="32">
                  <c:v>0</c:v>
                </c:pt>
                <c:pt idx="33">
                  <c:v>0</c:v>
                </c:pt>
                <c:pt idx="34">
                  <c:v>0</c:v>
                </c:pt>
                <c:pt idx="35">
                  <c:v>0</c:v>
                </c:pt>
                <c:pt idx="36">
                  <c:v>0</c:v>
                </c:pt>
                <c:pt idx="37">
                  <c:v>0</c:v>
                </c:pt>
                <c:pt idx="38">
                  <c:v>0</c:v>
                </c:pt>
                <c:pt idx="39">
                  <c:v>0</c:v>
                </c:pt>
                <c:pt idx="40">
                  <c:v>0</c:v>
                </c:pt>
                <c:pt idx="41">
                  <c:v>0</c:v>
                </c:pt>
                <c:pt idx="42">
                  <c:v>0</c:v>
                </c:pt>
                <c:pt idx="43">
                  <c:v>0</c:v>
                </c:pt>
                <c:pt idx="44">
                  <c:v>0</c:v>
                </c:pt>
                <c:pt idx="45">
                  <c:v>0</c:v>
                </c:pt>
                <c:pt idx="46">
                  <c:v>0</c:v>
                </c:pt>
                <c:pt idx="47">
                  <c:v>0</c:v>
                </c:pt>
                <c:pt idx="48">
                  <c:v>0</c:v>
                </c:pt>
                <c:pt idx="49">
                  <c:v>0</c:v>
                </c:pt>
                <c:pt idx="50">
                  <c:v>0</c:v>
                </c:pt>
                <c:pt idx="51">
                  <c:v>0</c:v>
                </c:pt>
                <c:pt idx="52">
                  <c:v>0</c:v>
                </c:pt>
                <c:pt idx="53">
                  <c:v>0</c:v>
                </c:pt>
                <c:pt idx="54">
                  <c:v>0</c:v>
                </c:pt>
                <c:pt idx="55">
                  <c:v>0</c:v>
                </c:pt>
                <c:pt idx="56">
                  <c:v>0</c:v>
                </c:pt>
                <c:pt idx="57">
                  <c:v>0</c:v>
                </c:pt>
                <c:pt idx="58">
                  <c:v>0</c:v>
                </c:pt>
                <c:pt idx="59">
                  <c:v>0</c:v>
                </c:pt>
                <c:pt idx="60">
                  <c:v>0</c:v>
                </c:pt>
                <c:pt idx="61">
                  <c:v>0</c:v>
                </c:pt>
                <c:pt idx="62">
                  <c:v>0</c:v>
                </c:pt>
                <c:pt idx="63">
                  <c:v>0</c:v>
                </c:pt>
                <c:pt idx="64">
                  <c:v>0</c:v>
                </c:pt>
                <c:pt idx="65">
                  <c:v>0</c:v>
                </c:pt>
                <c:pt idx="66">
                  <c:v>0</c:v>
                </c:pt>
                <c:pt idx="67">
                  <c:v>0</c:v>
                </c:pt>
                <c:pt idx="68">
                  <c:v>0</c:v>
                </c:pt>
                <c:pt idx="69">
                  <c:v>0</c:v>
                </c:pt>
                <c:pt idx="70">
                  <c:v>0</c:v>
                </c:pt>
                <c:pt idx="71">
                  <c:v>0</c:v>
                </c:pt>
                <c:pt idx="72">
                  <c:v>0</c:v>
                </c:pt>
                <c:pt idx="73">
                  <c:v>0</c:v>
                </c:pt>
                <c:pt idx="74">
                  <c:v>0</c:v>
                </c:pt>
                <c:pt idx="75">
                  <c:v>0</c:v>
                </c:pt>
                <c:pt idx="76">
                  <c:v>0</c:v>
                </c:pt>
                <c:pt idx="77">
                  <c:v>0</c:v>
                </c:pt>
                <c:pt idx="78">
                  <c:v>0</c:v>
                </c:pt>
                <c:pt idx="79">
                  <c:v>0</c:v>
                </c:pt>
                <c:pt idx="80">
                  <c:v>0</c:v>
                </c:pt>
                <c:pt idx="81">
                  <c:v>0</c:v>
                </c:pt>
                <c:pt idx="82">
                  <c:v>0</c:v>
                </c:pt>
                <c:pt idx="83">
                  <c:v>0</c:v>
                </c:pt>
                <c:pt idx="84">
                  <c:v>0</c:v>
                </c:pt>
                <c:pt idx="85">
                  <c:v>0</c:v>
                </c:pt>
                <c:pt idx="86">
                  <c:v>0</c:v>
                </c:pt>
                <c:pt idx="87">
                  <c:v>0</c:v>
                </c:pt>
                <c:pt idx="88">
                  <c:v>0</c:v>
                </c:pt>
                <c:pt idx="89">
                  <c:v>0</c:v>
                </c:pt>
                <c:pt idx="90">
                  <c:v>0</c:v>
                </c:pt>
                <c:pt idx="91">
                  <c:v>0</c:v>
                </c:pt>
                <c:pt idx="92">
                  <c:v>0</c:v>
                </c:pt>
                <c:pt idx="93">
                  <c:v>0</c:v>
                </c:pt>
                <c:pt idx="94">
                  <c:v>0</c:v>
                </c:pt>
                <c:pt idx="95">
                  <c:v>0</c:v>
                </c:pt>
                <c:pt idx="96">
                  <c:v>0</c:v>
                </c:pt>
                <c:pt idx="97">
                  <c:v>0</c:v>
                </c:pt>
                <c:pt idx="98">
                  <c:v>0</c:v>
                </c:pt>
                <c:pt idx="99">
                  <c:v>0</c:v>
                </c:pt>
                <c:pt idx="100">
                  <c:v>0</c:v>
                </c:pt>
                <c:pt idx="101">
                  <c:v>0</c:v>
                </c:pt>
                <c:pt idx="102">
                  <c:v>0</c:v>
                </c:pt>
                <c:pt idx="103">
                  <c:v>0</c:v>
                </c:pt>
                <c:pt idx="104">
                  <c:v>0</c:v>
                </c:pt>
                <c:pt idx="105">
                  <c:v>0</c:v>
                </c:pt>
                <c:pt idx="106">
                  <c:v>0</c:v>
                </c:pt>
                <c:pt idx="107">
                  <c:v>0</c:v>
                </c:pt>
                <c:pt idx="108">
                  <c:v>0</c:v>
                </c:pt>
                <c:pt idx="109">
                  <c:v>0</c:v>
                </c:pt>
                <c:pt idx="110">
                  <c:v>0</c:v>
                </c:pt>
                <c:pt idx="111">
                  <c:v>0</c:v>
                </c:pt>
                <c:pt idx="112">
                  <c:v>0</c:v>
                </c:pt>
                <c:pt idx="113">
                  <c:v>0</c:v>
                </c:pt>
                <c:pt idx="114">
                  <c:v>0</c:v>
                </c:pt>
                <c:pt idx="115">
                  <c:v>0</c:v>
                </c:pt>
                <c:pt idx="116">
                  <c:v>0</c:v>
                </c:pt>
                <c:pt idx="117">
                  <c:v>0</c:v>
                </c:pt>
                <c:pt idx="118">
                  <c:v>0</c:v>
                </c:pt>
                <c:pt idx="119">
                  <c:v>0</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pt idx="165">
                  <c:v>0</c:v>
                </c:pt>
                <c:pt idx="166">
                  <c:v>0</c:v>
                </c:pt>
                <c:pt idx="167">
                  <c:v>0</c:v>
                </c:pt>
                <c:pt idx="168">
                  <c:v>0</c:v>
                </c:pt>
                <c:pt idx="169">
                  <c:v>0</c:v>
                </c:pt>
                <c:pt idx="170">
                  <c:v>0</c:v>
                </c:pt>
                <c:pt idx="171">
                  <c:v>0</c:v>
                </c:pt>
                <c:pt idx="172">
                  <c:v>0</c:v>
                </c:pt>
                <c:pt idx="173">
                  <c:v>0</c:v>
                </c:pt>
                <c:pt idx="174">
                  <c:v>0</c:v>
                </c:pt>
                <c:pt idx="175">
                  <c:v>0</c:v>
                </c:pt>
                <c:pt idx="176">
                  <c:v>0</c:v>
                </c:pt>
                <c:pt idx="177">
                  <c:v>0</c:v>
                </c:pt>
                <c:pt idx="178">
                  <c:v>0</c:v>
                </c:pt>
                <c:pt idx="179">
                  <c:v>0</c:v>
                </c:pt>
                <c:pt idx="180">
                  <c:v>0</c:v>
                </c:pt>
                <c:pt idx="181">
                  <c:v>0</c:v>
                </c:pt>
                <c:pt idx="182">
                  <c:v>0</c:v>
                </c:pt>
                <c:pt idx="183">
                  <c:v>0</c:v>
                </c:pt>
                <c:pt idx="184">
                  <c:v>0</c:v>
                </c:pt>
                <c:pt idx="185">
                  <c:v>0</c:v>
                </c:pt>
                <c:pt idx="186">
                  <c:v>0</c:v>
                </c:pt>
                <c:pt idx="187">
                  <c:v>0</c:v>
                </c:pt>
                <c:pt idx="188">
                  <c:v>0</c:v>
                </c:pt>
                <c:pt idx="189">
                  <c:v>0</c:v>
                </c:pt>
                <c:pt idx="190">
                  <c:v>0</c:v>
                </c:pt>
                <c:pt idx="191">
                  <c:v>0</c:v>
                </c:pt>
                <c:pt idx="192">
                  <c:v>0</c:v>
                </c:pt>
                <c:pt idx="193">
                  <c:v>0</c:v>
                </c:pt>
                <c:pt idx="194">
                  <c:v>0</c:v>
                </c:pt>
                <c:pt idx="195">
                  <c:v>0</c:v>
                </c:pt>
                <c:pt idx="196">
                  <c:v>0</c:v>
                </c:pt>
                <c:pt idx="197">
                  <c:v>0</c:v>
                </c:pt>
                <c:pt idx="198">
                  <c:v>0</c:v>
                </c:pt>
                <c:pt idx="199">
                  <c:v>0</c:v>
                </c:pt>
                <c:pt idx="200">
                  <c:v>0</c:v>
                </c:pt>
                <c:pt idx="201">
                  <c:v>0</c:v>
                </c:pt>
                <c:pt idx="202">
                  <c:v>0</c:v>
                </c:pt>
                <c:pt idx="203">
                  <c:v>0</c:v>
                </c:pt>
                <c:pt idx="204">
                  <c:v>0</c:v>
                </c:pt>
                <c:pt idx="205">
                  <c:v>0</c:v>
                </c:pt>
                <c:pt idx="206">
                  <c:v>0</c:v>
                </c:pt>
                <c:pt idx="207">
                  <c:v>0</c:v>
                </c:pt>
                <c:pt idx="208">
                  <c:v>0</c:v>
                </c:pt>
                <c:pt idx="209">
                  <c:v>0</c:v>
                </c:pt>
                <c:pt idx="210">
                  <c:v>0</c:v>
                </c:pt>
                <c:pt idx="211">
                  <c:v>0</c:v>
                </c:pt>
                <c:pt idx="212">
                  <c:v>0</c:v>
                </c:pt>
                <c:pt idx="213">
                  <c:v>0</c:v>
                </c:pt>
                <c:pt idx="214">
                  <c:v>0</c:v>
                </c:pt>
                <c:pt idx="215">
                  <c:v>0</c:v>
                </c:pt>
                <c:pt idx="216">
                  <c:v>0</c:v>
                </c:pt>
                <c:pt idx="217">
                  <c:v>0</c:v>
                </c:pt>
                <c:pt idx="218">
                  <c:v>0</c:v>
                </c:pt>
                <c:pt idx="219">
                  <c:v>0</c:v>
                </c:pt>
                <c:pt idx="220">
                  <c:v>0</c:v>
                </c:pt>
                <c:pt idx="221">
                  <c:v>0</c:v>
                </c:pt>
                <c:pt idx="222">
                  <c:v>0</c:v>
                </c:pt>
                <c:pt idx="223">
                  <c:v>0</c:v>
                </c:pt>
                <c:pt idx="224">
                  <c:v>0</c:v>
                </c:pt>
                <c:pt idx="225">
                  <c:v>0</c:v>
                </c:pt>
                <c:pt idx="226">
                  <c:v>0</c:v>
                </c:pt>
                <c:pt idx="227">
                  <c:v>0</c:v>
                </c:pt>
                <c:pt idx="228">
                  <c:v>0</c:v>
                </c:pt>
                <c:pt idx="229">
                  <c:v>0</c:v>
                </c:pt>
                <c:pt idx="230">
                  <c:v>0</c:v>
                </c:pt>
                <c:pt idx="231">
                  <c:v>0</c:v>
                </c:pt>
                <c:pt idx="232">
                  <c:v>0</c:v>
                </c:pt>
                <c:pt idx="233">
                  <c:v>0</c:v>
                </c:pt>
                <c:pt idx="234">
                  <c:v>0</c:v>
                </c:pt>
                <c:pt idx="235">
                  <c:v>0</c:v>
                </c:pt>
                <c:pt idx="236">
                  <c:v>0</c:v>
                </c:pt>
                <c:pt idx="237">
                  <c:v>0</c:v>
                </c:pt>
                <c:pt idx="238">
                  <c:v>0</c:v>
                </c:pt>
                <c:pt idx="239">
                  <c:v>0</c:v>
                </c:pt>
                <c:pt idx="240">
                  <c:v>0</c:v>
                </c:pt>
                <c:pt idx="241">
                  <c:v>0</c:v>
                </c:pt>
                <c:pt idx="242">
                  <c:v>0</c:v>
                </c:pt>
                <c:pt idx="243">
                  <c:v>0</c:v>
                </c:pt>
                <c:pt idx="244">
                  <c:v>0</c:v>
                </c:pt>
                <c:pt idx="245">
                  <c:v>0</c:v>
                </c:pt>
                <c:pt idx="246">
                  <c:v>0</c:v>
                </c:pt>
                <c:pt idx="247">
                  <c:v>0</c:v>
                </c:pt>
                <c:pt idx="248">
                  <c:v>0</c:v>
                </c:pt>
                <c:pt idx="249">
                  <c:v>0</c:v>
                </c:pt>
                <c:pt idx="250">
                  <c:v>0</c:v>
                </c:pt>
                <c:pt idx="251">
                  <c:v>0</c:v>
                </c:pt>
                <c:pt idx="252">
                  <c:v>0</c:v>
                </c:pt>
                <c:pt idx="253">
                  <c:v>0</c:v>
                </c:pt>
                <c:pt idx="254">
                  <c:v>0</c:v>
                </c:pt>
                <c:pt idx="255">
                  <c:v>0</c:v>
                </c:pt>
                <c:pt idx="256">
                  <c:v>0</c:v>
                </c:pt>
                <c:pt idx="257">
                  <c:v>0</c:v>
                </c:pt>
                <c:pt idx="258">
                  <c:v>0</c:v>
                </c:pt>
                <c:pt idx="259">
                  <c:v>0</c:v>
                </c:pt>
                <c:pt idx="260">
                  <c:v>0</c:v>
                </c:pt>
                <c:pt idx="261">
                  <c:v>0</c:v>
                </c:pt>
                <c:pt idx="262">
                  <c:v>0</c:v>
                </c:pt>
                <c:pt idx="263">
                  <c:v>0</c:v>
                </c:pt>
                <c:pt idx="264">
                  <c:v>0</c:v>
                </c:pt>
                <c:pt idx="265">
                  <c:v>0</c:v>
                </c:pt>
                <c:pt idx="266">
                  <c:v>0</c:v>
                </c:pt>
                <c:pt idx="267">
                  <c:v>0</c:v>
                </c:pt>
                <c:pt idx="268">
                  <c:v>0</c:v>
                </c:pt>
                <c:pt idx="269">
                  <c:v>0</c:v>
                </c:pt>
                <c:pt idx="270">
                  <c:v>0</c:v>
                </c:pt>
                <c:pt idx="271">
                  <c:v>0</c:v>
                </c:pt>
                <c:pt idx="272">
                  <c:v>0</c:v>
                </c:pt>
                <c:pt idx="273">
                  <c:v>0</c:v>
                </c:pt>
                <c:pt idx="274">
                  <c:v>0</c:v>
                </c:pt>
                <c:pt idx="275">
                  <c:v>0</c:v>
                </c:pt>
                <c:pt idx="276">
                  <c:v>0</c:v>
                </c:pt>
                <c:pt idx="277">
                  <c:v>0</c:v>
                </c:pt>
                <c:pt idx="278">
                  <c:v>0</c:v>
                </c:pt>
                <c:pt idx="279">
                  <c:v>0</c:v>
                </c:pt>
                <c:pt idx="280">
                  <c:v>0</c:v>
                </c:pt>
                <c:pt idx="281">
                  <c:v>0</c:v>
                </c:pt>
                <c:pt idx="282">
                  <c:v>0</c:v>
                </c:pt>
                <c:pt idx="283">
                  <c:v>0</c:v>
                </c:pt>
                <c:pt idx="284">
                  <c:v>0</c:v>
                </c:pt>
                <c:pt idx="285">
                  <c:v>0</c:v>
                </c:pt>
                <c:pt idx="286">
                  <c:v>0</c:v>
                </c:pt>
                <c:pt idx="287">
                  <c:v>0</c:v>
                </c:pt>
                <c:pt idx="288">
                  <c:v>0</c:v>
                </c:pt>
                <c:pt idx="289">
                  <c:v>0</c:v>
                </c:pt>
                <c:pt idx="290">
                  <c:v>0</c:v>
                </c:pt>
                <c:pt idx="291">
                  <c:v>0</c:v>
                </c:pt>
                <c:pt idx="292">
                  <c:v>0</c:v>
                </c:pt>
                <c:pt idx="293">
                  <c:v>0</c:v>
                </c:pt>
                <c:pt idx="294">
                  <c:v>0</c:v>
                </c:pt>
                <c:pt idx="295">
                  <c:v>0</c:v>
                </c:pt>
                <c:pt idx="296">
                  <c:v>0</c:v>
                </c:pt>
                <c:pt idx="297">
                  <c:v>0</c:v>
                </c:pt>
                <c:pt idx="298">
                  <c:v>0</c:v>
                </c:pt>
                <c:pt idx="299">
                  <c:v>0</c:v>
                </c:pt>
                <c:pt idx="300">
                  <c:v>0</c:v>
                </c:pt>
                <c:pt idx="301">
                  <c:v>0</c:v>
                </c:pt>
                <c:pt idx="302">
                  <c:v>0</c:v>
                </c:pt>
                <c:pt idx="303">
                  <c:v>0</c:v>
                </c:pt>
                <c:pt idx="304">
                  <c:v>0</c:v>
                </c:pt>
                <c:pt idx="305">
                  <c:v>99935.024908665684</c:v>
                </c:pt>
                <c:pt idx="306">
                  <c:v>96623.347921597888</c:v>
                </c:pt>
                <c:pt idx="307">
                  <c:v>99095.565228412626</c:v>
                </c:pt>
                <c:pt idx="308">
                  <c:v>53051.800159376871</c:v>
                </c:pt>
                <c:pt idx="309">
                  <c:v>64942.720884754439</c:v>
                </c:pt>
                <c:pt idx="310">
                  <c:v>68146.6871592846</c:v>
                </c:pt>
                <c:pt idx="311">
                  <c:v>72591.891168771603</c:v>
                </c:pt>
                <c:pt idx="312">
                  <c:v>73014.429791651375</c:v>
                </c:pt>
                <c:pt idx="313">
                  <c:v>67745.64183051663</c:v>
                </c:pt>
                <c:pt idx="314">
                  <c:v>61507.945940500882</c:v>
                </c:pt>
                <c:pt idx="315">
                  <c:v>57182.176258521562</c:v>
                </c:pt>
                <c:pt idx="316">
                  <c:v>52086.311618195439</c:v>
                </c:pt>
                <c:pt idx="317">
                  <c:v>46669.757260042068</c:v>
                </c:pt>
                <c:pt idx="318">
                  <c:v>40985.513693405257</c:v>
                </c:pt>
                <c:pt idx="319">
                  <c:v>36905.695683819009</c:v>
                </c:pt>
                <c:pt idx="320">
                  <c:v>33466.524383951619</c:v>
                </c:pt>
                <c:pt idx="321">
                  <c:v>28309.599248989718</c:v>
                </c:pt>
                <c:pt idx="322">
                  <c:v>26091.393599860021</c:v>
                </c:pt>
                <c:pt idx="323">
                  <c:v>22161.051681142242</c:v>
                </c:pt>
                <c:pt idx="324">
                  <c:v>20931.049077198491</c:v>
                </c:pt>
                <c:pt idx="325">
                  <c:v>31842.965905485675</c:v>
                </c:pt>
                <c:pt idx="326">
                  <c:v>42994.113876976073</c:v>
                </c:pt>
                <c:pt idx="327">
                  <c:v>54453.903758881439</c:v>
                </c:pt>
                <c:pt idx="328">
                  <c:v>61394.975097310147</c:v>
                </c:pt>
                <c:pt idx="329">
                  <c:v>69766.41923726385</c:v>
                </c:pt>
                <c:pt idx="330">
                  <c:v>80651.809335291444</c:v>
                </c:pt>
                <c:pt idx="331">
                  <c:v>89534.00896912592</c:v>
                </c:pt>
                <c:pt idx="332">
                  <c:v>83548.429855610884</c:v>
                </c:pt>
                <c:pt idx="333">
                  <c:v>78447.478598140646</c:v>
                </c:pt>
                <c:pt idx="334">
                  <c:v>71698.332229690102</c:v>
                </c:pt>
                <c:pt idx="335">
                  <c:v>66859.341496177687</c:v>
                </c:pt>
                <c:pt idx="336">
                  <c:v>61674.024776203762</c:v>
                </c:pt>
                <c:pt idx="337">
                  <c:v>56399.27762258437</c:v>
                </c:pt>
                <c:pt idx="338">
                  <c:v>50877.500274998602</c:v>
                </c:pt>
                <c:pt idx="339">
                  <c:v>47000.035546650528</c:v>
                </c:pt>
                <c:pt idx="340">
                  <c:v>43528.173537538096</c:v>
                </c:pt>
                <c:pt idx="341">
                  <c:v>38509.454817599151</c:v>
                </c:pt>
                <c:pt idx="342">
                  <c:v>35977.941928419255</c:v>
                </c:pt>
                <c:pt idx="343">
                  <c:v>32515.873631312803</c:v>
                </c:pt>
                <c:pt idx="344">
                  <c:v>31213.877155474387</c:v>
                </c:pt>
                <c:pt idx="345">
                  <c:v>29214.875455178641</c:v>
                </c:pt>
                <c:pt idx="346">
                  <c:v>27897.978956909297</c:v>
                </c:pt>
                <c:pt idx="347">
                  <c:v>26633.50404740026</c:v>
                </c:pt>
                <c:pt idx="348">
                  <c:v>26519.558970773185</c:v>
                </c:pt>
                <c:pt idx="349">
                  <c:v>26644.150914093916</c:v>
                </c:pt>
                <c:pt idx="350">
                  <c:v>28727.704184726987</c:v>
                </c:pt>
                <c:pt idx="351">
                  <c:v>28178.372294870816</c:v>
                </c:pt>
                <c:pt idx="352">
                  <c:v>27560.110244386975</c:v>
                </c:pt>
                <c:pt idx="353">
                  <c:v>27093.444404724549</c:v>
                </c:pt>
                <c:pt idx="354">
                  <c:v>25812.845645601425</c:v>
                </c:pt>
                <c:pt idx="355">
                  <c:v>24679.223480533547</c:v>
                </c:pt>
                <c:pt idx="356">
                  <c:v>23583.642628118076</c:v>
                </c:pt>
                <c:pt idx="357">
                  <c:v>22599.087167931197</c:v>
                </c:pt>
                <c:pt idx="358">
                  <c:v>21416.941311154049</c:v>
                </c:pt>
                <c:pt idx="359">
                  <c:v>21091.589597162005</c:v>
                </c:pt>
                <c:pt idx="360">
                  <c:v>20467.403103648889</c:v>
                </c:pt>
                <c:pt idx="361">
                  <c:v>19882.747825270199</c:v>
                </c:pt>
                <c:pt idx="362">
                  <c:v>19277.613152388338</c:v>
                </c:pt>
                <c:pt idx="363">
                  <c:v>19457.833936549927</c:v>
                </c:pt>
                <c:pt idx="364">
                  <c:v>19717.110543847491</c:v>
                </c:pt>
                <c:pt idx="365">
                  <c:v>19874.58021624558</c:v>
                </c:pt>
                <c:pt idx="366">
                  <c:v>19524.683654022811</c:v>
                </c:pt>
                <c:pt idx="367">
                  <c:v>19233.789888903819</c:v>
                </c:pt>
                <c:pt idx="368">
                  <c:v>19112.711444316577</c:v>
                </c:pt>
                <c:pt idx="369">
                  <c:v>19357.405921427271</c:v>
                </c:pt>
                <c:pt idx="370">
                  <c:v>19577.118576361128</c:v>
                </c:pt>
                <c:pt idx="371">
                  <c:v>19377.947115981893</c:v>
                </c:pt>
                <c:pt idx="372">
                  <c:v>19485.161373378447</c:v>
                </c:pt>
                <c:pt idx="373">
                  <c:v>19680.751882645825</c:v>
                </c:pt>
                <c:pt idx="374">
                  <c:v>19260.452776855935</c:v>
                </c:pt>
                <c:pt idx="375">
                  <c:v>18122.03926911563</c:v>
                </c:pt>
                <c:pt idx="376">
                  <c:v>16336.63803360812</c:v>
                </c:pt>
                <c:pt idx="377">
                  <c:v>15195.07312685583</c:v>
                </c:pt>
                <c:pt idx="378">
                  <c:v>14521.937996735534</c:v>
                </c:pt>
                <c:pt idx="379">
                  <c:v>13341.353611419123</c:v>
                </c:pt>
                <c:pt idx="380">
                  <c:v>11802.479760981631</c:v>
                </c:pt>
                <c:pt idx="381">
                  <c:v>10909.667099293059</c:v>
                </c:pt>
                <c:pt idx="382">
                  <c:v>10693.139500430523</c:v>
                </c:pt>
                <c:pt idx="383">
                  <c:v>10748.64988044597</c:v>
                </c:pt>
                <c:pt idx="384">
                  <c:v>11074.109791634604</c:v>
                </c:pt>
                <c:pt idx="385">
                  <c:v>11557.022705136478</c:v>
                </c:pt>
                <c:pt idx="386">
                  <c:v>11537.891965510586</c:v>
                </c:pt>
                <c:pt idx="387">
                  <c:v>11540.481127057166</c:v>
                </c:pt>
                <c:pt idx="388">
                  <c:v>11693.857066301891</c:v>
                </c:pt>
                <c:pt idx="389">
                  <c:v>11932.423918422835</c:v>
                </c:pt>
                <c:pt idx="390">
                  <c:v>12060.270732909848</c:v>
                </c:pt>
                <c:pt idx="391">
                  <c:v>12091.330859821814</c:v>
                </c:pt>
                <c:pt idx="392">
                  <c:v>12260.975715091976</c:v>
                </c:pt>
                <c:pt idx="393">
                  <c:v>12426.606940549798</c:v>
                </c:pt>
                <c:pt idx="394">
                  <c:v>12131.391120737564</c:v>
                </c:pt>
                <c:pt idx="395">
                  <c:v>11219.829813885182</c:v>
                </c:pt>
                <c:pt idx="396">
                  <c:v>9928.2772431042395</c:v>
                </c:pt>
                <c:pt idx="397">
                  <c:v>9207.0381697175617</c:v>
                </c:pt>
                <c:pt idx="398">
                  <c:v>9054.0395788225869</c:v>
                </c:pt>
                <c:pt idx="399">
                  <c:v>7946.4416873955342</c:v>
                </c:pt>
                <c:pt idx="400">
                  <c:v>6645.5054117433174</c:v>
                </c:pt>
                <c:pt idx="401">
                  <c:v>5858.080398463906</c:v>
                </c:pt>
                <c:pt idx="402">
                  <c:v>5623.7649290690024</c:v>
                </c:pt>
                <c:pt idx="403">
                  <c:v>5423.9296528928535</c:v>
                </c:pt>
                <c:pt idx="404">
                  <c:v>5331.5379481186537</c:v>
                </c:pt>
                <c:pt idx="405">
                  <c:v>5261.1812261221203</c:v>
                </c:pt>
                <c:pt idx="406">
                  <c:v>5215.1049417869363</c:v>
                </c:pt>
                <c:pt idx="407">
                  <c:v>5187.9310686728713</c:v>
                </c:pt>
                <c:pt idx="408">
                  <c:v>5179.7013053369155</c:v>
                </c:pt>
                <c:pt idx="409">
                  <c:v>5164.2066168740566</c:v>
                </c:pt>
                <c:pt idx="410">
                  <c:v>5136.0325496131554</c:v>
                </c:pt>
                <c:pt idx="411">
                  <c:v>5063.9374222258484</c:v>
                </c:pt>
                <c:pt idx="412">
                  <c:v>4987.6144533324259</c:v>
                </c:pt>
                <c:pt idx="413">
                  <c:v>4908.2145428681542</c:v>
                </c:pt>
                <c:pt idx="414">
                  <c:v>4831.204921472483</c:v>
                </c:pt>
                <c:pt idx="415">
                  <c:v>4741.9400661360851</c:v>
                </c:pt>
                <c:pt idx="416">
                  <c:v>4652.5792838222551</c:v>
                </c:pt>
                <c:pt idx="417">
                  <c:v>4526.507797437851</c:v>
                </c:pt>
                <c:pt idx="418">
                  <c:v>4404.7824063089502</c:v>
                </c:pt>
                <c:pt idx="419">
                  <c:v>4281.557906223461</c:v>
                </c:pt>
                <c:pt idx="420">
                  <c:v>4153.9085894362797</c:v>
                </c:pt>
                <c:pt idx="421">
                  <c:v>4015.9279470632609</c:v>
                </c:pt>
                <c:pt idx="422">
                  <c:v>3887.2559970282746</c:v>
                </c:pt>
                <c:pt idx="423">
                  <c:v>3763.9469206229405</c:v>
                </c:pt>
                <c:pt idx="424">
                  <c:v>3719.3470447555737</c:v>
                </c:pt>
                <c:pt idx="425">
                  <c:v>3666.8103526955092</c:v>
                </c:pt>
                <c:pt idx="426">
                  <c:v>3616.4665163910395</c:v>
                </c:pt>
                <c:pt idx="427">
                  <c:v>3571.3206143324642</c:v>
                </c:pt>
                <c:pt idx="428">
                  <c:v>3536.3574063120031</c:v>
                </c:pt>
                <c:pt idx="429">
                  <c:v>3494.7476188237779</c:v>
                </c:pt>
                <c:pt idx="430">
                  <c:v>3447.2817641577858</c:v>
                </c:pt>
                <c:pt idx="431">
                  <c:v>3356.8806077076879</c:v>
                </c:pt>
                <c:pt idx="432">
                  <c:v>3270.2528883808118</c:v>
                </c:pt>
                <c:pt idx="433">
                  <c:v>3196.7866738475132</c:v>
                </c:pt>
                <c:pt idx="434">
                  <c:v>3131.0481681643432</c:v>
                </c:pt>
                <c:pt idx="435">
                  <c:v>3072.1359578636475</c:v>
                </c:pt>
                <c:pt idx="436">
                  <c:v>3025.5440855751367</c:v>
                </c:pt>
                <c:pt idx="437">
                  <c:v>2990.6718487249891</c:v>
                </c:pt>
                <c:pt idx="438">
                  <c:v>2975.9096550932154</c:v>
                </c:pt>
                <c:pt idx="439">
                  <c:v>2977.8024609286513</c:v>
                </c:pt>
                <c:pt idx="440">
                  <c:v>2974.0871420124749</c:v>
                </c:pt>
                <c:pt idx="441">
                  <c:v>2884.6147394902073</c:v>
                </c:pt>
                <c:pt idx="442">
                  <c:v>2878.2765468045691</c:v>
                </c:pt>
                <c:pt idx="443">
                  <c:v>2876.2656736088538</c:v>
                </c:pt>
                <c:pt idx="444">
                  <c:v>2876.665137775839</c:v>
                </c:pt>
                <c:pt idx="445">
                  <c:v>2864.6899015238887</c:v>
                </c:pt>
                <c:pt idx="446">
                  <c:v>2848.0953929092939</c:v>
                </c:pt>
                <c:pt idx="447">
                  <c:v>2839.4456441951916</c:v>
                </c:pt>
                <c:pt idx="448">
                  <c:v>2909.8566123128694</c:v>
                </c:pt>
                <c:pt idx="449">
                  <c:v>2891.3966937287914</c:v>
                </c:pt>
                <c:pt idx="450">
                  <c:v>2866.4598004658328</c:v>
                </c:pt>
                <c:pt idx="451">
                  <c:v>2827.7056655414781</c:v>
                </c:pt>
                <c:pt idx="452">
                  <c:v>2781.2121199550311</c:v>
                </c:pt>
                <c:pt idx="453">
                  <c:v>2733.9920086504717</c:v>
                </c:pt>
                <c:pt idx="454">
                  <c:v>2682.005658855589</c:v>
                </c:pt>
                <c:pt idx="455">
                  <c:v>2636.7979437633621</c:v>
                </c:pt>
                <c:pt idx="456">
                  <c:v>2599.2654761113954</c:v>
                </c:pt>
                <c:pt idx="457">
                  <c:v>2568.5726421075669</c:v>
                </c:pt>
                <c:pt idx="458">
                  <c:v>2556.7155932396272</c:v>
                </c:pt>
                <c:pt idx="459">
                  <c:v>2564.5951517002832</c:v>
                </c:pt>
                <c:pt idx="460">
                  <c:v>2570.9052805244719</c:v>
                </c:pt>
                <c:pt idx="461">
                  <c:v>2504.9968794529123</c:v>
                </c:pt>
                <c:pt idx="462">
                  <c:v>2516.3976522565063</c:v>
                </c:pt>
                <c:pt idx="463">
                  <c:v>2531.4828353139746</c:v>
                </c:pt>
                <c:pt idx="464">
                  <c:v>2546.7102636299096</c:v>
                </c:pt>
                <c:pt idx="465">
                  <c:v>2554.4268634313921</c:v>
                </c:pt>
                <c:pt idx="466">
                  <c:v>2557.5466735405644</c:v>
                </c:pt>
                <c:pt idx="467">
                  <c:v>2568.8142025633715</c:v>
                </c:pt>
                <c:pt idx="468">
                  <c:v>2650.9503888618929</c:v>
                </c:pt>
                <c:pt idx="469">
                  <c:v>2656.6957927421463</c:v>
                </c:pt>
                <c:pt idx="470">
                  <c:v>2661.3512416865124</c:v>
                </c:pt>
                <c:pt idx="471">
                  <c:v>2665.0663696468982</c:v>
                </c:pt>
                <c:pt idx="472">
                  <c:v>2668.1435095516208</c:v>
                </c:pt>
                <c:pt idx="473">
                  <c:v>2668.1241415860131</c:v>
                </c:pt>
                <c:pt idx="474">
                  <c:v>2662.9951261281967</c:v>
                </c:pt>
                <c:pt idx="475">
                  <c:v>2661.9037957432884</c:v>
                </c:pt>
                <c:pt idx="476">
                  <c:v>2663.4685681548726</c:v>
                </c:pt>
                <c:pt idx="477">
                  <c:v>2664.4361074996559</c:v>
                </c:pt>
                <c:pt idx="478">
                  <c:v>2664.8768026158214</c:v>
                </c:pt>
                <c:pt idx="479">
                  <c:v>2664.8497216113465</c:v>
                </c:pt>
                <c:pt idx="480">
                  <c:v>2664.3791804770735</c:v>
                </c:pt>
                <c:pt idx="481">
                  <c:v>2663.8441860328603</c:v>
                </c:pt>
                <c:pt idx="482">
                  <c:v>2663.9654803050507</c:v>
                </c:pt>
                <c:pt idx="483">
                  <c:v>2664.2600066710438</c:v>
                </c:pt>
                <c:pt idx="484">
                  <c:v>2664.373069316076</c:v>
                </c:pt>
                <c:pt idx="485">
                  <c:v>2664.3640638613142</c:v>
                </c:pt>
                <c:pt idx="486">
                  <c:v>2664.2908154678153</c:v>
                </c:pt>
                <c:pt idx="487">
                  <c:v>2664.2109717330168</c:v>
                </c:pt>
                <c:pt idx="488">
                  <c:v>2664.1869419124705</c:v>
                </c:pt>
                <c:pt idx="489">
                  <c:v>2664.2359070380771</c:v>
                </c:pt>
                <c:pt idx="490">
                  <c:v>2664.2745394286321</c:v>
                </c:pt>
                <c:pt idx="491">
                  <c:v>2664.2766155368445</c:v>
                </c:pt>
                <c:pt idx="492">
                  <c:v>2664.2628364255652</c:v>
                </c:pt>
                <c:pt idx="493">
                  <c:v>2664.248375363255</c:v>
                </c:pt>
                <c:pt idx="494">
                  <c:v>2664.242312491202</c:v>
                </c:pt>
                <c:pt idx="495">
                  <c:v>2664.2467897422612</c:v>
                </c:pt>
                <c:pt idx="496">
                  <c:v>2664.255339432304</c:v>
                </c:pt>
                <c:pt idx="497">
                  <c:v>2664.2581154885702</c:v>
                </c:pt>
                <c:pt idx="498">
                  <c:v>2664.2557692114642</c:v>
                </c:pt>
                <c:pt idx="499">
                  <c:v>2664.2527911649086</c:v>
                </c:pt>
                <c:pt idx="500">
                  <c:v>2664.2513561277374</c:v>
                </c:pt>
                <c:pt idx="501">
                  <c:v>2664.2517819511704</c:v>
                </c:pt>
                <c:pt idx="502">
                  <c:v>2664.2531347312688</c:v>
                </c:pt>
                <c:pt idx="503">
                  <c:v>2664.254041158194</c:v>
                </c:pt>
                <c:pt idx="504">
                  <c:v>2664.2538556904256</c:v>
                </c:pt>
                <c:pt idx="505">
                  <c:v>2664.2532471478917</c:v>
                </c:pt>
                <c:pt idx="506">
                  <c:v>15278.780547565111</c:v>
                </c:pt>
                <c:pt idx="507">
                  <c:v>27475.284200890383</c:v>
                </c:pt>
                <c:pt idx="508">
                  <c:v>39983.849359288346</c:v>
                </c:pt>
                <c:pt idx="509">
                  <c:v>46680.434668509566</c:v>
                </c:pt>
                <c:pt idx="510">
                  <c:v>54877.978545131096</c:v>
                </c:pt>
                <c:pt idx="511">
                  <c:v>63479.950285286111</c:v>
                </c:pt>
                <c:pt idx="512">
                  <c:v>72643.028106115758</c:v>
                </c:pt>
                <c:pt idx="513">
                  <c:v>67179.149844755753</c:v>
                </c:pt>
                <c:pt idx="514">
                  <c:v>62523.695991603716</c:v>
                </c:pt>
                <c:pt idx="515">
                  <c:v>57012.123766999357</c:v>
                </c:pt>
                <c:pt idx="516">
                  <c:v>53189.912402721391</c:v>
                </c:pt>
                <c:pt idx="517">
                  <c:v>48687.251999798231</c:v>
                </c:pt>
                <c:pt idx="518">
                  <c:v>43901.233026785376</c:v>
                </c:pt>
                <c:pt idx="519">
                  <c:v>38878.686276599568</c:v>
                </c:pt>
                <c:pt idx="520">
                  <c:v>35273.795601218604</c:v>
                </c:pt>
                <c:pt idx="521">
                  <c:v>32234.974627679949</c:v>
                </c:pt>
                <c:pt idx="522">
                  <c:v>27678.361734784477</c:v>
                </c:pt>
                <c:pt idx="523">
                  <c:v>25718.375074045667</c:v>
                </c:pt>
                <c:pt idx="524">
                  <c:v>22245.560126546239</c:v>
                </c:pt>
                <c:pt idx="525">
                  <c:v>21158.740831844516</c:v>
                </c:pt>
                <c:pt idx="526">
                  <c:v>19654.329138495828</c:v>
                </c:pt>
                <c:pt idx="527">
                  <c:v>18730.662227098233</c:v>
                </c:pt>
                <c:pt idx="528">
                  <c:v>17803.973974832072</c:v>
                </c:pt>
                <c:pt idx="529">
                  <c:v>18019.999811177673</c:v>
                </c:pt>
                <c:pt idx="530">
                  <c:v>18173.656549380154</c:v>
                </c:pt>
                <c:pt idx="531">
                  <c:v>20191.264485353873</c:v>
                </c:pt>
                <c:pt idx="532">
                  <c:v>19943.082955000791</c:v>
                </c:pt>
                <c:pt idx="533">
                  <c:v>19482.112738932214</c:v>
                </c:pt>
                <c:pt idx="534">
                  <c:v>19088.475251064236</c:v>
                </c:pt>
                <c:pt idx="535">
                  <c:v>17994.965847543048</c:v>
                </c:pt>
                <c:pt idx="536">
                  <c:v>17096.548707723879</c:v>
                </c:pt>
                <c:pt idx="537">
                  <c:v>16493.359683956682</c:v>
                </c:pt>
                <c:pt idx="538">
                  <c:v>16061.523821185074</c:v>
                </c:pt>
                <c:pt idx="539">
                  <c:v>15620.408127341019</c:v>
                </c:pt>
                <c:pt idx="540">
                  <c:v>15379.564137968104</c:v>
                </c:pt>
                <c:pt idx="541">
                  <c:v>14996.932961250386</c:v>
                </c:pt>
                <c:pt idx="542">
                  <c:v>14588.620391368066</c:v>
                </c:pt>
                <c:pt idx="543">
                  <c:v>14083.624929670375</c:v>
                </c:pt>
                <c:pt idx="544">
                  <c:v>14093.120570821418</c:v>
                </c:pt>
                <c:pt idx="545">
                  <c:v>13902.991937603132</c:v>
                </c:pt>
                <c:pt idx="546">
                  <c:v>13465.97663423499</c:v>
                </c:pt>
                <c:pt idx="547">
                  <c:v>13118.52249180233</c:v>
                </c:pt>
                <c:pt idx="548">
                  <c:v>12820.057225347366</c:v>
                </c:pt>
                <c:pt idx="549">
                  <c:v>12528.497879733732</c:v>
                </c:pt>
                <c:pt idx="550">
                  <c:v>12502.816486594798</c:v>
                </c:pt>
                <c:pt idx="551">
                  <c:v>12561.085193711733</c:v>
                </c:pt>
                <c:pt idx="552">
                  <c:v>12294.991431212984</c:v>
                </c:pt>
                <c:pt idx="553">
                  <c:v>12156.009774239064</c:v>
                </c:pt>
                <c:pt idx="554">
                  <c:v>12091.482576358132</c:v>
                </c:pt>
                <c:pt idx="555">
                  <c:v>11926.172096166891</c:v>
                </c:pt>
                <c:pt idx="556">
                  <c:v>11718.347040782814</c:v>
                </c:pt>
                <c:pt idx="557">
                  <c:v>11283.274027643987</c:v>
                </c:pt>
                <c:pt idx="558">
                  <c:v>10794.895937994661</c:v>
                </c:pt>
                <c:pt idx="559">
                  <c:v>10140.128318023068</c:v>
                </c:pt>
                <c:pt idx="560">
                  <c:v>10065.45804890299</c:v>
                </c:pt>
                <c:pt idx="561">
                  <c:v>9852.02193283409</c:v>
                </c:pt>
                <c:pt idx="562">
                  <c:v>9696.2070938030811</c:v>
                </c:pt>
                <c:pt idx="563">
                  <c:v>9607.7249829962093</c:v>
                </c:pt>
                <c:pt idx="564">
                  <c:v>9758.5761914207978</c:v>
                </c:pt>
                <c:pt idx="565">
                  <c:v>10155.666639920717</c:v>
                </c:pt>
                <c:pt idx="566">
                  <c:v>10680.948244077546</c:v>
                </c:pt>
                <c:pt idx="567">
                  <c:v>10678.790143813938</c:v>
                </c:pt>
                <c:pt idx="568">
                  <c:v>10685.480254631097</c:v>
                </c:pt>
                <c:pt idx="569">
                  <c:v>10836.115653029381</c:v>
                </c:pt>
                <c:pt idx="570">
                  <c:v>11075.017352208233</c:v>
                </c:pt>
                <c:pt idx="571">
                  <c:v>11217.667779631513</c:v>
                </c:pt>
                <c:pt idx="572">
                  <c:v>11276.79972685354</c:v>
                </c:pt>
                <c:pt idx="573">
                  <c:v>11494.336233423091</c:v>
                </c:pt>
                <c:pt idx="574">
                  <c:v>11724.173911495134</c:v>
                </c:pt>
                <c:pt idx="575">
                  <c:v>11498.868243976496</c:v>
                </c:pt>
                <c:pt idx="576">
                  <c:v>10676.608615922472</c:v>
                </c:pt>
                <c:pt idx="577">
                  <c:v>9483.4706836136538</c:v>
                </c:pt>
                <c:pt idx="578">
                  <c:v>8906.3206578201789</c:v>
                </c:pt>
                <c:pt idx="579">
                  <c:v>8890.0912902361815</c:v>
                </c:pt>
                <c:pt idx="580">
                  <c:v>7912.9154747181674</c:v>
                </c:pt>
                <c:pt idx="581">
                  <c:v>6741.770554844552</c:v>
                </c:pt>
                <c:pt idx="582">
                  <c:v>6090.5658746231347</c:v>
                </c:pt>
                <c:pt idx="583">
                  <c:v>5977.4260273405453</c:v>
                </c:pt>
                <c:pt idx="584">
                  <c:v>5893.1837246259674</c:v>
                </c:pt>
                <c:pt idx="585">
                  <c:v>5829.8916229267707</c:v>
                </c:pt>
                <c:pt idx="586">
                  <c:v>5792.4550270492764</c:v>
                </c:pt>
                <c:pt idx="587">
                  <c:v>5777.4581548080678</c:v>
                </c:pt>
                <c:pt idx="588">
                  <c:v>5773.8345927347327</c:v>
                </c:pt>
                <c:pt idx="589">
                  <c:v>5776.2561100996754</c:v>
                </c:pt>
                <c:pt idx="590">
                  <c:v>5775.9602422360331</c:v>
                </c:pt>
                <c:pt idx="591">
                  <c:v>5762.8799023330212</c:v>
                </c:pt>
                <c:pt idx="592">
                  <c:v>5738.0758931398668</c:v>
                </c:pt>
                <c:pt idx="593">
                  <c:v>5695.7592586658066</c:v>
                </c:pt>
                <c:pt idx="594">
                  <c:v>5639.027011761842</c:v>
                </c:pt>
                <c:pt idx="595">
                  <c:v>5577.2550268669511</c:v>
                </c:pt>
                <c:pt idx="596">
                  <c:v>5498.3488627002953</c:v>
                </c:pt>
                <c:pt idx="597">
                  <c:v>5411.3905689237363</c:v>
                </c:pt>
                <c:pt idx="598">
                  <c:v>5284.0747760179074</c:v>
                </c:pt>
                <c:pt idx="599">
                  <c:v>5163.2267143385761</c:v>
                </c:pt>
                <c:pt idx="600">
                  <c:v>5047.9869352980895</c:v>
                </c:pt>
                <c:pt idx="601">
                  <c:v>4933.3044549201513</c:v>
                </c:pt>
                <c:pt idx="602">
                  <c:v>4812.9413877557963</c:v>
                </c:pt>
                <c:pt idx="603">
                  <c:v>4705.8716925375993</c:v>
                </c:pt>
                <c:pt idx="604">
                  <c:v>4603.7347757046009</c:v>
                </c:pt>
                <c:pt idx="605">
                  <c:v>4578.0226268592669</c:v>
                </c:pt>
                <c:pt idx="606">
                  <c:v>4548.9346980440532</c:v>
                </c:pt>
                <c:pt idx="607">
                  <c:v>4521.4732076678702</c:v>
                </c:pt>
                <c:pt idx="608">
                  <c:v>4500.6643635999135</c:v>
                </c:pt>
                <c:pt idx="609">
                  <c:v>4491.252987297652</c:v>
                </c:pt>
                <c:pt idx="610">
                  <c:v>4477.8234454406702</c:v>
                </c:pt>
                <c:pt idx="611">
                  <c:v>4464.4867630309527</c:v>
                </c:pt>
                <c:pt idx="612">
                  <c:v>4422.700754233636</c:v>
                </c:pt>
                <c:pt idx="613">
                  <c:v>4392.6530614859803</c:v>
                </c:pt>
                <c:pt idx="614">
                  <c:v>4372.6241168319902</c:v>
                </c:pt>
                <c:pt idx="615">
                  <c:v>4359.1602775912179</c:v>
                </c:pt>
                <c:pt idx="616">
                  <c:v>4350.007430780679</c:v>
                </c:pt>
                <c:pt idx="617">
                  <c:v>4347.8846134104388</c:v>
                </c:pt>
                <c:pt idx="618">
                  <c:v>4348.9840715164319</c:v>
                </c:pt>
                <c:pt idx="619">
                  <c:v>4348.2088710671014</c:v>
                </c:pt>
                <c:pt idx="620">
                  <c:v>4341.1536430119158</c:v>
                </c:pt>
                <c:pt idx="621">
                  <c:v>4329.6962624093794</c:v>
                </c:pt>
                <c:pt idx="622">
                  <c:v>4314.1295306264801</c:v>
                </c:pt>
                <c:pt idx="623">
                  <c:v>4295.0419716030083</c:v>
                </c:pt>
                <c:pt idx="624">
                  <c:v>4276.3344408884368</c:v>
                </c:pt>
                <c:pt idx="625">
                  <c:v>4259.6454143308656</c:v>
                </c:pt>
                <c:pt idx="626">
                  <c:v>4238.9262969855772</c:v>
                </c:pt>
                <c:pt idx="627">
                  <c:v>4218.7076609128053</c:v>
                </c:pt>
                <c:pt idx="628">
                  <c:v>4197.2036542807327</c:v>
                </c:pt>
                <c:pt idx="629">
                  <c:v>4174.626284454549</c:v>
                </c:pt>
                <c:pt idx="630">
                  <c:v>4149.7264716186182</c:v>
                </c:pt>
                <c:pt idx="631">
                  <c:v>4119.5702404574113</c:v>
                </c:pt>
                <c:pt idx="632">
                  <c:v>4076.6143310800471</c:v>
                </c:pt>
                <c:pt idx="633">
                  <c:v>4026.620725966859</c:v>
                </c:pt>
                <c:pt idx="634">
                  <c:v>3979.4040325466267</c:v>
                </c:pt>
                <c:pt idx="635">
                  <c:v>3933.2146051184172</c:v>
                </c:pt>
                <c:pt idx="636">
                  <c:v>3889.2476768681227</c:v>
                </c:pt>
                <c:pt idx="637">
                  <c:v>3849.9552179249004</c:v>
                </c:pt>
                <c:pt idx="638">
                  <c:v>3818.1709501958831</c:v>
                </c:pt>
                <c:pt idx="639">
                  <c:v>3805.8121681990378</c:v>
                </c:pt>
                <c:pt idx="640">
                  <c:v>3813.7185708626275</c:v>
                </c:pt>
                <c:pt idx="641">
                  <c:v>3820.5593872799436</c:v>
                </c:pt>
                <c:pt idx="642">
                  <c:v>3755.256998045239</c:v>
                </c:pt>
                <c:pt idx="643">
                  <c:v>3766.5222240387084</c:v>
                </c:pt>
                <c:pt idx="644">
                  <c:v>3781.2752411930924</c:v>
                </c:pt>
                <c:pt idx="645">
                  <c:v>3796.374478661186</c:v>
                </c:pt>
                <c:pt idx="646">
                  <c:v>3804.1004937402904</c:v>
                </c:pt>
                <c:pt idx="647">
                  <c:v>3807.3027403278829</c:v>
                </c:pt>
                <c:pt idx="648">
                  <c:v>3818.6606475829249</c:v>
                </c:pt>
                <c:pt idx="649">
                  <c:v>3900.8243107763774</c:v>
                </c:pt>
                <c:pt idx="650">
                  <c:v>3906.5145437026949</c:v>
                </c:pt>
                <c:pt idx="651">
                  <c:v>3911.1263039580444</c:v>
                </c:pt>
                <c:pt idx="652">
                  <c:v>3914.8389542603036</c:v>
                </c:pt>
                <c:pt idx="653">
                  <c:v>3917.931575533803</c:v>
                </c:pt>
                <c:pt idx="654">
                  <c:v>3917.9285555217139</c:v>
                </c:pt>
                <c:pt idx="655">
                  <c:v>3912.8064467992081</c:v>
                </c:pt>
                <c:pt idx="656">
                  <c:v>3911.7100986501755</c:v>
                </c:pt>
                <c:pt idx="657">
                  <c:v>3913.2652112035357</c:v>
                </c:pt>
                <c:pt idx="658">
                  <c:v>3914.2295922752746</c:v>
                </c:pt>
                <c:pt idx="659">
                  <c:v>3914.6729191777195</c:v>
                </c:pt>
                <c:pt idx="660">
                  <c:v>3914.6491998802594</c:v>
                </c:pt>
                <c:pt idx="661">
                  <c:v>3914.1802890725157</c:v>
                </c:pt>
                <c:pt idx="662">
                  <c:v>3913.644822436916</c:v>
                </c:pt>
                <c:pt idx="663">
                  <c:v>3913.764590385239</c:v>
                </c:pt>
                <c:pt idx="664">
                  <c:v>3914.0580892045327</c:v>
                </c:pt>
                <c:pt idx="665">
                  <c:v>3914.1713574902533</c:v>
                </c:pt>
                <c:pt idx="666">
                  <c:v>3914.1630382354269</c:v>
                </c:pt>
                <c:pt idx="667">
                  <c:v>3914.0901981006755</c:v>
                </c:pt>
                <c:pt idx="668">
                  <c:v>3914.0103407036513</c:v>
                </c:pt>
                <c:pt idx="669">
                  <c:v>3913.9860623651839</c:v>
                </c:pt>
                <c:pt idx="670">
                  <c:v>3914.034810926496</c:v>
                </c:pt>
                <c:pt idx="671">
                  <c:v>3914.0734138608532</c:v>
                </c:pt>
                <c:pt idx="672">
                  <c:v>3914.0756030975463</c:v>
                </c:pt>
                <c:pt idx="673">
                  <c:v>3914.0619238984873</c:v>
                </c:pt>
                <c:pt idx="674">
                  <c:v>3914.0474789934233</c:v>
                </c:pt>
                <c:pt idx="675">
                  <c:v>3914.0413762637036</c:v>
                </c:pt>
                <c:pt idx="676">
                  <c:v>3914.0458099151583</c:v>
                </c:pt>
                <c:pt idx="677">
                  <c:v>3914.0543452794009</c:v>
                </c:pt>
                <c:pt idx="678">
                  <c:v>3914.0571359012829</c:v>
                </c:pt>
                <c:pt idx="679">
                  <c:v>3914.0548104784866</c:v>
                </c:pt>
                <c:pt idx="680">
                  <c:v>3914.0518401042973</c:v>
                </c:pt>
                <c:pt idx="681">
                  <c:v>3914.0503995622093</c:v>
                </c:pt>
                <c:pt idx="682">
                  <c:v>3914.0508167863427</c:v>
                </c:pt>
                <c:pt idx="683">
                  <c:v>3914.0521654324348</c:v>
                </c:pt>
                <c:pt idx="684">
                  <c:v>3914.0530733633786</c:v>
                </c:pt>
                <c:pt idx="685">
                  <c:v>3914.0528916612802</c:v>
                </c:pt>
                <c:pt idx="686">
                  <c:v>3914.0522853412804</c:v>
                </c:pt>
                <c:pt idx="687">
                  <c:v>3914.0519246073163</c:v>
                </c:pt>
                <c:pt idx="688">
                  <c:v>3914.0519366791214</c:v>
                </c:pt>
                <c:pt idx="689">
                  <c:v>3914.0521562672893</c:v>
                </c:pt>
                <c:pt idx="690">
                  <c:v>3914.0523476217477</c:v>
                </c:pt>
                <c:pt idx="691">
                  <c:v>3914.0523736490195</c:v>
                </c:pt>
                <c:pt idx="692">
                  <c:v>3914.0522736896364</c:v>
                </c:pt>
                <c:pt idx="693">
                  <c:v>3914.0521854078397</c:v>
                </c:pt>
                <c:pt idx="694">
                  <c:v>3914.0521711318625</c:v>
                </c:pt>
                <c:pt idx="695">
                  <c:v>3914.0522063494263</c:v>
                </c:pt>
                <c:pt idx="696">
                  <c:v>3914.0522448738502</c:v>
                </c:pt>
                <c:pt idx="697">
                  <c:v>3914.0522575317227</c:v>
                </c:pt>
                <c:pt idx="698">
                  <c:v>3914.0522446617742</c:v>
                </c:pt>
                <c:pt idx="699">
                  <c:v>3914.0522262351587</c:v>
                </c:pt>
                <c:pt idx="700">
                  <c:v>3914.0522194560626</c:v>
                </c:pt>
                <c:pt idx="701">
                  <c:v>3914.0522243198266</c:v>
                </c:pt>
                <c:pt idx="702">
                  <c:v>3914.0522319183547</c:v>
                </c:pt>
                <c:pt idx="703">
                  <c:v>3914.0522355710027</c:v>
                </c:pt>
                <c:pt idx="704">
                  <c:v>3914.0522342422719</c:v>
                </c:pt>
                <c:pt idx="705">
                  <c:v>3914.0522309149219</c:v>
                </c:pt>
                <c:pt idx="706">
                  <c:v>3914.0522289510282</c:v>
                </c:pt>
                <c:pt idx="707">
                  <c:v>3914.0522293389913</c:v>
                </c:pt>
                <c:pt idx="708">
                  <c:v>3914.0522307510082</c:v>
                </c:pt>
                <c:pt idx="709">
                  <c:v>3914.0522316695588</c:v>
                </c:pt>
                <c:pt idx="710">
                  <c:v>3914.0522316341685</c:v>
                </c:pt>
                <c:pt idx="711">
                  <c:v>3914.0522310717824</c:v>
                </c:pt>
                <c:pt idx="712">
                  <c:v>3914.0522306188941</c:v>
                </c:pt>
                <c:pt idx="713">
                  <c:v>3914.0522305764525</c:v>
                </c:pt>
                <c:pt idx="714">
                  <c:v>3914.0522308086183</c:v>
                </c:pt>
                <c:pt idx="715">
                  <c:v>3914.0522310185643</c:v>
                </c:pt>
                <c:pt idx="716">
                  <c:v>3914.0522310571487</c:v>
                </c:pt>
                <c:pt idx="717">
                  <c:v>3914.052230969337</c:v>
                </c:pt>
                <c:pt idx="718">
                  <c:v>3914.0522308743421</c:v>
                </c:pt>
                <c:pt idx="719">
                  <c:v>3914.0522308461368</c:v>
                </c:pt>
                <c:pt idx="720">
                  <c:v>3914.0522308787331</c:v>
                </c:pt>
                <c:pt idx="721">
                  <c:v>3914.0522309219741</c:v>
                </c:pt>
                <c:pt idx="722">
                  <c:v>3914.0522309380722</c:v>
                </c:pt>
                <c:pt idx="723">
                  <c:v>3914.0522309263633</c:v>
                </c:pt>
                <c:pt idx="724">
                  <c:v>3914.0522309080034</c:v>
                </c:pt>
                <c:pt idx="725">
                  <c:v>3914.0522308990885</c:v>
                </c:pt>
                <c:pt idx="726">
                  <c:v>3914.0522309026819</c:v>
                </c:pt>
                <c:pt idx="727">
                  <c:v>3914.0522309106645</c:v>
                </c:pt>
                <c:pt idx="728">
                  <c:v>3914.0522309151875</c:v>
                </c:pt>
                <c:pt idx="729">
                  <c:v>3914.0522309142561</c:v>
                </c:pt>
                <c:pt idx="730">
                  <c:v>3914.052230910931</c:v>
                </c:pt>
                <c:pt idx="731">
                  <c:v>3914.0522309086691</c:v>
                </c:pt>
                <c:pt idx="732">
                  <c:v>3914.052230908801</c:v>
                </c:pt>
                <c:pt idx="733">
                  <c:v>3914.0522309101325</c:v>
                </c:pt>
                <c:pt idx="734">
                  <c:v>3914.0522309111966</c:v>
                </c:pt>
                <c:pt idx="735">
                  <c:v>3914.0522309113285</c:v>
                </c:pt>
                <c:pt idx="736">
                  <c:v>3914.0522309110629</c:v>
                </c:pt>
                <c:pt idx="737">
                  <c:v>3914.0522309103972</c:v>
                </c:pt>
                <c:pt idx="738">
                  <c:v>3914.0522309101325</c:v>
                </c:pt>
                <c:pt idx="739">
                  <c:v>3914.0522309103981</c:v>
                </c:pt>
                <c:pt idx="740">
                  <c:v>3914.0522309105309</c:v>
                </c:pt>
                <c:pt idx="741">
                  <c:v>3914.0522309107982</c:v>
                </c:pt>
                <c:pt idx="742">
                  <c:v>3914.0522309107964</c:v>
                </c:pt>
                <c:pt idx="743">
                  <c:v>3914.0522309102653</c:v>
                </c:pt>
                <c:pt idx="744">
                  <c:v>3914.0522309103972</c:v>
                </c:pt>
                <c:pt idx="745">
                  <c:v>3914.0522309106645</c:v>
                </c:pt>
                <c:pt idx="746">
                  <c:v>3914.0522309106636</c:v>
                </c:pt>
              </c:numCache>
            </c:numRef>
          </c:val>
          <c:extLst>
            <c:ext xmlns:c16="http://schemas.microsoft.com/office/drawing/2014/chart" uri="{C3380CC4-5D6E-409C-BE32-E72D297353CC}">
              <c16:uniqueId val="{00000005-C3AD-469F-B1BF-E695EBD6B462}"/>
            </c:ext>
          </c:extLst>
        </c:ser>
        <c:ser>
          <c:idx val="6"/>
          <c:order val="6"/>
          <c:spPr>
            <a:solidFill>
              <a:srgbClr val="D0D0D0"/>
            </a:solidFill>
            <a:ln w="9525" algn="ctr">
              <a:solidFill>
                <a:schemeClr val="bg1"/>
              </a:solidFill>
              <a:prstDash val="solid"/>
            </a:ln>
          </c:spPr>
          <c:val>
            <c:numRef>
              <c:f>Sheet1!$A$7:$ABS$7</c:f>
              <c:numCache>
                <c:formatCode>General</c:formatCode>
                <c:ptCount val="747"/>
              </c:numCache>
            </c:numRef>
          </c:val>
          <c:extLst>
            <c:ext xmlns:c16="http://schemas.microsoft.com/office/drawing/2014/chart" uri="{C3380CC4-5D6E-409C-BE32-E72D297353CC}">
              <c16:uniqueId val="{00000006-C3AD-469F-B1BF-E695EBD6B462}"/>
            </c:ext>
          </c:extLst>
        </c:ser>
        <c:ser>
          <c:idx val="7"/>
          <c:order val="7"/>
          <c:spPr>
            <a:solidFill>
              <a:schemeClr val="accent2"/>
            </a:solidFill>
            <a:ln w="9525" algn="ctr">
              <a:solidFill>
                <a:schemeClr val="bg1"/>
              </a:solidFill>
              <a:prstDash val="solid"/>
            </a:ln>
          </c:spPr>
          <c:val>
            <c:numRef>
              <c:f>Sheet1!$A$8:$ABS$8</c:f>
              <c:numCache>
                <c:formatCode>General</c:formatCode>
                <c:ptCount val="747"/>
              </c:numCache>
            </c:numRef>
          </c:val>
          <c:extLst>
            <c:ext xmlns:c16="http://schemas.microsoft.com/office/drawing/2014/chart" uri="{C3380CC4-5D6E-409C-BE32-E72D297353CC}">
              <c16:uniqueId val="{00000007-C3AD-469F-B1BF-E695EBD6B462}"/>
            </c:ext>
          </c:extLst>
        </c:ser>
        <c:ser>
          <c:idx val="8"/>
          <c:order val="8"/>
          <c:spPr>
            <a:solidFill>
              <a:schemeClr val="accent1"/>
            </a:solidFill>
            <a:ln w="9525" algn="ctr">
              <a:solidFill>
                <a:schemeClr val="bg1"/>
              </a:solidFill>
              <a:prstDash val="solid"/>
            </a:ln>
          </c:spPr>
          <c:val>
            <c:numRef>
              <c:f>Sheet1!$A$9:$ABS$9</c:f>
              <c:numCache>
                <c:formatCode>General</c:formatCode>
                <c:ptCount val="747"/>
              </c:numCache>
            </c:numRef>
          </c:val>
          <c:extLst>
            <c:ext xmlns:c16="http://schemas.microsoft.com/office/drawing/2014/chart" uri="{C3380CC4-5D6E-409C-BE32-E72D297353CC}">
              <c16:uniqueId val="{00000008-C3AD-469F-B1BF-E695EBD6B462}"/>
            </c:ext>
          </c:extLst>
        </c:ser>
        <c:dLbls>
          <c:showLegendKey val="0"/>
          <c:showVal val="0"/>
          <c:showCatName val="0"/>
          <c:showSerName val="0"/>
          <c:showPercent val="0"/>
          <c:showBubbleSize val="0"/>
        </c:dLbls>
        <c:axId val="1374566767"/>
        <c:axId val="1"/>
      </c:areaChart>
      <c:catAx>
        <c:axId val="1374566767"/>
        <c:scaling>
          <c:orientation val="minMax"/>
        </c:scaling>
        <c:delete val="0"/>
        <c:axPos val="b"/>
        <c:majorGridlines>
          <c:spPr>
            <a:ln>
              <a:noFill/>
            </a:ln>
          </c:spPr>
        </c:majorGridlines>
        <c:majorTickMark val="none"/>
        <c:minorTickMark val="none"/>
        <c:tickLblPos val="none"/>
        <c:spPr>
          <a:ln w="9525" algn="ctr">
            <a:solidFill>
              <a:schemeClr val="tx1"/>
            </a:solidFill>
            <a:prstDash val="solid"/>
          </a:ln>
        </c:spPr>
        <c:crossAx val="1"/>
        <c:crosses val="min"/>
        <c:auto val="0"/>
        <c:lblAlgn val="ctr"/>
        <c:lblOffset val="100"/>
        <c:noMultiLvlLbl val="0"/>
      </c:catAx>
      <c:valAx>
        <c:axId val="1"/>
        <c:scaling>
          <c:orientation val="minMax"/>
          <c:max val="800000"/>
          <c:min val="0"/>
        </c:scaling>
        <c:delete val="0"/>
        <c:axPos val="l"/>
        <c:majorGridlines>
          <c:spPr>
            <a:ln>
              <a:noFill/>
            </a:ln>
          </c:spPr>
        </c:majorGridlines>
        <c:numFmt formatCode="General" sourceLinked="1"/>
        <c:majorTickMark val="none"/>
        <c:minorTickMark val="none"/>
        <c:tickLblPos val="none"/>
        <c:spPr>
          <a:ln w="9525" algn="ctr">
            <a:solidFill>
              <a:schemeClr val="tx1"/>
            </a:solidFill>
            <a:prstDash val="solid"/>
          </a:ln>
        </c:spPr>
        <c:crossAx val="1374566767"/>
        <c:crosses val="min"/>
        <c:crossBetween val="midCat"/>
        <c:majorUnit val="100000"/>
      </c:valAx>
    </c:plotArea>
    <c:plotVisOnly val="0"/>
    <c:dispBlanksAs val="zero"/>
    <c:showDLblsOverMax val="1"/>
  </c:chart>
  <c:externalData r:id="rId1">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1C54A49A-6FAE-44B0-A7A0-3BC941F1B33E}" type="datetimeFigureOut">
              <a:rPr lang="en-US"/>
              <a:t>9/17/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1F3587-5A7D-4DB5-A303-DA2394AAD111}" type="slidenum">
              <a:rPr lang="en-US"/>
              <a:t>‹#›</a:t>
            </a:fld>
            <a:endParaRPr lang="en-US"/>
          </a:p>
        </p:txBody>
      </p:sp>
    </p:spTree>
    <p:extLst>
      <p:ext uri="{BB962C8B-B14F-4D97-AF65-F5344CB8AC3E}">
        <p14:creationId xmlns:p14="http://schemas.microsoft.com/office/powerpoint/2010/main" val="396987253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Grace: </a:t>
            </a:r>
            <a:endParaRPr lang="en-US"/>
          </a:p>
          <a:p>
            <a:r>
              <a:rPr lang="en-US">
                <a:cs typeface="Calibri"/>
              </a:rPr>
              <a:t>- Welcome all, the webinar </a:t>
            </a:r>
          </a:p>
          <a:p>
            <a:r>
              <a:rPr lang="en-US">
                <a:cs typeface="Calibri"/>
              </a:rPr>
              <a:t>- Two ways to communicate (Cecilia's script) </a:t>
            </a:r>
            <a:endParaRPr lang="en-US"/>
          </a:p>
          <a:p>
            <a:r>
              <a:rPr lang="en-US">
                <a:cs typeface="Calibri"/>
              </a:rPr>
              <a:t>- Introduce Kathlee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1865A-3AEC-AB4F-8E7E-73DF355ABA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436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Grace: </a:t>
            </a:r>
            <a:endParaRPr lang="en-US"/>
          </a:p>
          <a:p>
            <a:r>
              <a:rPr lang="en-US">
                <a:cs typeface="Calibri"/>
              </a:rPr>
              <a:t>- Welcome all, the webinar </a:t>
            </a:r>
          </a:p>
          <a:p>
            <a:r>
              <a:rPr lang="en-US">
                <a:cs typeface="Calibri"/>
              </a:rPr>
              <a:t>- Two ways to communicate (Cecilia's script) </a:t>
            </a:r>
            <a:endParaRPr lang="en-US"/>
          </a:p>
          <a:p>
            <a:r>
              <a:rPr lang="en-US">
                <a:cs typeface="Calibri"/>
              </a:rPr>
              <a:t>- Introduce Kathlee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1865A-3AEC-AB4F-8E7E-73DF355ABA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143682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1865A-3AEC-AB4F-8E7E-73DF355ABA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1770998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Grace: </a:t>
            </a:r>
            <a:endParaRPr lang="en-US"/>
          </a:p>
          <a:p>
            <a:r>
              <a:rPr lang="en-US">
                <a:cs typeface="Calibri"/>
              </a:rPr>
              <a:t>- Welcome all, the webinar </a:t>
            </a:r>
          </a:p>
          <a:p>
            <a:r>
              <a:rPr lang="en-US">
                <a:cs typeface="Calibri"/>
              </a:rPr>
              <a:t>- Two ways to communicate (Cecilia's script) </a:t>
            </a:r>
            <a:endParaRPr lang="en-US"/>
          </a:p>
          <a:p>
            <a:r>
              <a:rPr lang="en-US">
                <a:cs typeface="Calibri"/>
              </a:rPr>
              <a:t>- Introduce Kathleen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1865A-3AEC-AB4F-8E7E-73DF355ABA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0233007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7A87022-CFBB-415D-998B-C2CC7836F48D}"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706109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4F1865A-3AEC-AB4F-8E7E-73DF355ABA3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142668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67C3B965-65D3-3441-857B-3195C2CAC992}" type="datetime3">
              <a:rPr lang="en-US" smtClean="0"/>
              <a:t>17 Sept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7</a:t>
            </a:fld>
            <a:endParaRPr lang="en-US"/>
          </a:p>
        </p:txBody>
      </p:sp>
    </p:spTree>
    <p:extLst>
      <p:ext uri="{BB962C8B-B14F-4D97-AF65-F5344CB8AC3E}">
        <p14:creationId xmlns:p14="http://schemas.microsoft.com/office/powerpoint/2010/main" val="261991582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1F3587-5A7D-4DB5-A303-DA2394AAD111}" type="slidenum">
              <a:rPr lang="en-US" smtClean="0"/>
              <a:t>8</a:t>
            </a:fld>
            <a:endParaRPr lang="en-US"/>
          </a:p>
        </p:txBody>
      </p:sp>
    </p:spTree>
    <p:extLst>
      <p:ext uri="{BB962C8B-B14F-4D97-AF65-F5344CB8AC3E}">
        <p14:creationId xmlns:p14="http://schemas.microsoft.com/office/powerpoint/2010/main" val="31992071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lnSpc>
                <a:spcPct val="90000"/>
              </a:lnSpc>
              <a:spcBef>
                <a:spcPts val="500"/>
              </a:spcBef>
              <a:buFont typeface="Arial"/>
              <a:buChar char="•"/>
            </a:pPr>
            <a:r>
              <a:rPr lang="en-US"/>
              <a:t>This is a 5.9% from the week prior (+18,580 doses) </a:t>
            </a:r>
          </a:p>
          <a:p>
            <a:pPr marL="628650" lvl="1" indent="-171450">
              <a:lnSpc>
                <a:spcPct val="90000"/>
              </a:lnSpc>
              <a:spcBef>
                <a:spcPts val="500"/>
              </a:spcBef>
              <a:buFont typeface="Arial"/>
              <a:buChar char="•"/>
            </a:pPr>
            <a:r>
              <a:rPr lang="en-US"/>
              <a:t>This is a 24.2% increase from two weeks prior (+65,328) </a:t>
            </a:r>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D83CD20-3ADC-44FC-B77C-302E4E67C9D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4832011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DD0FE6E0-2EBD-4B35-A6F3-0AF1803398A8}" type="slidenum">
              <a:rPr lang="en-US" smtClean="0"/>
              <a:t>19</a:t>
            </a:fld>
            <a:endParaRPr lang="en-US"/>
          </a:p>
        </p:txBody>
      </p:sp>
    </p:spTree>
    <p:extLst>
      <p:ext uri="{BB962C8B-B14F-4D97-AF65-F5344CB8AC3E}">
        <p14:creationId xmlns:p14="http://schemas.microsoft.com/office/powerpoint/2010/main" val="14956667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7 Sept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1</a:t>
            </a:fld>
            <a:endParaRPr lang="en-US"/>
          </a:p>
        </p:txBody>
      </p:sp>
    </p:spTree>
    <p:extLst>
      <p:ext uri="{BB962C8B-B14F-4D97-AF65-F5344CB8AC3E}">
        <p14:creationId xmlns:p14="http://schemas.microsoft.com/office/powerpoint/2010/main" val="23737260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a:lstStyle/>
          <a:p>
            <a:endParaRPr lang="en-US"/>
          </a:p>
        </p:txBody>
      </p:sp>
      <p:sp>
        <p:nvSpPr>
          <p:cNvPr id="4" name="Date Placeholder 3"/>
          <p:cNvSpPr>
            <a:spLocks noGrp="1"/>
          </p:cNvSpPr>
          <p:nvPr>
            <p:ph type="dt" idx="1"/>
          </p:nvPr>
        </p:nvSpPr>
        <p:spPr/>
        <p:txBody>
          <a:bodyPr/>
          <a:lstStyle/>
          <a:p>
            <a:fld id="{1DF34805-1F01-4BDA-A8CA-FCEA2B4BC8D0}" type="datetime3">
              <a:rPr lang="en-US" smtClean="0"/>
              <a:pPr/>
              <a:t>17 September 2021</a:t>
            </a:fld>
            <a:endParaRPr lang="en-US"/>
          </a:p>
        </p:txBody>
      </p:sp>
      <p:sp>
        <p:nvSpPr>
          <p:cNvPr id="5" name="Slide Number Placeholder 4"/>
          <p:cNvSpPr>
            <a:spLocks noGrp="1"/>
          </p:cNvSpPr>
          <p:nvPr>
            <p:ph type="sldNum" sz="quarter" idx="5"/>
          </p:nvPr>
        </p:nvSpPr>
        <p:spPr/>
        <p:txBody>
          <a:bodyPr/>
          <a:lstStyle/>
          <a:p>
            <a:fld id="{CF5EBCF4-26FC-4F76-8DA1-52FDDC328D44}" type="slidenum">
              <a:rPr lang="en-US" smtClean="0"/>
              <a:pPr/>
              <a:t>22</a:t>
            </a:fld>
            <a:endParaRPr lang="en-US"/>
          </a:p>
        </p:txBody>
      </p:sp>
    </p:spTree>
    <p:extLst>
      <p:ext uri="{BB962C8B-B14F-4D97-AF65-F5344CB8AC3E}">
        <p14:creationId xmlns:p14="http://schemas.microsoft.com/office/powerpoint/2010/main" val="8691457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B1F3587-5A7D-4DB5-A303-DA2394AAD111}" type="slidenum">
              <a:rPr lang="en-US" smtClean="0"/>
              <a:t>29</a:t>
            </a:fld>
            <a:endParaRPr lang="en-US"/>
          </a:p>
        </p:txBody>
      </p:sp>
    </p:spTree>
    <p:extLst>
      <p:ext uri="{BB962C8B-B14F-4D97-AF65-F5344CB8AC3E}">
        <p14:creationId xmlns:p14="http://schemas.microsoft.com/office/powerpoint/2010/main" val="364558313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3.png"/><Relationship Id="rId5" Type="http://schemas.openxmlformats.org/officeDocument/2006/relationships/tags" Target="../tags/tag4.xml"/><Relationship Id="rId10" Type="http://schemas.openxmlformats.org/officeDocument/2006/relationships/image" Target="../media/image2.emf"/><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39639644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0"/>
            <a:ext cx="2743200" cy="365125"/>
          </a:xfrm>
          <a:prstGeom prst="rect">
            <a:avLst/>
          </a:prstGeom>
        </p:spPr>
        <p:txBody>
          <a:bodyPr/>
          <a:lstStyle/>
          <a:p>
            <a:fld id="{3BBCC8C8-1ECD-EF4A-9F16-75DEC265C8FE}" type="datetime1">
              <a:rPr lang="en-US" smtClean="0"/>
              <a:t>9/17/2021</a:t>
            </a:fld>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993865647"/>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6788732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44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33755026"/>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userDrawn="1">
  <p:cSld name="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175259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3256764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0606993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64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12593794"/>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41577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5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51842120"/>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0579615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85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5174017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46500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3776661"/>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1619986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05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2012351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userDrawn="1">
  <p:cSld name="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29520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4798419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userDrawn="1">
  <p:cSld name="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7615187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26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8968672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648045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496548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37BBBD-263B-4609-8659-AA7931BA851E}" type="datetime1">
              <a:rPr lang="en-US" smtClean="0"/>
              <a:t>9/17/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DDFCB01-FDF3-4364-91DB-3C8C9E14990C}" type="slidenum">
              <a:rPr lang="en-US" smtClean="0"/>
              <a:t>‹#›</a:t>
            </a:fld>
            <a:endParaRPr lang="en-US"/>
          </a:p>
        </p:txBody>
      </p:sp>
    </p:spTree>
    <p:extLst>
      <p:ext uri="{BB962C8B-B14F-4D97-AF65-F5344CB8AC3E}">
        <p14:creationId xmlns:p14="http://schemas.microsoft.com/office/powerpoint/2010/main" val="3033119769"/>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1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291638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46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9024830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1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40156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6349676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1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5360958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67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1661184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1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593778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3425059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0450439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87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90997267"/>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1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392186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2042710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1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5530682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08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14294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867693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56781221"/>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1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393945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28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4395998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17502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9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476567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0"/>
            <a:ext cx="2743200" cy="365125"/>
          </a:xfrm>
          <a:prstGeom prst="rect">
            <a:avLst/>
          </a:prstGeom>
        </p:spPr>
        <p:txBody>
          <a:bodyPr/>
          <a:lstStyle/>
          <a:p>
            <a:fld id="{DF53905B-B1AC-2E43-B14E-3D95FF59C01A}" type="datetime1">
              <a:rPr lang="en-US" smtClean="0"/>
              <a:t>9/17/2021</a:t>
            </a:fld>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992540679"/>
      </p:ext>
    </p:extLst>
  </p:cSld>
  <p:clrMapOvr>
    <a:masterClrMapping/>
  </p:clrMapOvr>
  <p:hf hdr="0" ftr="0" dt="0"/>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2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2876754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49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93154555"/>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2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26495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20896969"/>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2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2691484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69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167758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2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15883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39399276"/>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2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5057095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290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62156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2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567313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1116048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2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6916560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10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3903520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59205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41165124"/>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2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9854485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31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1707670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2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604133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53594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4421-928D-DD4B-AC23-3FC6623062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D1927F-C337-DD41-8734-333E7594730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645DC0-0E3C-614A-875A-ED8E584ABB16}"/>
              </a:ext>
            </a:extLst>
          </p:cNvPr>
          <p:cNvSpPr>
            <a:spLocks noGrp="1"/>
          </p:cNvSpPr>
          <p:nvPr>
            <p:ph type="dt" sz="half" idx="10"/>
          </p:nvPr>
        </p:nvSpPr>
        <p:spPr>
          <a:xfrm>
            <a:off x="838200" y="6356350"/>
            <a:ext cx="2743200" cy="365125"/>
          </a:xfrm>
          <a:prstGeom prst="rect">
            <a:avLst/>
          </a:prstGeom>
        </p:spPr>
        <p:txBody>
          <a:bodyPr/>
          <a:lstStyle/>
          <a:p>
            <a:fld id="{26F7F99C-93F6-0647-A3CD-6ABFD02CB3F9}" type="datetime1">
              <a:rPr lang="en-US" smtClean="0"/>
              <a:t>9/17/2021</a:t>
            </a:fld>
            <a:endParaRPr lang="en-US"/>
          </a:p>
        </p:txBody>
      </p:sp>
      <p:sp>
        <p:nvSpPr>
          <p:cNvPr id="5" name="Footer Placeholder 4">
            <a:extLst>
              <a:ext uri="{FF2B5EF4-FFF2-40B4-BE49-F238E27FC236}">
                <a16:creationId xmlns:a16="http://schemas.microsoft.com/office/drawing/2014/main" id="{D755D6BC-CE41-BF4B-BC25-2D56E4676B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427A2E-C1AD-2C47-A08F-A20C90EF33A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672624378"/>
      </p:ext>
    </p:extLst>
  </p:cSld>
  <p:clrMapOvr>
    <a:masterClrMapping/>
  </p:clrMapOvr>
  <p:hf hdr="0" ftr="0" dt="0"/>
</p:sldLayout>
</file>

<file path=ppt/slideLayouts/slideLayout130.xml><?xml version="1.0" encoding="utf-8"?>
<p:sldLayout xmlns:a="http://schemas.openxmlformats.org/drawingml/2006/main" xmlns:r="http://schemas.openxmlformats.org/officeDocument/2006/relationships" xmlns:p="http://schemas.openxmlformats.org/presentationml/2006/main" userDrawn="1">
  <p:cSld name="3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558081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40828033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542281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61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7982764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08903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4547069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6630956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82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6280561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2607511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392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679463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07876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0581066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738220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13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9930678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12094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32439985"/>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561120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33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215274952"/>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userDrawn="1">
  <p:cSld name="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4223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738369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6A663D-EC99-4A40-AA7A-FA6C2D991B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ECB103-FE98-2943-B31A-2E66F89430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3B0E2-5FCB-D444-8926-735935563EBE}"/>
              </a:ext>
            </a:extLst>
          </p:cNvPr>
          <p:cNvSpPr>
            <a:spLocks noGrp="1"/>
          </p:cNvSpPr>
          <p:nvPr>
            <p:ph type="dt" sz="half" idx="10"/>
          </p:nvPr>
        </p:nvSpPr>
        <p:spPr>
          <a:xfrm>
            <a:off x="838200" y="6356350"/>
            <a:ext cx="2743200" cy="365125"/>
          </a:xfrm>
          <a:prstGeom prst="rect">
            <a:avLst/>
          </a:prstGeom>
        </p:spPr>
        <p:txBody>
          <a:bodyPr/>
          <a:lstStyle/>
          <a:p>
            <a:fld id="{AEC2BE19-7675-4F45-98F8-E75FCBAE0386}" type="datetime1">
              <a:rPr lang="en-US" smtClean="0"/>
              <a:t>9/17/2021</a:t>
            </a:fld>
            <a:endParaRPr lang="en-US"/>
          </a:p>
        </p:txBody>
      </p:sp>
      <p:sp>
        <p:nvSpPr>
          <p:cNvPr id="5" name="Footer Placeholder 4">
            <a:extLst>
              <a:ext uri="{FF2B5EF4-FFF2-40B4-BE49-F238E27FC236}">
                <a16:creationId xmlns:a16="http://schemas.microsoft.com/office/drawing/2014/main" id="{71D06484-E089-4E49-A34C-2DD65BE950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1C85AEC-7D68-FC48-8935-07938F8A43D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429679185"/>
      </p:ext>
    </p:extLst>
  </p:cSld>
  <p:clrMapOvr>
    <a:masterClrMapping/>
  </p:clrMapOvr>
  <p:hf hdr="0" ftr="0" dt="0"/>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0508619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54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1186062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5565950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64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345988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100751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56752220"/>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userDrawn="1">
  <p:cSld name="1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5401095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84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49075487"/>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1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8149996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495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49398122"/>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userDrawn="1">
  <p:cSld name="1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723077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32162545"/>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userDrawn="1">
  <p:cSld name="1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13904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15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67674751"/>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userDrawn="1">
  <p:cSld name="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20058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25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40517258"/>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1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7827514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36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107347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1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91693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6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643150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2597927078"/>
      </p:ext>
    </p:extLst>
  </p:cSld>
  <p:clrMapOvr>
    <a:masterClrMapping/>
  </p:clrMapOvr>
  <p:hf hdr="0" ftr="0" dt="0"/>
</p:sldLayout>
</file>

<file path=ppt/slideLayouts/slideLayout150.xml><?xml version="1.0" encoding="utf-8"?>
<p:sldLayout xmlns:a="http://schemas.openxmlformats.org/drawingml/2006/main" xmlns:r="http://schemas.openxmlformats.org/officeDocument/2006/relationships" xmlns:p="http://schemas.openxmlformats.org/presentationml/2006/main" userDrawn="1">
  <p:cSld name="1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06593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6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4288335"/>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userDrawn="1">
  <p:cSld name="1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977373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66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89624108"/>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userDrawn="1">
  <p:cSld name="2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613890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76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415139733"/>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userDrawn="1">
  <p:cSld name="2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961622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87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4345492"/>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userDrawn="1">
  <p:cSld name="2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4980545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597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8151035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userDrawn="1">
  <p:cSld name="2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41947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7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71753081"/>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userDrawn="1">
  <p:cSld name="2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118374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17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77219615"/>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userDrawn="1">
  <p:cSld name="2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17469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28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0655317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2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7499980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38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288445640"/>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2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95305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8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2590456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userDrawn="1">
  <p:cSld name="1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0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180708383"/>
      </p:ext>
    </p:extLst>
  </p:cSld>
  <p:clrMapOvr>
    <a:masterClrMapping/>
  </p:clrMapOvr>
  <p:hf hdr="0" ftr="0" dt="0"/>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2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8377767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58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8515232"/>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2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426196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69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98754331"/>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3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5961891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79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26177825"/>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userDrawn="1">
  <p:cSld name="3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81008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89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2674984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userDrawn="1">
  <p:cSld name="3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3390079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699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3732558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3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34512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10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89826823"/>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3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548233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20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8038298"/>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userDrawn="1">
  <p:cSld name="3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70463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30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365217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userDrawn="1">
  <p:cSld name="3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8140212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40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64998126"/>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15901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2821226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I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4736" y="2170800"/>
            <a:ext cx="2484655" cy="2046714"/>
          </a:xfrm>
        </p:spPr>
        <p:txBody>
          <a:bodyPr/>
          <a:lstStyle>
            <a:lvl2pPr>
              <a:defRPr/>
            </a:lvl2pPr>
          </a:lstStyle>
          <a:p>
            <a:r>
              <a:rPr lang="en-US"/>
              <a:t>First level bullet, century gothic, 18pt, blue bullet</a:t>
            </a:r>
          </a:p>
          <a:p>
            <a:pPr lvl="1"/>
            <a:r>
              <a:rPr lang="en-US"/>
              <a:t>Second level bullet, century gothic, 16pt, dark blue bullet</a:t>
            </a:r>
          </a:p>
          <a:p>
            <a:pPr lvl="2"/>
            <a:r>
              <a:rPr lang="en-US"/>
              <a:t>Third level bullet, century gothic, 14pt, grey bullet</a:t>
            </a:r>
          </a:p>
        </p:txBody>
      </p:sp>
      <p:sp>
        <p:nvSpPr>
          <p:cNvPr id="4" name="Title 1"/>
          <p:cNvSpPr>
            <a:spLocks noGrp="1"/>
          </p:cNvSpPr>
          <p:nvPr>
            <p:ph type="title" hasCustomPrompt="1"/>
          </p:nvPr>
        </p:nvSpPr>
        <p:spPr>
          <a:xfrm>
            <a:off x="609600" y="274638"/>
            <a:ext cx="10972800" cy="591950"/>
          </a:xfrm>
        </p:spPr>
        <p:txBody>
          <a:bodyPr anchor="t" anchorCtr="0">
            <a:noAutofit/>
          </a:bodyPr>
          <a:lstStyle>
            <a:lvl1pPr>
              <a:defRPr sz="2400" b="1" baseline="0">
                <a:solidFill>
                  <a:schemeClr val="tx2"/>
                </a:solidFill>
              </a:defRPr>
            </a:lvl1pPr>
          </a:lstStyle>
          <a:p>
            <a:r>
              <a:rPr lang="en-US"/>
              <a:t>1-column layout title 28pt Century Gothic bold </a:t>
            </a:r>
          </a:p>
        </p:txBody>
      </p:sp>
    </p:spTree>
    <p:extLst>
      <p:ext uri="{BB962C8B-B14F-4D97-AF65-F5344CB8AC3E}">
        <p14:creationId xmlns:p14="http://schemas.microsoft.com/office/powerpoint/2010/main" val="36478704"/>
      </p:ext>
    </p:extLst>
  </p:cSld>
  <p:clrMapOvr>
    <a:masterClrMapping/>
  </p:clrMapOvr>
  <mc:AlternateContent xmlns:mc="http://schemas.openxmlformats.org/markup-compatibility/2006">
    <mc:Choice xmlns:p14="http://schemas.microsoft.com/office/powerpoint/2010/main" Requires="p14">
      <p:transition p14:dur="400">
        <p:fade/>
      </p:transition>
    </mc:Choice>
    <mc:Fallback>
      <p:transition>
        <p:fade/>
      </p:transition>
    </mc:Fallback>
  </mc:AlternateContent>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3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654580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61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49152539"/>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userDrawn="1">
  <p:cSld name="3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27655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8097854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userDrawn="1">
  <p:cSld name="4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578941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0866300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userDrawn="1">
  <p:cSld name="4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598040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792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8733572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userDrawn="1">
  <p:cSld name="4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80601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67090450"/>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100910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12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25648502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userDrawn="1">
  <p:cSld name="4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759604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22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92533130"/>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userDrawn="1">
  <p:cSld name="4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36604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32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55033998"/>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userDrawn="1">
  <p:cSld name="4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3085093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43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3351756"/>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userDrawn="1">
  <p:cSld name="4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887581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3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0136965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7"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280813874"/>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userDrawn="1">
  <p:cSld name="4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132509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63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78894082"/>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userDrawn="1">
  <p:cSld name="4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1662908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73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1045527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userDrawn="1">
  <p:cSld name="5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605590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84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42525135"/>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userDrawn="1">
  <p:cSld name="5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1856221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894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82190630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userDrawn="1">
  <p:cSld name="5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798678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904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2679333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userDrawn="1">
  <p:cSld name="5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51373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14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20497927"/>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userDrawn="1">
  <p:cSld name="5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52714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925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3673033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userDrawn="1">
  <p:cSld name="5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866934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35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66165793"/>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userDrawn="1">
  <p:cSld name="5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010707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945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7011150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userDrawn="1">
  <p:cSld name="5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1206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5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0410231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99486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1"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53517345"/>
      </p:ext>
    </p:extLst>
  </p:cSld>
  <p:clrMapOvr>
    <a:masterClrMapping/>
  </p:clrMapOvr>
  <p:hf hdr="0" ftr="0" dt="0"/>
</p:sldLayout>
</file>

<file path=ppt/slideLayouts/slideLayout190.xml><?xml version="1.0" encoding="utf-8"?>
<p:sldLayout xmlns:a="http://schemas.openxmlformats.org/drawingml/2006/main" xmlns:r="http://schemas.openxmlformats.org/officeDocument/2006/relationships" xmlns:p="http://schemas.openxmlformats.org/presentationml/2006/main" userDrawn="1">
  <p:cSld name="5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3779134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966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28019233"/>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userDrawn="1">
  <p:cSld name="5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11017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76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78687777"/>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userDrawn="1">
  <p:cSld name="6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5653022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986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5765949"/>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userDrawn="1">
  <p:cSld name="6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34920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96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02822639"/>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070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7"/>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9"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4"/>
            <a:ext cx="823499" cy="69028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4"/>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17097"/>
            <a:ext cx="9856307" cy="701731"/>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6"/>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1" cy="380883"/>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6" y="6486282"/>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51" y="6467167"/>
            <a:ext cx="5289717"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92071863"/>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133625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17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25810303"/>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4645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27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6973204"/>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377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7"/>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9"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4"/>
            <a:ext cx="823499" cy="69028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4"/>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17097"/>
            <a:ext cx="9856307" cy="701731"/>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6"/>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1" cy="380883"/>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6" y="6486282"/>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51" y="6467167"/>
            <a:ext cx="5289717"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192090796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480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7"/>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9"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4"/>
            <a:ext cx="823499" cy="69028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4"/>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17097"/>
            <a:ext cx="9856307" cy="701731"/>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6"/>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1" cy="380883"/>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6" y="6486282"/>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51" y="6467167"/>
            <a:ext cx="5289717"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1920907966"/>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185308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58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049669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897296282"/>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36823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5"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119667397"/>
      </p:ext>
    </p:extLst>
  </p:cSld>
  <p:clrMapOvr>
    <a:masterClrMapping/>
  </p:clrMapOvr>
  <p:hf hdr="0" ftr="0" dt="0"/>
</p:sldLayout>
</file>

<file path=ppt/slideLayouts/slideLayout200.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068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07952944"/>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type="obj">
  <p:cSld name="1_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9/17/2021</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t>‹#›</a:t>
            </a:fld>
            <a:endParaRPr/>
          </a:p>
        </p:txBody>
      </p:sp>
    </p:spTree>
    <p:extLst>
      <p:ext uri="{BB962C8B-B14F-4D97-AF65-F5344CB8AC3E}">
        <p14:creationId xmlns:p14="http://schemas.microsoft.com/office/powerpoint/2010/main" val="872263636"/>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6"/>
        <p:cNvGrpSpPr/>
        <p:nvPr/>
      </p:nvGrpSpPr>
      <p:grpSpPr>
        <a:xfrm>
          <a:off x="0" y="0"/>
          <a:ext cx="0" cy="0"/>
          <a:chOff x="0" y="0"/>
          <a:chExt cx="0" cy="0"/>
        </a:xfrm>
      </p:grpSpPr>
      <p:sp>
        <p:nvSpPr>
          <p:cNvPr id="17" name="Google Shape;17;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8" name="Google Shape;18;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rmAutofit/>
          </a:bodyPr>
          <a:lstStyle>
            <a:lvl1pPr marL="609585" lvl="0" indent="-457189">
              <a:spcBef>
                <a:spcPts val="0"/>
              </a:spcBef>
              <a:spcAft>
                <a:spcPts val="0"/>
              </a:spcAft>
              <a:buSzPts val="1800"/>
              <a:buChar char="●"/>
              <a:defRPr/>
            </a:lvl1pPr>
            <a:lvl2pPr marL="1219170" lvl="1" indent="-423323">
              <a:spcBef>
                <a:spcPts val="0"/>
              </a:spcBef>
              <a:spcAft>
                <a:spcPts val="0"/>
              </a:spcAft>
              <a:buSzPts val="1400"/>
              <a:buChar char="○"/>
              <a:defRPr/>
            </a:lvl2pPr>
            <a:lvl3pPr marL="1828754" lvl="2" indent="-423323">
              <a:spcBef>
                <a:spcPts val="0"/>
              </a:spcBef>
              <a:spcAft>
                <a:spcPts val="0"/>
              </a:spcAft>
              <a:buSzPts val="1400"/>
              <a:buChar char="■"/>
              <a:defRPr/>
            </a:lvl3pPr>
            <a:lvl4pPr marL="2438339" lvl="3" indent="-423323">
              <a:spcBef>
                <a:spcPts val="0"/>
              </a:spcBef>
              <a:spcAft>
                <a:spcPts val="0"/>
              </a:spcAft>
              <a:buSzPts val="1400"/>
              <a:buChar char="●"/>
              <a:defRPr/>
            </a:lvl4pPr>
            <a:lvl5pPr marL="3047924" lvl="4" indent="-423323">
              <a:spcBef>
                <a:spcPts val="0"/>
              </a:spcBef>
              <a:spcAft>
                <a:spcPts val="0"/>
              </a:spcAft>
              <a:buSzPts val="1400"/>
              <a:buChar char="○"/>
              <a:defRPr/>
            </a:lvl5pPr>
            <a:lvl6pPr marL="3657509" lvl="5" indent="-423323">
              <a:spcBef>
                <a:spcPts val="0"/>
              </a:spcBef>
              <a:spcAft>
                <a:spcPts val="0"/>
              </a:spcAft>
              <a:buSzPts val="1400"/>
              <a:buChar char="■"/>
              <a:defRPr/>
            </a:lvl6pPr>
            <a:lvl7pPr marL="4267093" lvl="6" indent="-423323">
              <a:spcBef>
                <a:spcPts val="0"/>
              </a:spcBef>
              <a:spcAft>
                <a:spcPts val="0"/>
              </a:spcAft>
              <a:buSzPts val="1400"/>
              <a:buChar char="●"/>
              <a:defRPr/>
            </a:lvl7pPr>
            <a:lvl8pPr marL="4876678" lvl="7" indent="-423323">
              <a:spcBef>
                <a:spcPts val="0"/>
              </a:spcBef>
              <a:spcAft>
                <a:spcPts val="0"/>
              </a:spcAft>
              <a:buSzPts val="1400"/>
              <a:buChar char="○"/>
              <a:defRPr/>
            </a:lvl8pPr>
            <a:lvl9pPr marL="5486263" lvl="8" indent="-423323">
              <a:spcBef>
                <a:spcPts val="0"/>
              </a:spcBef>
              <a:spcAft>
                <a:spcPts val="0"/>
              </a:spcAft>
              <a:buSzPts val="1400"/>
              <a:buChar char="■"/>
              <a:defRPr/>
            </a:lvl9pPr>
          </a:lstStyle>
          <a:p>
            <a:endParaRPr/>
          </a:p>
        </p:txBody>
      </p:sp>
      <p:sp>
        <p:nvSpPr>
          <p:cNvPr id="19" name="Google Shape;19;p4"/>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50353362"/>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9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719893717"/>
      </p:ext>
    </p:extLst>
  </p:cSld>
  <p:clrMapOvr>
    <a:masterClrMapping/>
  </p:clrMapOvr>
  <p:hf hdr="0" ftr="0" dt="0"/>
</p:sldLayout>
</file>

<file path=ppt/slideLayouts/slideLayout204.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89711157"/>
      </p:ext>
    </p:extLst>
  </p:cSld>
  <p:clrMapOvr>
    <a:masterClrMapping/>
  </p:clrMapOvr>
  <p:hf hdr="0" ftr="0" dt="0"/>
</p:sldLayout>
</file>

<file path=ppt/slideLayouts/slideLayout205.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484396760"/>
      </p:ext>
    </p:extLst>
  </p:cSld>
  <p:clrMapOvr>
    <a:masterClrMapping/>
  </p:clrMapOvr>
  <p:hf hdr="0" ftr="0" dt="0"/>
</p:sldLayout>
</file>

<file path=ppt/slideLayouts/slideLayout206.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a:xfrm>
            <a:off x="266700" y="128221"/>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5" name="Straight Connector 4">
            <a:extLst>
              <a:ext uri="{FF2B5EF4-FFF2-40B4-BE49-F238E27FC236}">
                <a16:creationId xmlns:a16="http://schemas.microsoft.com/office/drawing/2014/main" id="{EC39AF53-CA04-4074-AAC7-E099C7E37FF2}"/>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82985995"/>
      </p:ext>
    </p:extLst>
  </p:cSld>
  <p:clrMapOvr>
    <a:masterClrMapping/>
  </p:clrMapOvr>
  <p:hf hdr="0" ftr="0" dt="0"/>
</p:sldLayout>
</file>

<file path=ppt/slideLayouts/slideLayout207.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9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03813456"/>
      </p:ext>
    </p:extLst>
  </p:cSld>
  <p:clrMapOvr>
    <a:masterClrMapping/>
  </p:clrMapOvr>
  <p:hf hdr="0" ftr="0" dt="0"/>
</p:sldLayout>
</file>

<file path=ppt/slideLayouts/slideLayout208.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366520235"/>
      </p:ext>
    </p:extLst>
  </p:cSld>
  <p:clrMapOvr>
    <a:masterClrMapping/>
  </p:clrMapOvr>
  <p:hf hdr="0" ftr="0" dt="0"/>
</p:sldLayout>
</file>

<file path=ppt/slideLayouts/slideLayout209.xml><?xml version="1.0" encoding="utf-8"?>
<p:sldLayout xmlns:a="http://schemas.openxmlformats.org/drawingml/2006/main" xmlns:r="http://schemas.openxmlformats.org/officeDocument/2006/relationships" xmlns:p="http://schemas.openxmlformats.org/presentationml/2006/main" type="twoObj" preserve="1">
  <p:cSld name="2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922915241"/>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53014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29"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714132785"/>
      </p:ext>
    </p:extLst>
  </p:cSld>
  <p:clrMapOvr>
    <a:masterClrMapping/>
  </p:clrMapOvr>
  <p:hf hdr="0" ftr="0" dt="0"/>
</p:sldLayout>
</file>

<file path=ppt/slideLayouts/slideLayout210.xml><?xml version="1.0" encoding="utf-8"?>
<p:sldLayout xmlns:a="http://schemas.openxmlformats.org/drawingml/2006/main" xmlns:r="http://schemas.openxmlformats.org/officeDocument/2006/relationships" xmlns:p="http://schemas.openxmlformats.org/presentationml/2006/main" type="twoTxTwoObj" preserve="1">
  <p:cSld name="2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1"/>
            <a:ext cx="2743200" cy="365125"/>
          </a:xfrm>
          <a:prstGeom prst="rect">
            <a:avLst/>
          </a:prstGeom>
        </p:spPr>
        <p:txBody>
          <a:bodyPr/>
          <a:lstStyle/>
          <a:p>
            <a:fld id="{9ACF6334-0FED-E148-B922-A5F4FB226326}" type="datetime1">
              <a:rPr lang="en-US" smtClean="0"/>
              <a:t>9/17/2021</a:t>
            </a:fld>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415296949"/>
      </p:ext>
    </p:extLst>
  </p:cSld>
  <p:clrMapOvr>
    <a:masterClrMapping/>
  </p:clrMapOvr>
  <p:hf hdr="0" ftr="0" dt="0"/>
</p:sldLayout>
</file>

<file path=ppt/slideLayouts/slideLayout211.xml><?xml version="1.0" encoding="utf-8"?>
<p:sldLayout xmlns:a="http://schemas.openxmlformats.org/drawingml/2006/main" xmlns:r="http://schemas.openxmlformats.org/officeDocument/2006/relationships" xmlns:p="http://schemas.openxmlformats.org/presentationml/2006/main" type="twoTxTwoObj" preserve="1">
  <p:cSld name="3_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0"/>
            <a:ext cx="2743200" cy="365125"/>
          </a:xfrm>
          <a:prstGeom prst="rect">
            <a:avLst/>
          </a:prstGeom>
        </p:spPr>
        <p:txBody>
          <a:bodyPr/>
          <a:lstStyle/>
          <a:p>
            <a:fld id="{9ACF6334-0FED-E148-B922-A5F4FB226326}" type="datetime1">
              <a:rPr lang="en-US" smtClean="0"/>
              <a:t>9/17/2021</a:t>
            </a:fld>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263464122"/>
      </p:ext>
    </p:extLst>
  </p:cSld>
  <p:clrMapOvr>
    <a:masterClrMapping/>
  </p:clrMapOvr>
  <p:hf hdr="0" ftr="0" dt="0"/>
</p:sldLayout>
</file>

<file path=ppt/slideLayouts/slideLayout212.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CECDE-FCE7-534F-AC43-E1530EB02C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ED7A24F4-DAB9-8249-8C03-1E73358ADE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990085153"/>
      </p:ext>
    </p:extLst>
  </p:cSld>
  <p:clrMapOvr>
    <a:masterClrMapping/>
  </p:clrMapOvr>
  <p:hf hdr="0" ftr="0" dt="0"/>
</p:sldLayout>
</file>

<file path=ppt/slideLayouts/slideLayout213.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B7CA9D-7EC3-D044-B931-F9D71D71C3A9}"/>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766522653"/>
      </p:ext>
    </p:extLst>
  </p:cSld>
  <p:clrMapOvr>
    <a:masterClrMapping/>
  </p:clrMapOvr>
  <p:hf hdr="0" ftr="0" dt="0"/>
</p:sldLayout>
</file>

<file path=ppt/slideLayouts/slideLayout214.xml><?xml version="1.0" encoding="utf-8"?>
<p:sldLayout xmlns:a="http://schemas.openxmlformats.org/drawingml/2006/main" xmlns:r="http://schemas.openxmlformats.org/officeDocument/2006/relationships" xmlns:p="http://schemas.openxmlformats.org/presentationml/2006/main" type="twoObj" preserve="1">
  <p:cSld name="3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a:xfrm>
            <a:off x="284285" y="4188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6" name="Straight Connector 5">
            <a:extLst>
              <a:ext uri="{FF2B5EF4-FFF2-40B4-BE49-F238E27FC236}">
                <a16:creationId xmlns:a16="http://schemas.microsoft.com/office/drawing/2014/main" id="{96C4EB56-E458-4221-8879-48677BEE7740}"/>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52878905"/>
      </p:ext>
    </p:extLst>
  </p:cSld>
  <p:clrMapOvr>
    <a:masterClrMapping/>
  </p:clrMapOvr>
  <p:hf hdr="0" ftr="0" dt="0"/>
</p:sldLayout>
</file>

<file path=ppt/slideLayouts/slideLayout215.xml><?xml version="1.0" encoding="utf-8"?>
<p:sldLayout xmlns:a="http://schemas.openxmlformats.org/drawingml/2006/main" xmlns:r="http://schemas.openxmlformats.org/officeDocument/2006/relationships" xmlns:p="http://schemas.openxmlformats.org/presentationml/2006/main" type="objTx" preserve="1">
  <p:cSld name="2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500"/>
            </a:lvl2pPr>
            <a:lvl3pPr marL="914377" indent="0">
              <a:buNone/>
              <a:defRPr sz="1200"/>
            </a:lvl3pPr>
            <a:lvl4pPr marL="1371566" indent="0">
              <a:buNone/>
              <a:defRPr sz="1100"/>
            </a:lvl4pPr>
            <a:lvl5pPr marL="1828754" indent="0">
              <a:buNone/>
              <a:defRPr sz="1100"/>
            </a:lvl5pPr>
            <a:lvl6pPr marL="2285943" indent="0">
              <a:buNone/>
              <a:defRPr sz="1100"/>
            </a:lvl6pPr>
            <a:lvl7pPr marL="2743131" indent="0">
              <a:buNone/>
              <a:defRPr sz="1100"/>
            </a:lvl7pPr>
            <a:lvl8pPr marL="3200320" indent="0">
              <a:buNone/>
              <a:defRPr sz="1100"/>
            </a:lvl8pPr>
            <a:lvl9pPr marL="3657509"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1"/>
            <a:ext cx="2743200" cy="365125"/>
          </a:xfrm>
          <a:prstGeom prst="rect">
            <a:avLst/>
          </a:prstGeom>
        </p:spPr>
        <p:txBody>
          <a:bodyPr/>
          <a:lstStyle/>
          <a:p>
            <a:fld id="{3BBCC8C8-1ECD-EF4A-9F16-75DEC265C8FE}" type="datetime1">
              <a:rPr lang="en-US" smtClean="0"/>
              <a:t>9/17/2021</a:t>
            </a:fld>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877357372"/>
      </p:ext>
    </p:extLst>
  </p:cSld>
  <p:clrMapOvr>
    <a:masterClrMapping/>
  </p:clrMapOvr>
  <p:hf hdr="0" ftr="0" dt="0"/>
</p:sldLayout>
</file>

<file path=ppt/slideLayouts/slideLayout216.xml><?xml version="1.0" encoding="utf-8"?>
<p:sldLayout xmlns:a="http://schemas.openxmlformats.org/drawingml/2006/main" xmlns:r="http://schemas.openxmlformats.org/officeDocument/2006/relationships" xmlns:p="http://schemas.openxmlformats.org/presentationml/2006/main" type="objTx" preserve="1">
  <p:cSld name="3_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0"/>
            <a:ext cx="2743200" cy="365125"/>
          </a:xfrm>
          <a:prstGeom prst="rect">
            <a:avLst/>
          </a:prstGeom>
        </p:spPr>
        <p:txBody>
          <a:bodyPr/>
          <a:lstStyle/>
          <a:p>
            <a:fld id="{3BBCC8C8-1ECD-EF4A-9F16-75DEC265C8FE}" type="datetime1">
              <a:rPr lang="en-US" smtClean="0"/>
              <a:t>9/17/2021</a:t>
            </a:fld>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05120799"/>
      </p:ext>
    </p:extLst>
  </p:cSld>
  <p:clrMapOvr>
    <a:masterClrMapping/>
  </p:clrMapOvr>
  <p:hf hdr="0" ftr="0" dt="0"/>
</p:sldLayout>
</file>

<file path=ppt/slideLayouts/slideLayout217.xml><?xml version="1.0" encoding="utf-8"?>
<p:sldLayout xmlns:a="http://schemas.openxmlformats.org/drawingml/2006/main" xmlns:r="http://schemas.openxmlformats.org/officeDocument/2006/relationships" xmlns:p="http://schemas.openxmlformats.org/presentationml/2006/main" type="titleOnly">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37BBBD-263B-4609-8659-AA7931BA851E}" type="datetime1">
              <a:rPr lang="en-US" smtClean="0"/>
              <a:t>9/17/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DDFCB01-FDF3-4364-91DB-3C8C9E14990C}" type="slidenum">
              <a:rPr lang="en-US" smtClean="0"/>
              <a:t>‹#›</a:t>
            </a:fld>
            <a:endParaRPr lang="en-US"/>
          </a:p>
        </p:txBody>
      </p:sp>
    </p:spTree>
    <p:extLst>
      <p:ext uri="{BB962C8B-B14F-4D97-AF65-F5344CB8AC3E}">
        <p14:creationId xmlns:p14="http://schemas.microsoft.com/office/powerpoint/2010/main" val="4205131316"/>
      </p:ext>
    </p:extLst>
  </p:cSld>
  <p:clrMapOvr>
    <a:masterClrMapping/>
  </p:clrMapOvr>
  <p:hf hdr="0" ftr="0" dt="0"/>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2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500"/>
            </a:lvl2pPr>
            <a:lvl3pPr marL="914377" indent="0">
              <a:buNone/>
              <a:defRPr sz="1200"/>
            </a:lvl3pPr>
            <a:lvl4pPr marL="1371566" indent="0">
              <a:buNone/>
              <a:defRPr sz="1100"/>
            </a:lvl4pPr>
            <a:lvl5pPr marL="1828754" indent="0">
              <a:buNone/>
              <a:defRPr sz="1100"/>
            </a:lvl5pPr>
            <a:lvl6pPr marL="2285943" indent="0">
              <a:buNone/>
              <a:defRPr sz="1100"/>
            </a:lvl6pPr>
            <a:lvl7pPr marL="2743131" indent="0">
              <a:buNone/>
              <a:defRPr sz="1100"/>
            </a:lvl7pPr>
            <a:lvl8pPr marL="3200320" indent="0">
              <a:buNone/>
              <a:defRPr sz="1100"/>
            </a:lvl8pPr>
            <a:lvl9pPr marL="3657509"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1"/>
            <a:ext cx="2743200" cy="365125"/>
          </a:xfrm>
          <a:prstGeom prst="rect">
            <a:avLst/>
          </a:prstGeom>
        </p:spPr>
        <p:txBody>
          <a:bodyPr/>
          <a:lstStyle/>
          <a:p>
            <a:fld id="{DF53905B-B1AC-2E43-B14E-3D95FF59C01A}" type="datetime1">
              <a:rPr lang="en-US" smtClean="0"/>
              <a:t>9/17/2021</a:t>
            </a:fld>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704866082"/>
      </p:ext>
    </p:extLst>
  </p:cSld>
  <p:clrMapOvr>
    <a:masterClrMapping/>
  </p:clrMapOvr>
  <p:hf hdr="0" ftr="0" dt="0"/>
</p:sldLayout>
</file>

<file path=ppt/slideLayouts/slideLayout219.xml><?xml version="1.0" encoding="utf-8"?>
<p:sldLayout xmlns:a="http://schemas.openxmlformats.org/drawingml/2006/main" xmlns:r="http://schemas.openxmlformats.org/officeDocument/2006/relationships" xmlns:p="http://schemas.openxmlformats.org/presentationml/2006/main" type="picTx" preserve="1">
  <p:cSld name="3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0"/>
            <a:ext cx="2743200" cy="365125"/>
          </a:xfrm>
          <a:prstGeom prst="rect">
            <a:avLst/>
          </a:prstGeom>
        </p:spPr>
        <p:txBody>
          <a:bodyPr/>
          <a:lstStyle/>
          <a:p>
            <a:fld id="{DF53905B-B1AC-2E43-B14E-3D95FF59C01A}" type="datetime1">
              <a:rPr lang="en-US" smtClean="0"/>
              <a:t>9/17/2021</a:t>
            </a:fld>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248870990"/>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76589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3"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600642208"/>
      </p:ext>
    </p:extLst>
  </p:cSld>
  <p:clrMapOvr>
    <a:masterClrMapping/>
  </p:clrMapOvr>
  <p:hf hdr="0" ftr="0" dt="0"/>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x" preserve="1">
  <p:cSld name="1_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4421-928D-DD4B-AC23-3FC6623062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D1927F-C337-DD41-8734-333E7594730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645DC0-0E3C-614A-875A-ED8E584ABB16}"/>
              </a:ext>
            </a:extLst>
          </p:cNvPr>
          <p:cNvSpPr>
            <a:spLocks noGrp="1"/>
          </p:cNvSpPr>
          <p:nvPr>
            <p:ph type="dt" sz="half" idx="10"/>
          </p:nvPr>
        </p:nvSpPr>
        <p:spPr>
          <a:xfrm>
            <a:off x="838200" y="6356350"/>
            <a:ext cx="2743200" cy="365125"/>
          </a:xfrm>
          <a:prstGeom prst="rect">
            <a:avLst/>
          </a:prstGeom>
        </p:spPr>
        <p:txBody>
          <a:bodyPr/>
          <a:lstStyle/>
          <a:p>
            <a:fld id="{26F7F99C-93F6-0647-A3CD-6ABFD02CB3F9}" type="datetime1">
              <a:rPr lang="en-US" smtClean="0"/>
              <a:t>9/17/2021</a:t>
            </a:fld>
            <a:endParaRPr lang="en-US"/>
          </a:p>
        </p:txBody>
      </p:sp>
      <p:sp>
        <p:nvSpPr>
          <p:cNvPr id="5" name="Footer Placeholder 4">
            <a:extLst>
              <a:ext uri="{FF2B5EF4-FFF2-40B4-BE49-F238E27FC236}">
                <a16:creationId xmlns:a16="http://schemas.microsoft.com/office/drawing/2014/main" id="{D755D6BC-CE41-BF4B-BC25-2D56E4676B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427A2E-C1AD-2C47-A08F-A20C90EF33A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807418733"/>
      </p:ext>
    </p:extLst>
  </p:cSld>
  <p:clrMapOvr>
    <a:masterClrMapping/>
  </p:clrMapOvr>
  <p:hf hdr="0" ftr="0" dt="0"/>
</p:sldLayout>
</file>

<file path=ppt/slideLayouts/slideLayout221.xml><?xml version="1.0" encoding="utf-8"?>
<p:sldLayout xmlns:a="http://schemas.openxmlformats.org/drawingml/2006/main" xmlns:r="http://schemas.openxmlformats.org/officeDocument/2006/relationships" xmlns:p="http://schemas.openxmlformats.org/presentationml/2006/main" type="vertTitleAndTx" preserve="1">
  <p:cSld name="1_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6A663D-EC99-4A40-AA7A-FA6C2D991B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ECB103-FE98-2943-B31A-2E66F89430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3B0E2-5FCB-D444-8926-735935563EBE}"/>
              </a:ext>
            </a:extLst>
          </p:cNvPr>
          <p:cNvSpPr>
            <a:spLocks noGrp="1"/>
          </p:cNvSpPr>
          <p:nvPr>
            <p:ph type="dt" sz="half" idx="10"/>
          </p:nvPr>
        </p:nvSpPr>
        <p:spPr>
          <a:xfrm>
            <a:off x="838200" y="6356350"/>
            <a:ext cx="2743200" cy="365125"/>
          </a:xfrm>
          <a:prstGeom prst="rect">
            <a:avLst/>
          </a:prstGeom>
        </p:spPr>
        <p:txBody>
          <a:bodyPr/>
          <a:lstStyle/>
          <a:p>
            <a:fld id="{AEC2BE19-7675-4F45-98F8-E75FCBAE0386}" type="datetime1">
              <a:rPr lang="en-US" smtClean="0"/>
              <a:t>9/17/2021</a:t>
            </a:fld>
            <a:endParaRPr lang="en-US"/>
          </a:p>
        </p:txBody>
      </p:sp>
      <p:sp>
        <p:nvSpPr>
          <p:cNvPr id="5" name="Footer Placeholder 4">
            <a:extLst>
              <a:ext uri="{FF2B5EF4-FFF2-40B4-BE49-F238E27FC236}">
                <a16:creationId xmlns:a16="http://schemas.microsoft.com/office/drawing/2014/main" id="{71D06484-E089-4E49-A34C-2DD65BE950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1C85AEC-7D68-FC48-8935-07938F8A43D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720707594"/>
      </p:ext>
    </p:extLst>
  </p:cSld>
  <p:clrMapOvr>
    <a:masterClrMapping/>
  </p:clrMapOvr>
  <p:hf hdr="0" ftr="0" dt="0"/>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575372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293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42364153"/>
      </p:ext>
    </p:extLst>
  </p:cSld>
  <p:clrMapOvr>
    <a:masterClrMapping/>
  </p:clrMapOvr>
  <p:hf hdr="0" ftr="0" dt="0"/>
</p:sldLayout>
</file>

<file path=ppt/slideLayouts/slideLayout223.xml><?xml version="1.0" encoding="utf-8"?>
<p:sldLayout xmlns:a="http://schemas.openxmlformats.org/drawingml/2006/main" xmlns:r="http://schemas.openxmlformats.org/officeDocument/2006/relationships" xmlns:p="http://schemas.openxmlformats.org/presentationml/2006/main" userDrawn="1">
  <p:cSld name="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4108369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04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769074551"/>
      </p:ext>
    </p:extLst>
  </p:cSld>
  <p:clrMapOvr>
    <a:masterClrMapping/>
  </p:clrMapOvr>
  <p:hf hdr="0" ftr="0" dt="0"/>
</p:sldLayout>
</file>

<file path=ppt/slideLayouts/slideLayout224.xml><?xml version="1.0" encoding="utf-8"?>
<p:sldLayout xmlns:a="http://schemas.openxmlformats.org/drawingml/2006/main" xmlns:r="http://schemas.openxmlformats.org/officeDocument/2006/relationships" xmlns:p="http://schemas.openxmlformats.org/presentationml/2006/main" userDrawn="1">
  <p:cSld name="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801168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14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24572207"/>
      </p:ext>
    </p:extLst>
  </p:cSld>
  <p:clrMapOvr>
    <a:masterClrMapping/>
  </p:clrMapOvr>
  <p:hf hdr="0" ftr="0" dt="0"/>
</p:sldLayout>
</file>

<file path=ppt/slideLayouts/slideLayout225.xml><?xml version="1.0" encoding="utf-8"?>
<p:sldLayout xmlns:a="http://schemas.openxmlformats.org/drawingml/2006/main" xmlns:r="http://schemas.openxmlformats.org/officeDocument/2006/relationships" xmlns:p="http://schemas.openxmlformats.org/presentationml/2006/main" userDrawn="1">
  <p:cSld name="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82133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24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69656605"/>
      </p:ext>
    </p:extLst>
  </p:cSld>
  <p:clrMapOvr>
    <a:masterClrMapping/>
  </p:clrMapOvr>
  <p:hf hdr="0" ftr="0" dt="0"/>
</p:sldLayout>
</file>

<file path=ppt/slideLayouts/slideLayout226.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23059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34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63224509"/>
      </p:ext>
    </p:extLst>
  </p:cSld>
  <p:clrMapOvr>
    <a:masterClrMapping/>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515172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44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224398864"/>
      </p:ext>
    </p:extLst>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5521"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7"/>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9"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4"/>
            <a:ext cx="823499" cy="69028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4"/>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17097"/>
            <a:ext cx="9856307" cy="701731"/>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6"/>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1" cy="380883"/>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6" y="6486282"/>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51" y="6467167"/>
            <a:ext cx="5289717"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hf hdr="0" ftr="0" dt="0"/>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654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7"/>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9"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4"/>
            <a:ext cx="823499" cy="69028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4"/>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17097"/>
            <a:ext cx="9856307" cy="701731"/>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6"/>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1" cy="380883"/>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6" y="6486282"/>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51" y="6467167"/>
            <a:ext cx="5289717"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hf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444654937"/>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756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7"/>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9"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9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4"/>
            <a:ext cx="823499" cy="690287"/>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4"/>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17097"/>
            <a:ext cx="9856307" cy="701731"/>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6"/>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1" cy="380883"/>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6" y="6486282"/>
            <a:ext cx="325501" cy="138499"/>
          </a:xfrm>
          <a:prstGeom prst="rect">
            <a:avLst/>
          </a:prstGeom>
          <a:noFill/>
          <a:ln w="9525" algn="ctr">
            <a:noFill/>
            <a:miter lim="800000"/>
            <a:headEnd/>
            <a:tailEnd/>
          </a:ln>
          <a:effectLst/>
        </p:spPr>
        <p:txBody>
          <a:bodyPr wrap="square" lIns="0" tIns="0" rIns="0" bIns="0" anchor="b">
            <a:spAutoFit/>
          </a:bodyPr>
          <a:lstStyle/>
          <a:p>
            <a:pPr algn="r" defTabSz="610729"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29"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51" y="6467167"/>
            <a:ext cx="5289717"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hf hdr="0" ftr="0" dt="0"/>
</p:sldLayout>
</file>

<file path=ppt/slideLayouts/slideLayout23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185308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85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04966903"/>
      </p:ext>
    </p:extLst>
  </p:cSld>
  <p:clrMapOvr>
    <a:masterClrMapping/>
  </p:clrMapOvr>
  <p:hf hdr="0" ftr="0" dt="0"/>
</p:sldLayout>
</file>

<file path=ppt/slideLayouts/slideLayout23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0637553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396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99928343"/>
      </p:ext>
    </p:extLst>
  </p:cSld>
  <p:clrMapOvr>
    <a:masterClrMapping/>
  </p:clrMapOvr>
  <p:hf hdr="0" ftr="0" dt="0"/>
</p:sldLayout>
</file>

<file path=ppt/slideLayouts/slideLayout23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0637553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406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99928343"/>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166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hf hdr="0" ftr="0" dt="0"/>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268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hf hdr="0" ftr="0" dt="0"/>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371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hf hdr="0" ftr="0" dt="0"/>
</p:sldLayout>
</file>

<file path=ppt/slideLayouts/slideLayout237.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1853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47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04966903"/>
      </p:ext>
    </p:extLst>
  </p:cSld>
  <p:clrMapOvr>
    <a:masterClrMapping/>
  </p:clrMapOvr>
  <p:hf hdr="0" ftr="0" dt="0"/>
</p:sldLayout>
</file>

<file path=ppt/slideLayouts/slideLayout23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0637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7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99928343"/>
      </p:ext>
    </p:extLst>
  </p:cSld>
  <p:clrMapOvr>
    <a:masterClrMapping/>
  </p:clrMapOvr>
  <p:hf hdr="0" ftr="0" dt="0"/>
</p:sldLayout>
</file>

<file path=ppt/slideLayouts/slideLayout239.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8013303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467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6252486"/>
      </p:ext>
    </p:extLst>
  </p:cSld>
  <p:clrMapOvr>
    <a:masterClrMapping/>
  </p:clrMapOvr>
  <p:hf hdr="0" ftr="0" dt="0"/>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822505862"/>
      </p:ext>
    </p:extLst>
  </p:cSld>
  <p:clrMapOvr>
    <a:masterClrMapping/>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288421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478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64993744"/>
      </p:ext>
    </p:extLst>
  </p:cSld>
  <p:clrMapOvr>
    <a:masterClrMapping/>
  </p:clrMapOvr>
  <p:hf hdr="0" ftr="0" dt="0"/>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065306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488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1284163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012186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98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78398572"/>
      </p:ext>
    </p:extLst>
  </p:cSld>
  <p:clrMapOvr>
    <a:masterClrMapping/>
  </p:clrMapOvr>
  <p:hf hdr="0" ftr="0" dt="0"/>
</p:sldLayout>
</file>

<file path=ppt/slideLayouts/slideLayout243.xml><?xml version="1.0" encoding="utf-8"?>
<p:sldLayout xmlns:a="http://schemas.openxmlformats.org/drawingml/2006/main" xmlns:r="http://schemas.openxmlformats.org/officeDocument/2006/relationships" xmlns:p="http://schemas.openxmlformats.org/presentationml/2006/main" userDrawn="1">
  <p:cSld name="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384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08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41114329"/>
      </p:ext>
    </p:extLst>
  </p:cSld>
  <p:clrMapOvr>
    <a:masterClrMapping/>
  </p:clrMapOvr>
  <p:hf hdr="0" ftr="0" dt="0"/>
</p:sldLayout>
</file>

<file path=ppt/slideLayouts/slideLayout244.xml><?xml version="1.0" encoding="utf-8"?>
<p:sldLayout xmlns:a="http://schemas.openxmlformats.org/drawingml/2006/main" xmlns:r="http://schemas.openxmlformats.org/officeDocument/2006/relationships" xmlns:p="http://schemas.openxmlformats.org/presentationml/2006/main" userDrawn="1">
  <p:cSld name="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99126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19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27435583"/>
      </p:ext>
    </p:extLst>
  </p:cSld>
  <p:clrMapOvr>
    <a:masterClrMapping/>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3232856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529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55512488"/>
      </p:ext>
    </p:extLst>
  </p:cSld>
  <p:clrMapOvr>
    <a:masterClrMapping/>
  </p:clrMapOvr>
  <p:hf hdr="0" ftr="0" dt="0"/>
</p:sldLayout>
</file>

<file path=ppt/slideLayouts/slideLayout246.xml><?xml version="1.0" encoding="utf-8"?>
<p:sldLayout xmlns:a="http://schemas.openxmlformats.org/drawingml/2006/main" xmlns:r="http://schemas.openxmlformats.org/officeDocument/2006/relationships" xmlns:p="http://schemas.openxmlformats.org/presentationml/2006/main" userDrawn="1">
  <p:cSld name="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5772017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539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93926456"/>
      </p:ext>
    </p:extLst>
  </p:cSld>
  <p:clrMapOvr>
    <a:masterClrMapping/>
  </p:clrMapOvr>
</p:sldLayout>
</file>

<file path=ppt/slideLayouts/slideLayout247.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0322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49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776936"/>
      </p:ext>
    </p:extLst>
  </p:cSld>
  <p:clrMapOvr>
    <a:masterClrMapping/>
  </p:clrMapOvr>
  <p:hf hdr="0" ftr="0" dt="0"/>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709585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0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08909169"/>
      </p:ext>
    </p:extLst>
  </p:cSld>
  <p:clrMapOvr>
    <a:masterClrMapping/>
  </p:clrMapOvr>
  <p:hf hdr="0" ftr="0" dt="0"/>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790359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029541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a:xfrm>
            <a:off x="266700" y="128221"/>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5" name="Straight Connector 4">
            <a:extLst>
              <a:ext uri="{FF2B5EF4-FFF2-40B4-BE49-F238E27FC236}">
                <a16:creationId xmlns:a16="http://schemas.microsoft.com/office/drawing/2014/main" id="{EC39AF53-CA04-4074-AAC7-E099C7E37FF2}"/>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505862"/>
      </p:ext>
    </p:extLst>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681385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580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75922549"/>
      </p:ext>
    </p:extLst>
  </p:cSld>
  <p:clrMapOvr>
    <a:masterClrMapping/>
  </p:clrMapOvr>
  <p:hf hdr="0" ftr="0" dt="0"/>
</p:sldLayout>
</file>

<file path=ppt/slideLayouts/slideLayout251.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06375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90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99928343"/>
      </p:ext>
    </p:extLst>
  </p:cSld>
  <p:clrMapOvr>
    <a:masterClrMapping/>
  </p:clrMapOvr>
</p:sldLayout>
</file>

<file path=ppt/slideLayouts/slideLayout2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B02444EE-2865-D245-8780-49CA19E0DD1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D0A1A564-88AD-8D47-A38E-7013F1BCD363}"/>
              </a:ext>
            </a:extLst>
          </p:cNvPr>
          <p:cNvSpPr>
            <a:spLocks noGrp="1"/>
          </p:cNvSpPr>
          <p:nvPr>
            <p:ph type="sldNum" sz="quarter" idx="12"/>
          </p:nvPr>
        </p:nvSpPr>
        <p:spPr/>
        <p:txBody>
          <a:bodyPr/>
          <a:lstStyle/>
          <a:p>
            <a:fld id="{997844F4-F4C1-A44E-9D4B-1169C25F59B3}" type="slidenum">
              <a:rPr lang="en-US" smtClean="0"/>
              <a:pPr/>
              <a:t>‹#›</a:t>
            </a:fld>
            <a:endParaRPr lang="en-US"/>
          </a:p>
        </p:txBody>
      </p:sp>
    </p:spTree>
    <p:extLst>
      <p:ext uri="{BB962C8B-B14F-4D97-AF65-F5344CB8AC3E}">
        <p14:creationId xmlns:p14="http://schemas.microsoft.com/office/powerpoint/2010/main" val="815072636"/>
      </p:ext>
    </p:extLst>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userDrawn="1">
  <p:cSld name="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611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36836503"/>
      </p:ext>
    </p:extLst>
  </p:cSld>
  <p:clrMapOvr>
    <a:masterClrMapping/>
  </p:clrMapOvr>
  <p:hf hdr="0" ftr="0" dt="0"/>
</p:sldLayout>
</file>

<file path=ppt/slideLayouts/slideLayout254.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1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52972982"/>
      </p:ext>
    </p:extLst>
  </p:cSld>
  <p:clrMapOvr>
    <a:masterClrMapping/>
  </p:clrMapOvr>
  <p:hf hdr="0" ftr="0" dt="0"/>
</p:sldLayout>
</file>

<file path=ppt/slideLayouts/slideLayout255.xml><?xml version="1.0" encoding="utf-8"?>
<p:sldLayout xmlns:a="http://schemas.openxmlformats.org/drawingml/2006/main" xmlns:r="http://schemas.openxmlformats.org/officeDocument/2006/relationships" xmlns:p="http://schemas.openxmlformats.org/presentationml/2006/main" userDrawn="1">
  <p:cSld name="1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5710901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631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88436518"/>
      </p:ext>
    </p:extLst>
  </p:cSld>
  <p:clrMapOvr>
    <a:masterClrMapping/>
  </p:clrMapOvr>
  <p:hf hdr="0" ftr="0" dt="0"/>
</p:sldLayout>
</file>

<file path=ppt/slideLayouts/slideLayout256.xml><?xml version="1.0" encoding="utf-8"?>
<p:sldLayout xmlns:a="http://schemas.openxmlformats.org/drawingml/2006/main" xmlns:r="http://schemas.openxmlformats.org/officeDocument/2006/relationships" xmlns:p="http://schemas.openxmlformats.org/presentationml/2006/main" userDrawn="1">
  <p:cSld name="1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942769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641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30411844"/>
      </p:ext>
    </p:extLst>
  </p:cSld>
  <p:clrMapOvr>
    <a:masterClrMapping/>
  </p:clrMapOvr>
  <p:hf hdr="0" ftr="0" dt="0"/>
</p:sldLayout>
</file>

<file path=ppt/slideLayouts/slideLayout257.xml><?xml version="1.0" encoding="utf-8"?>
<p:sldLayout xmlns:a="http://schemas.openxmlformats.org/drawingml/2006/main" xmlns:r="http://schemas.openxmlformats.org/officeDocument/2006/relationships" xmlns:p="http://schemas.openxmlformats.org/presentationml/2006/main" userDrawn="1">
  <p:cSld name="1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360237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52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65609398"/>
      </p:ext>
    </p:extLst>
  </p:cSld>
  <p:clrMapOvr>
    <a:masterClrMapping/>
  </p:clrMapOvr>
  <p:hf hdr="0" ftr="0" dt="0"/>
</p:sldLayout>
</file>

<file path=ppt/slideLayouts/slideLayout258.xml><?xml version="1.0" encoding="utf-8"?>
<p:sldLayout xmlns:a="http://schemas.openxmlformats.org/drawingml/2006/main" xmlns:r="http://schemas.openxmlformats.org/officeDocument/2006/relationships" xmlns:p="http://schemas.openxmlformats.org/presentationml/2006/main" userDrawn="1">
  <p:cSld name="1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132330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62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83448979"/>
      </p:ext>
    </p:extLst>
  </p:cSld>
  <p:clrMapOvr>
    <a:masterClrMapping/>
  </p:clrMapOvr>
  <p:hf hdr="0" ftr="0" dt="0"/>
</p:sldLayout>
</file>

<file path=ppt/slideLayouts/slideLayout259.xml><?xml version="1.0" encoding="utf-8"?>
<p:sldLayout xmlns:a="http://schemas.openxmlformats.org/drawingml/2006/main" xmlns:r="http://schemas.openxmlformats.org/officeDocument/2006/relationships" xmlns:p="http://schemas.openxmlformats.org/presentationml/2006/main" userDrawn="1">
  <p:cSld name="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25482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2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169889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0195524"/>
      </p:ext>
    </p:extLst>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userDrawn="1">
  <p:cSld name="1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462266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682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97098270"/>
      </p:ext>
    </p:extLst>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userDrawn="1">
  <p:cSld name="1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4611051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693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83744153"/>
      </p:ext>
    </p:extLst>
  </p:cSld>
  <p:clrMapOvr>
    <a:masterClrMapping/>
  </p:clrMapOvr>
  <p:hf hdr="0" ftr="0" dt="0"/>
</p:sldLayout>
</file>

<file path=ppt/slideLayouts/slideLayout262.xml><?xml version="1.0" encoding="utf-8"?>
<p:sldLayout xmlns:a="http://schemas.openxmlformats.org/drawingml/2006/main" xmlns:r="http://schemas.openxmlformats.org/officeDocument/2006/relationships" xmlns:p="http://schemas.openxmlformats.org/presentationml/2006/main" userDrawn="1">
  <p:cSld name="1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2423069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03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72973639"/>
      </p:ext>
    </p:extLst>
  </p:cSld>
  <p:clrMapOvr>
    <a:masterClrMapping/>
  </p:clrMapOvr>
  <p:hf hdr="0" ftr="0" dt="0"/>
</p:sldLayout>
</file>

<file path=ppt/slideLayouts/slideLayout263.xml><?xml version="1.0" encoding="utf-8"?>
<p:sldLayout xmlns:a="http://schemas.openxmlformats.org/drawingml/2006/main" xmlns:r="http://schemas.openxmlformats.org/officeDocument/2006/relationships" xmlns:p="http://schemas.openxmlformats.org/presentationml/2006/main" userDrawn="1">
  <p:cSld name="1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863754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13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0260837"/>
      </p:ext>
    </p:extLst>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userDrawn="1">
  <p:cSld name="1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15374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23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08565808"/>
      </p:ext>
    </p:extLst>
  </p:cSld>
  <p:clrMapOvr>
    <a:masterClrMapping/>
  </p:clrMapOvr>
  <p:hf hdr="0" ftr="0" dt="0"/>
</p:sldLayout>
</file>

<file path=ppt/slideLayouts/slideLayout265.xml><?xml version="1.0" encoding="utf-8"?>
<p:sldLayout xmlns:a="http://schemas.openxmlformats.org/drawingml/2006/main" xmlns:r="http://schemas.openxmlformats.org/officeDocument/2006/relationships" xmlns:p="http://schemas.openxmlformats.org/presentationml/2006/main" userDrawn="1">
  <p:cSld name="2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89175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34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96720626"/>
      </p:ext>
    </p:extLst>
  </p:cSld>
  <p:clrMapOvr>
    <a:masterClrMapping/>
  </p:clrMapOvr>
</p:sldLayout>
</file>

<file path=ppt/slideLayouts/slideLayout266.xml><?xml version="1.0" encoding="utf-8"?>
<p:sldLayout xmlns:a="http://schemas.openxmlformats.org/drawingml/2006/main" xmlns:r="http://schemas.openxmlformats.org/officeDocument/2006/relationships" xmlns:p="http://schemas.openxmlformats.org/presentationml/2006/main" userDrawn="1">
  <p:cSld name="1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1537432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44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9887980"/>
      </p:ext>
    </p:extLst>
  </p:cSld>
  <p:clrMapOvr>
    <a:masterClrMapping/>
  </p:clrMapOvr>
  <p:hf hdr="0" ftr="0" dt="0"/>
</p:sldLayout>
</file>

<file path=ppt/slideLayouts/slideLayout267.xml><?xml version="1.0" encoding="utf-8"?>
<p:sldLayout xmlns:a="http://schemas.openxmlformats.org/drawingml/2006/main" xmlns:r="http://schemas.openxmlformats.org/officeDocument/2006/relationships" xmlns:p="http://schemas.openxmlformats.org/presentationml/2006/main" userDrawn="1">
  <p:cSld name="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29330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54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34186193"/>
      </p:ext>
    </p:extLst>
  </p:cSld>
  <p:clrMapOvr>
    <a:masterClrMapping/>
  </p:clrMapOvr>
  <p:hf hdr="0" ftr="0" dt="0"/>
</p:sldLayout>
</file>

<file path=ppt/slideLayouts/slideLayout268.xml><?xml version="1.0" encoding="utf-8"?>
<p:sldLayout xmlns:a="http://schemas.openxmlformats.org/drawingml/2006/main" xmlns:r="http://schemas.openxmlformats.org/officeDocument/2006/relationships" xmlns:p="http://schemas.openxmlformats.org/presentationml/2006/main" userDrawn="1">
  <p:cSld name="1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818968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4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6305254"/>
      </p:ext>
    </p:extLst>
  </p:cSld>
  <p:clrMapOvr>
    <a:masterClrMapping/>
  </p:clrMapOvr>
  <p:hf hdr="0" ftr="0" dt="0"/>
</p:sldLayout>
</file>

<file path=ppt/slideLayouts/slideLayout269.xml><?xml version="1.0" encoding="utf-8"?>
<p:sldLayout xmlns:a="http://schemas.openxmlformats.org/drawingml/2006/main" xmlns:r="http://schemas.openxmlformats.org/officeDocument/2006/relationships" xmlns:p="http://schemas.openxmlformats.org/presentationml/2006/main" userDrawn="1">
  <p:cSld name="1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6054653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75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77867180"/>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93963241"/>
      </p:ext>
    </p:extLst>
  </p:cSld>
  <p:clrMapOvr>
    <a:masterClrMapping/>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userDrawn="1">
  <p:cSld name="1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028048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5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85187864"/>
      </p:ext>
    </p:extLst>
  </p:cSld>
  <p:clrMapOvr>
    <a:masterClrMapping/>
  </p:clrMapOvr>
</p:sldLayout>
</file>

<file path=ppt/slideLayouts/slideLayout271.xml><?xml version="1.0" encoding="utf-8"?>
<p:sldLayout xmlns:a="http://schemas.openxmlformats.org/drawingml/2006/main" xmlns:r="http://schemas.openxmlformats.org/officeDocument/2006/relationships" xmlns:p="http://schemas.openxmlformats.org/presentationml/2006/main" userDrawn="1">
  <p:cSld name="1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4762679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795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3951241"/>
      </p:ext>
    </p:extLst>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userDrawn="1">
  <p:cSld name="1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675633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05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05205449"/>
      </p:ext>
    </p:extLst>
  </p:cSld>
  <p:clrMapOvr>
    <a:masterClrMapping/>
  </p:clrMapOvr>
  <p:hf hdr="0" ftr="0" dt="0"/>
</p:sldLayout>
</file>

<file path=ppt/slideLayouts/slideLayout273.xml><?xml version="1.0" encoding="utf-8"?>
<p:sldLayout xmlns:a="http://schemas.openxmlformats.org/drawingml/2006/main" xmlns:r="http://schemas.openxmlformats.org/officeDocument/2006/relationships" xmlns:p="http://schemas.openxmlformats.org/presentationml/2006/main" userDrawn="1">
  <p:cSld name="1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595595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16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218532"/>
      </p:ext>
    </p:extLst>
  </p:cSld>
  <p:clrMapOvr>
    <a:masterClrMapping/>
  </p:clrMapOvr>
  <p:hf hdr="0" ftr="0" dt="0"/>
</p:sldLayout>
</file>

<file path=ppt/slideLayouts/slideLayout274.xml><?xml version="1.0" encoding="utf-8"?>
<p:sldLayout xmlns:a="http://schemas.openxmlformats.org/drawingml/2006/main" xmlns:r="http://schemas.openxmlformats.org/officeDocument/2006/relationships" xmlns:p="http://schemas.openxmlformats.org/presentationml/2006/main" userDrawn="1">
  <p:cSld name="2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333996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26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79445853"/>
      </p:ext>
    </p:extLst>
  </p:cSld>
  <p:clrMapOvr>
    <a:masterClrMapping/>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userDrawn="1">
  <p:cSld name="2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05651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36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32973127"/>
      </p:ext>
    </p:extLst>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2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6230565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46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64570710"/>
      </p:ext>
    </p:extLst>
  </p:cSld>
  <p:clrMapOvr>
    <a:masterClrMapping/>
  </p:clrMapOvr>
  <p:hf hdr="0" ftr="0" dt="0"/>
</p:sldLayout>
</file>

<file path=ppt/slideLayouts/slideLayout277.xml><?xml version="1.0" encoding="utf-8"?>
<p:sldLayout xmlns:a="http://schemas.openxmlformats.org/drawingml/2006/main" xmlns:r="http://schemas.openxmlformats.org/officeDocument/2006/relationships" xmlns:p="http://schemas.openxmlformats.org/presentationml/2006/main" userDrawn="1">
  <p:cSld name="2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5916742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56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22160228"/>
      </p:ext>
    </p:extLst>
  </p:cSld>
  <p:clrMapOvr>
    <a:masterClrMapping/>
  </p:clrMapOvr>
  <p:hf hdr="0" ftr="0" dt="0"/>
</p:sldLayout>
</file>

<file path=ppt/slideLayouts/slideLayout278.xml><?xml version="1.0" encoding="utf-8"?>
<p:sldLayout xmlns:a="http://schemas.openxmlformats.org/drawingml/2006/main" xmlns:r="http://schemas.openxmlformats.org/officeDocument/2006/relationships" xmlns:p="http://schemas.openxmlformats.org/presentationml/2006/main" userDrawn="1">
  <p:cSld name="2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4306177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867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60396694"/>
      </p:ext>
    </p:extLst>
  </p:cSld>
  <p:clrMapOvr>
    <a:masterClrMapping/>
  </p:clrMapOvr>
</p:sldLayout>
</file>

<file path=ppt/slideLayouts/slideLayout279.xml><?xml version="1.0" encoding="utf-8"?>
<p:sldLayout xmlns:a="http://schemas.openxmlformats.org/drawingml/2006/main" xmlns:r="http://schemas.openxmlformats.org/officeDocument/2006/relationships" xmlns:p="http://schemas.openxmlformats.org/presentationml/2006/main" userDrawn="1">
  <p:cSld name="2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35548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08904548"/>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0"/>
            <a:ext cx="2743200" cy="365125"/>
          </a:xfrm>
          <a:prstGeom prst="rect">
            <a:avLst/>
          </a:prstGeom>
        </p:spPr>
        <p:txBody>
          <a:bodyPr/>
          <a:lstStyle/>
          <a:p>
            <a:fld id="{9ACF6334-0FED-E148-B922-A5F4FB226326}" type="datetime1">
              <a:rPr lang="en-US" smtClean="0"/>
              <a:t>9/17/2021</a:t>
            </a:fld>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411916693"/>
      </p:ext>
    </p:extLst>
  </p:cSld>
  <p:clrMapOvr>
    <a:masterClrMapping/>
  </p:clrMapOvr>
</p:sldLayout>
</file>

<file path=ppt/slideLayouts/slideLayout280.xml><?xml version="1.0" encoding="utf-8"?>
<p:sldLayout xmlns:a="http://schemas.openxmlformats.org/drawingml/2006/main" xmlns:r="http://schemas.openxmlformats.org/officeDocument/2006/relationships" xmlns:p="http://schemas.openxmlformats.org/presentationml/2006/main" userDrawn="1">
  <p:cSld name="2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68161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7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02381983"/>
      </p:ext>
    </p:extLst>
  </p:cSld>
  <p:clrMapOvr>
    <a:masterClrMapping/>
  </p:clrMapOvr>
  <p:hf hdr="0" ftr="0" dt="0"/>
</p:sldLayout>
</file>

<file path=ppt/slideLayouts/slideLayout281.xml><?xml version="1.0" encoding="utf-8"?>
<p:sldLayout xmlns:a="http://schemas.openxmlformats.org/drawingml/2006/main" xmlns:r="http://schemas.openxmlformats.org/officeDocument/2006/relationships" xmlns:p="http://schemas.openxmlformats.org/presentationml/2006/main" userDrawn="1">
  <p:cSld name="3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92721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97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51414687"/>
      </p:ext>
    </p:extLst>
  </p:cSld>
  <p:clrMapOvr>
    <a:masterClrMapping/>
  </p:clrMapOvr>
</p:sldLayout>
</file>

<file path=ppt/slideLayouts/slideLayout282.xml><?xml version="1.0" encoding="utf-8"?>
<p:sldLayout xmlns:a="http://schemas.openxmlformats.org/drawingml/2006/main" xmlns:r="http://schemas.openxmlformats.org/officeDocument/2006/relationships" xmlns:p="http://schemas.openxmlformats.org/presentationml/2006/main" userDrawn="1">
  <p:cSld name="2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544210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08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75790176"/>
      </p:ext>
    </p:extLst>
  </p:cSld>
  <p:clrMapOvr>
    <a:masterClrMapping/>
  </p:clrMapOvr>
  <p:hf hdr="0" ftr="0" dt="0"/>
</p:sldLayout>
</file>

<file path=ppt/slideLayouts/slideLayout283.xml><?xml version="1.0" encoding="utf-8"?>
<p:sldLayout xmlns:a="http://schemas.openxmlformats.org/drawingml/2006/main" xmlns:r="http://schemas.openxmlformats.org/officeDocument/2006/relationships" xmlns:p="http://schemas.openxmlformats.org/presentationml/2006/main" userDrawn="1">
  <p:cSld name="1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1023194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918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21534573"/>
      </p:ext>
    </p:extLst>
  </p:cSld>
  <p:clrMapOvr>
    <a:masterClrMapping/>
  </p:clrMapOvr>
  <p:hf hdr="0" ftr="0" dt="0"/>
</p:sldLayout>
</file>

<file path=ppt/slideLayouts/slideLayout284.xml><?xml version="1.0" encoding="utf-8"?>
<p:sldLayout xmlns:a="http://schemas.openxmlformats.org/drawingml/2006/main" xmlns:r="http://schemas.openxmlformats.org/officeDocument/2006/relationships" xmlns:p="http://schemas.openxmlformats.org/presentationml/2006/main" userDrawn="1">
  <p:cSld name="1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648648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928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26574966"/>
      </p:ext>
    </p:extLst>
  </p:cSld>
  <p:clrMapOvr>
    <a:masterClrMapping/>
  </p:clrMapOvr>
  <p:hf hdr="0" ftr="0" dt="0"/>
</p:sldLayout>
</file>

<file path=ppt/slideLayouts/slideLayout285.xml><?xml version="1.0" encoding="utf-8"?>
<p:sldLayout xmlns:a="http://schemas.openxmlformats.org/drawingml/2006/main" xmlns:r="http://schemas.openxmlformats.org/officeDocument/2006/relationships" xmlns:p="http://schemas.openxmlformats.org/presentationml/2006/main" userDrawn="1">
  <p:cSld name="1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288006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38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90230281"/>
      </p:ext>
    </p:extLst>
  </p:cSld>
  <p:clrMapOvr>
    <a:masterClrMapping/>
  </p:clrMapOvr>
  <p:hf hdr="0" ftr="0" dt="0"/>
</p:sldLayout>
</file>

<file path=ppt/slideLayouts/slideLayout286.xml><?xml version="1.0" encoding="utf-8"?>
<p:sldLayout xmlns:a="http://schemas.openxmlformats.org/drawingml/2006/main" xmlns:r="http://schemas.openxmlformats.org/officeDocument/2006/relationships" xmlns:p="http://schemas.openxmlformats.org/presentationml/2006/main" userDrawn="1">
  <p:cSld name="1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83870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49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39551030"/>
      </p:ext>
    </p:extLst>
  </p:cSld>
  <p:clrMapOvr>
    <a:masterClrMapping/>
  </p:clrMapOvr>
  <p:hf hdr="0" ftr="0" dt="0"/>
</p:sldLayout>
</file>

<file path=ppt/slideLayouts/slideLayout287.xml><?xml version="1.0" encoding="utf-8"?>
<p:sldLayout xmlns:a="http://schemas.openxmlformats.org/drawingml/2006/main" xmlns:r="http://schemas.openxmlformats.org/officeDocument/2006/relationships" xmlns:p="http://schemas.openxmlformats.org/presentationml/2006/main" userDrawn="1">
  <p:cSld name="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32428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59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50047315"/>
      </p:ext>
    </p:extLst>
  </p:cSld>
  <p:clrMapOvr>
    <a:masterClrMapping/>
  </p:clrMapOvr>
</p:sldLayout>
</file>

<file path=ppt/slideLayouts/slideLayout288.xml><?xml version="1.0" encoding="utf-8"?>
<p:sldLayout xmlns:a="http://schemas.openxmlformats.org/drawingml/2006/main" xmlns:r="http://schemas.openxmlformats.org/officeDocument/2006/relationships" xmlns:p="http://schemas.openxmlformats.org/presentationml/2006/main" userDrawn="1">
  <p:cSld name="1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16965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969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64195791"/>
      </p:ext>
    </p:extLst>
  </p:cSld>
  <p:clrMapOvr>
    <a:masterClrMapping/>
  </p:clrMapOvr>
</p:sldLayout>
</file>

<file path=ppt/slideLayouts/slideLayout289.xml><?xml version="1.0" encoding="utf-8"?>
<p:sldLayout xmlns:a="http://schemas.openxmlformats.org/drawingml/2006/main" xmlns:r="http://schemas.openxmlformats.org/officeDocument/2006/relationships" xmlns:p="http://schemas.openxmlformats.org/presentationml/2006/main" userDrawn="1">
  <p:cSld name="1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5394141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979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13499220"/>
      </p:ext>
    </p:extLst>
  </p:cSld>
  <p:clrMapOvr>
    <a:masterClrMapping/>
  </p:clrMapOvr>
  <p:hf hdr="0" ftr="0" dt="0"/>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CECDE-FCE7-534F-AC43-E1530EB02C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ED7A24F4-DAB9-8249-8C03-1E73358ADE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010173111"/>
      </p:ext>
    </p:extLst>
  </p:cSld>
  <p:clrMapOvr>
    <a:masterClrMapping/>
  </p:clrMapOvr>
</p:sldLayout>
</file>

<file path=ppt/slideLayouts/slideLayout290.xml><?xml version="1.0" encoding="utf-8"?>
<p:sldLayout xmlns:a="http://schemas.openxmlformats.org/drawingml/2006/main" xmlns:r="http://schemas.openxmlformats.org/officeDocument/2006/relationships" xmlns:p="http://schemas.openxmlformats.org/presentationml/2006/main" userDrawn="1">
  <p:cSld name="1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2580136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990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32761721"/>
      </p:ext>
    </p:extLst>
  </p:cSld>
  <p:clrMapOvr>
    <a:masterClrMapping/>
  </p:clrMapOvr>
  <p:hf hdr="0" ftr="0" dt="0"/>
</p:sldLayout>
</file>

<file path=ppt/slideLayouts/slideLayout291.xml><?xml version="1.0" encoding="utf-8"?>
<p:sldLayout xmlns:a="http://schemas.openxmlformats.org/drawingml/2006/main" xmlns:r="http://schemas.openxmlformats.org/officeDocument/2006/relationships" xmlns:p="http://schemas.openxmlformats.org/presentationml/2006/main" userDrawn="1">
  <p:cSld name="1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406499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00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24103655"/>
      </p:ext>
    </p:extLst>
  </p:cSld>
  <p:clrMapOvr>
    <a:masterClrMapping/>
  </p:clrMapOvr>
</p:sldLayout>
</file>

<file path=ppt/slideLayouts/slideLayout292.xml><?xml version="1.0" encoding="utf-8"?>
<p:sldLayout xmlns:a="http://schemas.openxmlformats.org/drawingml/2006/main" xmlns:r="http://schemas.openxmlformats.org/officeDocument/2006/relationships" xmlns:p="http://schemas.openxmlformats.org/presentationml/2006/main" userDrawn="1">
  <p:cSld name="1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73061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10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44383526"/>
      </p:ext>
    </p:extLst>
  </p:cSld>
  <p:clrMapOvr>
    <a:masterClrMapping/>
  </p:clrMapOvr>
  <p:hf hdr="0" ftr="0" dt="0"/>
</p:sldLayout>
</file>

<file path=ppt/slideLayouts/slideLayout293.xml><?xml version="1.0" encoding="utf-8"?>
<p:sldLayout xmlns:a="http://schemas.openxmlformats.org/drawingml/2006/main" xmlns:r="http://schemas.openxmlformats.org/officeDocument/2006/relationships" xmlns:p="http://schemas.openxmlformats.org/presentationml/2006/main" userDrawn="1">
  <p:cSld name="2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02409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20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30689194"/>
      </p:ext>
    </p:extLst>
  </p:cSld>
  <p:clrMapOvr>
    <a:masterClrMapping/>
  </p:clrMapOvr>
</p:sldLayout>
</file>

<file path=ppt/slideLayouts/slideLayout294.xml><?xml version="1.0" encoding="utf-8"?>
<p:sldLayout xmlns:a="http://schemas.openxmlformats.org/drawingml/2006/main" xmlns:r="http://schemas.openxmlformats.org/officeDocument/2006/relationships" xmlns:p="http://schemas.openxmlformats.org/presentationml/2006/main" userDrawn="1">
  <p:cSld name="3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70664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31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78744605"/>
      </p:ext>
    </p:extLst>
  </p:cSld>
  <p:clrMapOvr>
    <a:masterClrMapping/>
  </p:clrMapOvr>
  <p:hf hdr="0" ftr="0" dt="0"/>
</p:sldLayout>
</file>

<file path=ppt/slideLayouts/slideLayout295.xml><?xml version="1.0" encoding="utf-8"?>
<p:sldLayout xmlns:a="http://schemas.openxmlformats.org/drawingml/2006/main" xmlns:r="http://schemas.openxmlformats.org/officeDocument/2006/relationships" xmlns:p="http://schemas.openxmlformats.org/presentationml/2006/main" userDrawn="1">
  <p:cSld name="3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9060345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41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44254170"/>
      </p:ext>
    </p:extLst>
  </p:cSld>
  <p:clrMapOvr>
    <a:masterClrMapping/>
  </p:clrMapOvr>
  <p:hf hdr="0" ftr="0" dt="0"/>
</p:sldLayout>
</file>

<file path=ppt/slideLayouts/slideLayout296.xml><?xml version="1.0" encoding="utf-8"?>
<p:sldLayout xmlns:a="http://schemas.openxmlformats.org/drawingml/2006/main" xmlns:r="http://schemas.openxmlformats.org/officeDocument/2006/relationships" xmlns:p="http://schemas.openxmlformats.org/presentationml/2006/main" userDrawn="1">
  <p:cSld name="3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99967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51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45696222"/>
      </p:ext>
    </p:extLst>
  </p:cSld>
  <p:clrMapOvr>
    <a:masterClrMapping/>
  </p:clrMapOvr>
  <p:hf hdr="0" ftr="0" dt="0"/>
</p:sldLayout>
</file>

<file path=ppt/slideLayouts/slideLayout297.xml><?xml version="1.0" encoding="utf-8"?>
<p:sldLayout xmlns:a="http://schemas.openxmlformats.org/drawingml/2006/main" xmlns:r="http://schemas.openxmlformats.org/officeDocument/2006/relationships" xmlns:p="http://schemas.openxmlformats.org/presentationml/2006/main" userDrawn="1">
  <p:cSld name="3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163954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61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75545634"/>
      </p:ext>
    </p:extLst>
  </p:cSld>
  <p:clrMapOvr>
    <a:masterClrMapping/>
  </p:clrMapOvr>
  <p:hf hdr="0" ftr="0" dt="0"/>
</p:sldLayout>
</file>

<file path=ppt/slideLayouts/slideLayout298.xml><?xml version="1.0" encoding="utf-8"?>
<p:sldLayout xmlns:a="http://schemas.openxmlformats.org/drawingml/2006/main" xmlns:r="http://schemas.openxmlformats.org/officeDocument/2006/relationships" xmlns:p="http://schemas.openxmlformats.org/presentationml/2006/main" userDrawn="1">
  <p:cSld name="3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505722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20920485"/>
      </p:ext>
    </p:extLst>
  </p:cSld>
  <p:clrMapOvr>
    <a:masterClrMapping/>
  </p:clrMapOvr>
</p:sldLayout>
</file>

<file path=ppt/slideLayouts/slideLayout299.xml><?xml version="1.0" encoding="utf-8"?>
<p:sldLayout xmlns:a="http://schemas.openxmlformats.org/drawingml/2006/main" xmlns:r="http://schemas.openxmlformats.org/officeDocument/2006/relationships" xmlns:p="http://schemas.openxmlformats.org/presentationml/2006/main" userDrawn="1">
  <p:cSld name="3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443034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82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316375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a:xfrm>
            <a:off x="266700" y="128221"/>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5" name="Straight Connector 4">
            <a:extLst>
              <a:ext uri="{FF2B5EF4-FFF2-40B4-BE49-F238E27FC236}">
                <a16:creationId xmlns:a16="http://schemas.microsoft.com/office/drawing/2014/main" id="{EC39AF53-CA04-4074-AAC7-E099C7E37FF2}"/>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88436485"/>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B7CA9D-7EC3-D044-B931-F9D71D71C3A9}"/>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617027952"/>
      </p:ext>
    </p:extLst>
  </p:cSld>
  <p:clrMapOvr>
    <a:masterClrMapping/>
  </p:clrMapOvr>
</p:sldLayout>
</file>

<file path=ppt/slideLayouts/slideLayout300.xml><?xml version="1.0" encoding="utf-8"?>
<p:sldLayout xmlns:a="http://schemas.openxmlformats.org/drawingml/2006/main" xmlns:r="http://schemas.openxmlformats.org/officeDocument/2006/relationships" xmlns:p="http://schemas.openxmlformats.org/presentationml/2006/main" userDrawn="1">
  <p:cSld name="3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4061721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092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00536838"/>
      </p:ext>
    </p:extLst>
  </p:cSld>
  <p:clrMapOvr>
    <a:masterClrMapping/>
  </p:clrMapOvr>
  <p:hf hdr="0" ftr="0" dt="0"/>
</p:sldLayout>
</file>

<file path=ppt/slideLayouts/slideLayout301.xml><?xml version="1.0" encoding="utf-8"?>
<p:sldLayout xmlns:a="http://schemas.openxmlformats.org/drawingml/2006/main" xmlns:r="http://schemas.openxmlformats.org/officeDocument/2006/relationships" xmlns:p="http://schemas.openxmlformats.org/presentationml/2006/main" userDrawn="1">
  <p:cSld name="3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025886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02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42431728"/>
      </p:ext>
    </p:extLst>
  </p:cSld>
  <p:clrMapOvr>
    <a:masterClrMapping/>
  </p:clrMapOvr>
  <p:hf hdr="0" ftr="0" dt="0"/>
</p:sldLayout>
</file>

<file path=ppt/slideLayouts/slideLayout302.xml><?xml version="1.0" encoding="utf-8"?>
<p:sldLayout xmlns:a="http://schemas.openxmlformats.org/drawingml/2006/main" xmlns:r="http://schemas.openxmlformats.org/officeDocument/2006/relationships" xmlns:p="http://schemas.openxmlformats.org/presentationml/2006/main" userDrawn="1">
  <p:cSld name="4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0771294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12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53595317"/>
      </p:ext>
    </p:extLst>
  </p:cSld>
  <p:clrMapOvr>
    <a:masterClrMapping/>
  </p:clrMapOvr>
</p:sldLayout>
</file>

<file path=ppt/slideLayouts/slideLayout303.xml><?xml version="1.0" encoding="utf-8"?>
<p:sldLayout xmlns:a="http://schemas.openxmlformats.org/drawingml/2006/main" xmlns:r="http://schemas.openxmlformats.org/officeDocument/2006/relationships" xmlns:p="http://schemas.openxmlformats.org/presentationml/2006/main" userDrawn="1">
  <p:cSld name="4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060899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23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29076350"/>
      </p:ext>
    </p:extLst>
  </p:cSld>
  <p:clrMapOvr>
    <a:masterClrMapping/>
  </p:clrMapOvr>
  <p:hf hdr="0" ftr="0" dt="0"/>
</p:sldLayout>
</file>

<file path=ppt/slideLayouts/slideLayout304.xml><?xml version="1.0" encoding="utf-8"?>
<p:sldLayout xmlns:a="http://schemas.openxmlformats.org/drawingml/2006/main" xmlns:r="http://schemas.openxmlformats.org/officeDocument/2006/relationships" xmlns:p="http://schemas.openxmlformats.org/presentationml/2006/main" userDrawn="1">
  <p:cSld name="4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670761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33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70154111"/>
      </p:ext>
    </p:extLst>
  </p:cSld>
  <p:clrMapOvr>
    <a:masterClrMapping/>
  </p:clrMapOvr>
  <p:hf hdr="0" ftr="0" dt="0"/>
</p:sldLayout>
</file>

<file path=ppt/slideLayouts/slideLayout305.xml><?xml version="1.0" encoding="utf-8"?>
<p:sldLayout xmlns:a="http://schemas.openxmlformats.org/drawingml/2006/main" xmlns:r="http://schemas.openxmlformats.org/officeDocument/2006/relationships" xmlns:p="http://schemas.openxmlformats.org/presentationml/2006/main" userDrawn="1">
  <p:cSld name="4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1011563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43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95735823"/>
      </p:ext>
    </p:extLst>
  </p:cSld>
  <p:clrMapOvr>
    <a:masterClrMapping/>
  </p:clrMapOvr>
  <p:hf hdr="0" ftr="0" dt="0"/>
</p:sldLayout>
</file>

<file path=ppt/slideLayouts/slideLayout306.xml><?xml version="1.0" encoding="utf-8"?>
<p:sldLayout xmlns:a="http://schemas.openxmlformats.org/drawingml/2006/main" xmlns:r="http://schemas.openxmlformats.org/officeDocument/2006/relationships" xmlns:p="http://schemas.openxmlformats.org/presentationml/2006/main" userDrawn="1">
  <p:cSld name="4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5866797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53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40946451"/>
      </p:ext>
    </p:extLst>
  </p:cSld>
  <p:clrMapOvr>
    <a:masterClrMapping/>
  </p:clrMapOvr>
  <p:hf hdr="0" ftr="0" dt="0"/>
</p:sldLayout>
</file>

<file path=ppt/slideLayouts/slideLayout307.xml><?xml version="1.0" encoding="utf-8"?>
<p:sldLayout xmlns:a="http://schemas.openxmlformats.org/drawingml/2006/main" xmlns:r="http://schemas.openxmlformats.org/officeDocument/2006/relationships" xmlns:p="http://schemas.openxmlformats.org/presentationml/2006/main" userDrawn="1">
  <p:cSld name="4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6613986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164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00218578"/>
      </p:ext>
    </p:extLst>
  </p:cSld>
  <p:clrMapOvr>
    <a:masterClrMapping/>
  </p:clrMapOvr>
</p:sldLayout>
</file>

<file path=ppt/slideLayouts/slideLayout308.xml><?xml version="1.0" encoding="utf-8"?>
<p:sldLayout xmlns:a="http://schemas.openxmlformats.org/drawingml/2006/main" xmlns:r="http://schemas.openxmlformats.org/officeDocument/2006/relationships" xmlns:p="http://schemas.openxmlformats.org/presentationml/2006/main" userDrawn="1">
  <p:cSld name="4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42372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04977044"/>
      </p:ext>
    </p:extLst>
  </p:cSld>
  <p:clrMapOvr>
    <a:masterClrMapping/>
  </p:clrMapOvr>
  <p:hf hdr="0" ftr="0" dt="0"/>
</p:sldLayout>
</file>

<file path=ppt/slideLayouts/slideLayout309.xml><?xml version="1.0" encoding="utf-8"?>
<p:sldLayout xmlns:a="http://schemas.openxmlformats.org/drawingml/2006/main" xmlns:r="http://schemas.openxmlformats.org/officeDocument/2006/relationships" xmlns:p="http://schemas.openxmlformats.org/presentationml/2006/main" userDrawn="1">
  <p:cSld name="4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36451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4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14650053"/>
      </p:ext>
    </p:extLst>
  </p:cSld>
  <p:clrMapOvr>
    <a:masterClrMapping/>
  </p:clrMapOvr>
  <p:hf hdr="0" ftr="0" dt="0"/>
</p:sldLayout>
</file>

<file path=ppt/slideLayouts/slideLayout3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a:xfrm>
            <a:off x="284285" y="4188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6" name="Straight Connector 5">
            <a:extLst>
              <a:ext uri="{FF2B5EF4-FFF2-40B4-BE49-F238E27FC236}">
                <a16:creationId xmlns:a16="http://schemas.microsoft.com/office/drawing/2014/main" id="{96C4EB56-E458-4221-8879-48677BEE7740}"/>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963241"/>
      </p:ext>
    </p:extLst>
  </p:cSld>
  <p:clrMapOvr>
    <a:masterClrMapping/>
  </p:clrMapOvr>
</p:sldLayout>
</file>

<file path=ppt/slideLayouts/slideLayout310.xml><?xml version="1.0" encoding="utf-8"?>
<p:sldLayout xmlns:a="http://schemas.openxmlformats.org/drawingml/2006/main" xmlns:r="http://schemas.openxmlformats.org/officeDocument/2006/relationships" xmlns:p="http://schemas.openxmlformats.org/presentationml/2006/main" userDrawn="1">
  <p:cSld name="4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354094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94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14138193"/>
      </p:ext>
    </p:extLst>
  </p:cSld>
  <p:clrMapOvr>
    <a:masterClrMapping/>
  </p:clrMapOvr>
</p:sldLayout>
</file>

<file path=ppt/slideLayouts/slideLayout311.xml><?xml version="1.0" encoding="utf-8"?>
<p:sldLayout xmlns:a="http://schemas.openxmlformats.org/drawingml/2006/main" xmlns:r="http://schemas.openxmlformats.org/officeDocument/2006/relationships" xmlns:p="http://schemas.openxmlformats.org/presentationml/2006/main" userDrawn="1">
  <p:cSld name="4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4593918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05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00488181"/>
      </p:ext>
    </p:extLst>
  </p:cSld>
  <p:clrMapOvr>
    <a:masterClrMapping/>
  </p:clrMapOvr>
  <p:hf hdr="0" ftr="0" dt="0"/>
</p:sldLayout>
</file>

<file path=ppt/slideLayouts/slideLayout312.xml><?xml version="1.0" encoding="utf-8"?>
<p:sldLayout xmlns:a="http://schemas.openxmlformats.org/drawingml/2006/main" xmlns:r="http://schemas.openxmlformats.org/officeDocument/2006/relationships" xmlns:p="http://schemas.openxmlformats.org/presentationml/2006/main" userDrawn="1">
  <p:cSld name="5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6959243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15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2160231"/>
      </p:ext>
    </p:extLst>
  </p:cSld>
  <p:clrMapOvr>
    <a:masterClrMapping/>
  </p:clrMapOvr>
  <p:hf hdr="0" ftr="0" dt="0"/>
</p:sldLayout>
</file>

<file path=ppt/slideLayouts/slideLayout313.xml><?xml version="1.0" encoding="utf-8"?>
<p:sldLayout xmlns:a="http://schemas.openxmlformats.org/drawingml/2006/main" xmlns:r="http://schemas.openxmlformats.org/officeDocument/2006/relationships" xmlns:p="http://schemas.openxmlformats.org/presentationml/2006/main" userDrawn="1">
  <p:cSld name="5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2207849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25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49137444"/>
      </p:ext>
    </p:extLst>
  </p:cSld>
  <p:clrMapOvr>
    <a:masterClrMapping/>
  </p:clrMapOvr>
</p:sldLayout>
</file>

<file path=ppt/slideLayouts/slideLayout314.xml><?xml version="1.0" encoding="utf-8"?>
<p:sldLayout xmlns:a="http://schemas.openxmlformats.org/drawingml/2006/main" xmlns:r="http://schemas.openxmlformats.org/officeDocument/2006/relationships" xmlns:p="http://schemas.openxmlformats.org/presentationml/2006/main" userDrawn="1">
  <p:cSld name="5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09679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35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29675291"/>
      </p:ext>
    </p:extLst>
  </p:cSld>
  <p:clrMapOvr>
    <a:masterClrMapping/>
  </p:clrMapOvr>
  <p:hf hdr="0" ftr="0" dt="0"/>
</p:sldLayout>
</file>

<file path=ppt/slideLayouts/slideLayout315.xml><?xml version="1.0" encoding="utf-8"?>
<p:sldLayout xmlns:a="http://schemas.openxmlformats.org/drawingml/2006/main" xmlns:r="http://schemas.openxmlformats.org/officeDocument/2006/relationships" xmlns:p="http://schemas.openxmlformats.org/presentationml/2006/main" userDrawn="1">
  <p:cSld name="5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95452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46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48234977"/>
      </p:ext>
    </p:extLst>
  </p:cSld>
  <p:clrMapOvr>
    <a:masterClrMapping/>
  </p:clrMapOvr>
  <p:hf hdr="0" ftr="0" dt="0"/>
</p:sldLayout>
</file>

<file path=ppt/slideLayouts/slideLayout316.xml><?xml version="1.0" encoding="utf-8"?>
<p:sldLayout xmlns:a="http://schemas.openxmlformats.org/drawingml/2006/main" xmlns:r="http://schemas.openxmlformats.org/officeDocument/2006/relationships" xmlns:p="http://schemas.openxmlformats.org/presentationml/2006/main" userDrawn="1">
  <p:cSld name="5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633559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56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22476474"/>
      </p:ext>
    </p:extLst>
  </p:cSld>
  <p:clrMapOvr>
    <a:masterClrMapping/>
  </p:clrMapOvr>
</p:sldLayout>
</file>

<file path=ppt/slideLayouts/slideLayout317.xml><?xml version="1.0" encoding="utf-8"?>
<p:sldLayout xmlns:a="http://schemas.openxmlformats.org/drawingml/2006/main" xmlns:r="http://schemas.openxmlformats.org/officeDocument/2006/relationships" xmlns:p="http://schemas.openxmlformats.org/presentationml/2006/main" userDrawn="1">
  <p:cSld name="5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245481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66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230216608"/>
      </p:ext>
    </p:extLst>
  </p:cSld>
  <p:clrMapOvr>
    <a:masterClrMapping/>
  </p:clrMapOvr>
</p:sldLayout>
</file>

<file path=ppt/slideLayouts/slideLayout318.xml><?xml version="1.0" encoding="utf-8"?>
<p:sldLayout xmlns:a="http://schemas.openxmlformats.org/drawingml/2006/main" xmlns:r="http://schemas.openxmlformats.org/officeDocument/2006/relationships" xmlns:p="http://schemas.openxmlformats.org/presentationml/2006/main" userDrawn="1">
  <p:cSld name="5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1405823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76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67882881"/>
      </p:ext>
    </p:extLst>
  </p:cSld>
  <p:clrMapOvr>
    <a:masterClrMapping/>
  </p:clrMapOvr>
  <p:hf hdr="0" ftr="0" dt="0"/>
</p:sldLayout>
</file>

<file path=ppt/slideLayouts/slideLayout319.xml><?xml version="1.0" encoding="utf-8"?>
<p:sldLayout xmlns:a="http://schemas.openxmlformats.org/drawingml/2006/main" xmlns:r="http://schemas.openxmlformats.org/officeDocument/2006/relationships" xmlns:p="http://schemas.openxmlformats.org/presentationml/2006/main" userDrawn="1">
  <p:cSld name="5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7169843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287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15785709"/>
      </p:ext>
    </p:extLst>
  </p:cSld>
  <p:clrMapOvr>
    <a:masterClrMapping/>
  </p:clrMapOvr>
  <p:hf hdr="0" ftr="0" dt="0"/>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0"/>
            <a:ext cx="2743200" cy="365125"/>
          </a:xfrm>
          <a:prstGeom prst="rect">
            <a:avLst/>
          </a:prstGeom>
        </p:spPr>
        <p:txBody>
          <a:bodyPr/>
          <a:lstStyle/>
          <a:p>
            <a:fld id="{3BBCC8C8-1ECD-EF4A-9F16-75DEC265C8FE}" type="datetime1">
              <a:rPr lang="en-US" smtClean="0"/>
              <a:t>9/17/2021</a:t>
            </a:fld>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153933883"/>
      </p:ext>
    </p:extLst>
  </p:cSld>
  <p:clrMapOvr>
    <a:masterClrMapping/>
  </p:clrMapOvr>
</p:sldLayout>
</file>

<file path=ppt/slideLayouts/slideLayout320.xml><?xml version="1.0" encoding="utf-8"?>
<p:sldLayout xmlns:a="http://schemas.openxmlformats.org/drawingml/2006/main" xmlns:r="http://schemas.openxmlformats.org/officeDocument/2006/relationships" xmlns:p="http://schemas.openxmlformats.org/presentationml/2006/main" userDrawn="1">
  <p:cSld name="6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328222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97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96301003"/>
      </p:ext>
    </p:extLst>
  </p:cSld>
  <p:clrMapOvr>
    <a:masterClrMapping/>
  </p:clrMapOvr>
  <p:hf hdr="0" ftr="0" dt="0"/>
</p:sldLayout>
</file>

<file path=ppt/slideLayouts/slideLayout321.xml><?xml version="1.0" encoding="utf-8"?>
<p:sldLayout xmlns:a="http://schemas.openxmlformats.org/drawingml/2006/main" xmlns:r="http://schemas.openxmlformats.org/officeDocument/2006/relationships" xmlns:p="http://schemas.openxmlformats.org/presentationml/2006/main" userDrawn="1">
  <p:cSld name="6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089035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07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46617144"/>
      </p:ext>
    </p:extLst>
  </p:cSld>
  <p:clrMapOvr>
    <a:masterClrMapping/>
  </p:clrMapOvr>
  <p:hf hdr="0" ftr="0" dt="0"/>
</p:sldLayout>
</file>

<file path=ppt/slideLayouts/slideLayout322.xml><?xml version="1.0" encoding="utf-8"?>
<p:sldLayout xmlns:a="http://schemas.openxmlformats.org/drawingml/2006/main" xmlns:r="http://schemas.openxmlformats.org/officeDocument/2006/relationships" xmlns:p="http://schemas.openxmlformats.org/presentationml/2006/main" userDrawn="1">
  <p:cSld name="6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903524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17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15580314"/>
      </p:ext>
    </p:extLst>
  </p:cSld>
  <p:clrMapOvr>
    <a:masterClrMapping/>
  </p:clrMapOvr>
</p:sldLayout>
</file>

<file path=ppt/slideLayouts/slideLayout323.xml><?xml version="1.0" encoding="utf-8"?>
<p:sldLayout xmlns:a="http://schemas.openxmlformats.org/drawingml/2006/main" xmlns:r="http://schemas.openxmlformats.org/officeDocument/2006/relationships" xmlns:p="http://schemas.openxmlformats.org/presentationml/2006/main" userDrawn="1">
  <p:cSld name="6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873859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28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4868351"/>
      </p:ext>
    </p:extLst>
  </p:cSld>
  <p:clrMapOvr>
    <a:masterClrMapping/>
  </p:clrMapOvr>
</p:sldLayout>
</file>

<file path=ppt/slideLayouts/slideLayout324.xml><?xml version="1.0" encoding="utf-8"?>
<p:sldLayout xmlns:a="http://schemas.openxmlformats.org/drawingml/2006/main" xmlns:r="http://schemas.openxmlformats.org/officeDocument/2006/relationships" xmlns:p="http://schemas.openxmlformats.org/presentationml/2006/main" userDrawn="1">
  <p:cSld name="6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4652941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38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43307738"/>
      </p:ext>
    </p:extLst>
  </p:cSld>
  <p:clrMapOvr>
    <a:masterClrMapping/>
  </p:clrMapOvr>
  <p:hf hdr="0" ftr="0" dt="0"/>
</p:sldLayout>
</file>

<file path=ppt/slideLayouts/slideLayout325.xml><?xml version="1.0" encoding="utf-8"?>
<p:sldLayout xmlns:a="http://schemas.openxmlformats.org/drawingml/2006/main" xmlns:r="http://schemas.openxmlformats.org/officeDocument/2006/relationships" xmlns:p="http://schemas.openxmlformats.org/presentationml/2006/main" userDrawn="1">
  <p:cSld name="6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343941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48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60029117"/>
      </p:ext>
    </p:extLst>
  </p:cSld>
  <p:clrMapOvr>
    <a:masterClrMapping/>
  </p:clrMapOvr>
  <p:hf hdr="0" ftr="0" dt="0"/>
</p:sldLayout>
</file>

<file path=ppt/slideLayouts/slideLayout326.xml><?xml version="1.0" encoding="utf-8"?>
<p:sldLayout xmlns:a="http://schemas.openxmlformats.org/drawingml/2006/main" xmlns:r="http://schemas.openxmlformats.org/officeDocument/2006/relationships" xmlns:p="http://schemas.openxmlformats.org/presentationml/2006/main" userDrawn="1">
  <p:cSld name="6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0082460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58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19906303"/>
      </p:ext>
    </p:extLst>
  </p:cSld>
  <p:clrMapOvr>
    <a:masterClrMapping/>
  </p:clrMapOvr>
</p:sldLayout>
</file>

<file path=ppt/slideLayouts/slideLayout327.xml><?xml version="1.0" encoding="utf-8"?>
<p:sldLayout xmlns:a="http://schemas.openxmlformats.org/drawingml/2006/main" xmlns:r="http://schemas.openxmlformats.org/officeDocument/2006/relationships" xmlns:p="http://schemas.openxmlformats.org/presentationml/2006/main" userDrawn="1">
  <p:cSld name="6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43990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68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27854208"/>
      </p:ext>
    </p:extLst>
  </p:cSld>
  <p:clrMapOvr>
    <a:masterClrMapping/>
  </p:clrMapOvr>
  <p:hf hdr="0" ftr="0" dt="0"/>
</p:sldLayout>
</file>

<file path=ppt/slideLayouts/slideLayout328.xml><?xml version="1.0" encoding="utf-8"?>
<p:sldLayout xmlns:a="http://schemas.openxmlformats.org/drawingml/2006/main" xmlns:r="http://schemas.openxmlformats.org/officeDocument/2006/relationships" xmlns:p="http://schemas.openxmlformats.org/presentationml/2006/main" userDrawn="1">
  <p:cSld name="6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36638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92016673"/>
      </p:ext>
    </p:extLst>
  </p:cSld>
  <p:clrMapOvr>
    <a:masterClrMapping/>
  </p:clrMapOvr>
</p:sldLayout>
</file>

<file path=ppt/slideLayouts/slideLayout329.xml><?xml version="1.0" encoding="utf-8"?>
<p:sldLayout xmlns:a="http://schemas.openxmlformats.org/drawingml/2006/main" xmlns:r="http://schemas.openxmlformats.org/officeDocument/2006/relationships" xmlns:p="http://schemas.openxmlformats.org/presentationml/2006/main" userDrawn="1">
  <p:cSld name="6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5827060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89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86215956"/>
      </p:ext>
    </p:extLst>
  </p:cSld>
  <p:clrMapOvr>
    <a:masterClrMapping/>
  </p:clrMapOvr>
  <p:hf hdr="0" ftr="0" dt="0"/>
</p:sldLayout>
</file>

<file path=ppt/slideLayouts/slideLayout3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37BBBD-263B-4609-8659-AA7931BA851E}" type="datetime1">
              <a:rPr lang="en-US" smtClean="0"/>
              <a:t>9/17/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DDFCB01-FDF3-4364-91DB-3C8C9E14990C}" type="slidenum">
              <a:rPr lang="en-US" smtClean="0"/>
              <a:t>‹#›</a:t>
            </a:fld>
            <a:endParaRPr lang="en-US"/>
          </a:p>
        </p:txBody>
      </p:sp>
    </p:spTree>
    <p:extLst>
      <p:ext uri="{BB962C8B-B14F-4D97-AF65-F5344CB8AC3E}">
        <p14:creationId xmlns:p14="http://schemas.microsoft.com/office/powerpoint/2010/main" val="3840741033"/>
      </p:ext>
    </p:extLst>
  </p:cSld>
  <p:clrMapOvr>
    <a:masterClrMapping/>
  </p:clrMapOvr>
</p:sldLayout>
</file>

<file path=ppt/slideLayouts/slideLayout330.xml><?xml version="1.0" encoding="utf-8"?>
<p:sldLayout xmlns:a="http://schemas.openxmlformats.org/drawingml/2006/main" xmlns:r="http://schemas.openxmlformats.org/officeDocument/2006/relationships" xmlns:p="http://schemas.openxmlformats.org/presentationml/2006/main" userDrawn="1">
  <p:cSld name="7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6813771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399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53328189"/>
      </p:ext>
    </p:extLst>
  </p:cSld>
  <p:clrMapOvr>
    <a:masterClrMapping/>
  </p:clrMapOvr>
  <p:hf hdr="0" ftr="0" dt="0"/>
</p:sldLayout>
</file>

<file path=ppt/slideLayouts/slideLayout331.xml><?xml version="1.0" encoding="utf-8"?>
<p:sldLayout xmlns:a="http://schemas.openxmlformats.org/drawingml/2006/main" xmlns:r="http://schemas.openxmlformats.org/officeDocument/2006/relationships" xmlns:p="http://schemas.openxmlformats.org/presentationml/2006/main" userDrawn="1">
  <p:cSld name="7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522875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09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36176320"/>
      </p:ext>
    </p:extLst>
  </p:cSld>
  <p:clrMapOvr>
    <a:masterClrMapping/>
  </p:clrMapOvr>
  <p:hf hdr="0" ftr="0" dt="0"/>
</p:sldLayout>
</file>

<file path=ppt/slideLayouts/slideLayout332.xml><?xml version="1.0" encoding="utf-8"?>
<p:sldLayout xmlns:a="http://schemas.openxmlformats.org/drawingml/2006/main" xmlns:r="http://schemas.openxmlformats.org/officeDocument/2006/relationships" xmlns:p="http://schemas.openxmlformats.org/presentationml/2006/main" userDrawn="1">
  <p:cSld name="7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813214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20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07693162"/>
      </p:ext>
    </p:extLst>
  </p:cSld>
  <p:clrMapOvr>
    <a:masterClrMapping/>
  </p:clrMapOvr>
  <p:hf hdr="0" ftr="0" dt="0"/>
</p:sldLayout>
</file>

<file path=ppt/slideLayouts/slideLayout333.xml><?xml version="1.0" encoding="utf-8"?>
<p:sldLayout xmlns:a="http://schemas.openxmlformats.org/drawingml/2006/main" xmlns:r="http://schemas.openxmlformats.org/officeDocument/2006/relationships" xmlns:p="http://schemas.openxmlformats.org/presentationml/2006/main" userDrawn="1">
  <p:cSld name="7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861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30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74727314"/>
      </p:ext>
    </p:extLst>
  </p:cSld>
  <p:clrMapOvr>
    <a:masterClrMapping/>
  </p:clrMapOvr>
</p:sldLayout>
</file>

<file path=ppt/slideLayouts/slideLayout334.xml><?xml version="1.0" encoding="utf-8"?>
<p:sldLayout xmlns:a="http://schemas.openxmlformats.org/drawingml/2006/main" xmlns:r="http://schemas.openxmlformats.org/officeDocument/2006/relationships" xmlns:p="http://schemas.openxmlformats.org/presentationml/2006/main" userDrawn="1">
  <p:cSld name="7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7706799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40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15771904"/>
      </p:ext>
    </p:extLst>
  </p:cSld>
  <p:clrMapOvr>
    <a:masterClrMapping/>
  </p:clrMapOvr>
</p:sldLayout>
</file>

<file path=ppt/slideLayouts/slideLayout335.xml><?xml version="1.0" encoding="utf-8"?>
<p:sldLayout xmlns:a="http://schemas.openxmlformats.org/drawingml/2006/main" xmlns:r="http://schemas.openxmlformats.org/officeDocument/2006/relationships" xmlns:p="http://schemas.openxmlformats.org/presentationml/2006/main" userDrawn="1">
  <p:cSld name="7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772568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50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2778722"/>
      </p:ext>
    </p:extLst>
  </p:cSld>
  <p:clrMapOvr>
    <a:masterClrMapping/>
  </p:clrMapOvr>
  <p:hf hdr="0" ftr="0" dt="0"/>
</p:sldLayout>
</file>

<file path=ppt/slideLayouts/slideLayout336.xml><?xml version="1.0" encoding="utf-8"?>
<p:sldLayout xmlns:a="http://schemas.openxmlformats.org/drawingml/2006/main" xmlns:r="http://schemas.openxmlformats.org/officeDocument/2006/relationships" xmlns:p="http://schemas.openxmlformats.org/presentationml/2006/main" userDrawn="1">
  <p:cSld name="7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0228577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61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64509195"/>
      </p:ext>
    </p:extLst>
  </p:cSld>
  <p:clrMapOvr>
    <a:masterClrMapping/>
  </p:clrMapOvr>
  <p:hf hdr="0" ftr="0" dt="0"/>
</p:sldLayout>
</file>

<file path=ppt/slideLayouts/slideLayout337.xml><?xml version="1.0" encoding="utf-8"?>
<p:sldLayout xmlns:a="http://schemas.openxmlformats.org/drawingml/2006/main" xmlns:r="http://schemas.openxmlformats.org/officeDocument/2006/relationships" xmlns:p="http://schemas.openxmlformats.org/presentationml/2006/main" userDrawn="1">
  <p:cSld name="7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1985321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471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64872592"/>
      </p:ext>
    </p:extLst>
  </p:cSld>
  <p:clrMapOvr>
    <a:masterClrMapping/>
  </p:clrMapOvr>
</p:sldLayout>
</file>

<file path=ppt/slideLayouts/slideLayout338.xml><?xml version="1.0" encoding="utf-8"?>
<p:sldLayout xmlns:a="http://schemas.openxmlformats.org/drawingml/2006/main" xmlns:r="http://schemas.openxmlformats.org/officeDocument/2006/relationships" xmlns:p="http://schemas.openxmlformats.org/presentationml/2006/main" userDrawn="1">
  <p:cSld name="7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6710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90144627"/>
      </p:ext>
    </p:extLst>
  </p:cSld>
  <p:clrMapOvr>
    <a:masterClrMapping/>
  </p:clrMapOvr>
  <p:hf hdr="0" ftr="0" dt="0"/>
</p:sldLayout>
</file>

<file path=ppt/slideLayouts/slideLayout339.xml><?xml version="1.0" encoding="utf-8"?>
<p:sldLayout xmlns:a="http://schemas.openxmlformats.org/drawingml/2006/main" xmlns:r="http://schemas.openxmlformats.org/officeDocument/2006/relationships" xmlns:p="http://schemas.openxmlformats.org/presentationml/2006/main" userDrawn="1">
  <p:cSld name="7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009756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91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984260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0"/>
            <a:ext cx="2743200" cy="365125"/>
          </a:xfrm>
          <a:prstGeom prst="rect">
            <a:avLst/>
          </a:prstGeom>
        </p:spPr>
        <p:txBody>
          <a:bodyPr/>
          <a:lstStyle/>
          <a:p>
            <a:fld id="{DF53905B-B1AC-2E43-B14E-3D95FF59C01A}" type="datetime1">
              <a:rPr lang="en-US" smtClean="0"/>
              <a:t>9/17/2021</a:t>
            </a:fld>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4250505378"/>
      </p:ext>
    </p:extLst>
  </p:cSld>
  <p:clrMapOvr>
    <a:masterClrMapping/>
  </p:clrMapOvr>
</p:sldLayout>
</file>

<file path=ppt/slideLayouts/slideLayout340.xml><?xml version="1.0" encoding="utf-8"?>
<p:sldLayout xmlns:a="http://schemas.openxmlformats.org/drawingml/2006/main" xmlns:r="http://schemas.openxmlformats.org/officeDocument/2006/relationships" xmlns:p="http://schemas.openxmlformats.org/presentationml/2006/main" userDrawn="1">
  <p:cSld name="8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2104847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02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53868785"/>
      </p:ext>
    </p:extLst>
  </p:cSld>
  <p:clrMapOvr>
    <a:masterClrMapping/>
  </p:clrMapOvr>
  <p:hf hdr="0" ftr="0" dt="0"/>
</p:sldLayout>
</file>

<file path=ppt/slideLayouts/slideLayout341.xml><?xml version="1.0" encoding="utf-8"?>
<p:sldLayout xmlns:a="http://schemas.openxmlformats.org/drawingml/2006/main" xmlns:r="http://schemas.openxmlformats.org/officeDocument/2006/relationships" xmlns:p="http://schemas.openxmlformats.org/presentationml/2006/main" userDrawn="1">
  <p:cSld name="8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4269967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12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72874182"/>
      </p:ext>
    </p:extLst>
  </p:cSld>
  <p:clrMapOvr>
    <a:masterClrMapping/>
  </p:clrMapOvr>
  <p:hf hdr="0" ftr="0" dt="0"/>
</p:sldLayout>
</file>

<file path=ppt/slideLayouts/slideLayout342.xml><?xml version="1.0" encoding="utf-8"?>
<p:sldLayout xmlns:a="http://schemas.openxmlformats.org/drawingml/2006/main" xmlns:r="http://schemas.openxmlformats.org/officeDocument/2006/relationships" xmlns:p="http://schemas.openxmlformats.org/presentationml/2006/main" userDrawn="1">
  <p:cSld name="8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0096439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22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83394993"/>
      </p:ext>
    </p:extLst>
  </p:cSld>
  <p:clrMapOvr>
    <a:masterClrMapping/>
  </p:clrMapOvr>
</p:sldLayout>
</file>

<file path=ppt/slideLayouts/slideLayout343.xml><?xml version="1.0" encoding="utf-8"?>
<p:sldLayout xmlns:a="http://schemas.openxmlformats.org/drawingml/2006/main" xmlns:r="http://schemas.openxmlformats.org/officeDocument/2006/relationships" xmlns:p="http://schemas.openxmlformats.org/presentationml/2006/main" userDrawn="1">
  <p:cSld name="8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981544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32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76459468"/>
      </p:ext>
    </p:extLst>
  </p:cSld>
  <p:clrMapOvr>
    <a:masterClrMapping/>
  </p:clrMapOvr>
  <p:hf hdr="0" ftr="0" dt="0"/>
</p:sldLayout>
</file>

<file path=ppt/slideLayouts/slideLayout344.xml><?xml version="1.0" encoding="utf-8"?>
<p:sldLayout xmlns:a="http://schemas.openxmlformats.org/drawingml/2006/main" xmlns:r="http://schemas.openxmlformats.org/officeDocument/2006/relationships" xmlns:p="http://schemas.openxmlformats.org/presentationml/2006/main" userDrawn="1">
  <p:cSld name="8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8883763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43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25529052"/>
      </p:ext>
    </p:extLst>
  </p:cSld>
  <p:clrMapOvr>
    <a:masterClrMapping/>
  </p:clrMapOvr>
  <p:hf hdr="0" ftr="0" dt="0"/>
</p:sldLayout>
</file>

<file path=ppt/slideLayouts/slideLayout345.xml><?xml version="1.0" encoding="utf-8"?>
<p:sldLayout xmlns:a="http://schemas.openxmlformats.org/drawingml/2006/main" xmlns:r="http://schemas.openxmlformats.org/officeDocument/2006/relationships" xmlns:p="http://schemas.openxmlformats.org/presentationml/2006/main" userDrawn="1">
  <p:cSld name="8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6701385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553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99324637"/>
      </p:ext>
    </p:extLst>
  </p:cSld>
  <p:clrMapOvr>
    <a:masterClrMapping/>
  </p:clrMapOvr>
</p:sldLayout>
</file>

<file path=ppt/slideLayouts/slideLayout346.xml><?xml version="1.0" encoding="utf-8"?>
<p:sldLayout xmlns:a="http://schemas.openxmlformats.org/drawingml/2006/main" xmlns:r="http://schemas.openxmlformats.org/officeDocument/2006/relationships" xmlns:p="http://schemas.openxmlformats.org/presentationml/2006/main" userDrawn="1">
  <p:cSld name="8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86460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63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81935873"/>
      </p:ext>
    </p:extLst>
  </p:cSld>
  <p:clrMapOvr>
    <a:masterClrMapping/>
  </p:clrMapOvr>
  <p:hf hdr="0" ftr="0" dt="0"/>
</p:sldLayout>
</file>

<file path=ppt/slideLayouts/slideLayout347.xml><?xml version="1.0" encoding="utf-8"?>
<p:sldLayout xmlns:a="http://schemas.openxmlformats.org/drawingml/2006/main" xmlns:r="http://schemas.openxmlformats.org/officeDocument/2006/relationships" xmlns:p="http://schemas.openxmlformats.org/presentationml/2006/main" userDrawn="1">
  <p:cSld name="8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474770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73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33259835"/>
      </p:ext>
    </p:extLst>
  </p:cSld>
  <p:clrMapOvr>
    <a:masterClrMapping/>
  </p:clrMapOvr>
</p:sldLayout>
</file>

<file path=ppt/slideLayouts/slideLayout348.xml><?xml version="1.0" encoding="utf-8"?>
<p:sldLayout xmlns:a="http://schemas.openxmlformats.org/drawingml/2006/main" xmlns:r="http://schemas.openxmlformats.org/officeDocument/2006/relationships" xmlns:p="http://schemas.openxmlformats.org/presentationml/2006/main" userDrawn="1">
  <p:cSld name="8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979417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72529146"/>
      </p:ext>
    </p:extLst>
  </p:cSld>
  <p:clrMapOvr>
    <a:masterClrMapping/>
  </p:clrMapOvr>
  <p:hf hdr="0" ftr="0" dt="0"/>
</p:sldLayout>
</file>

<file path=ppt/slideLayouts/slideLayout349.xml><?xml version="1.0" encoding="utf-8"?>
<p:sldLayout xmlns:a="http://schemas.openxmlformats.org/drawingml/2006/main" xmlns:r="http://schemas.openxmlformats.org/officeDocument/2006/relationships" xmlns:p="http://schemas.openxmlformats.org/presentationml/2006/main" userDrawn="1">
  <p:cSld name="8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16269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4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421264081"/>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4421-928D-DD4B-AC23-3FC6623062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D1927F-C337-DD41-8734-333E7594730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645DC0-0E3C-614A-875A-ED8E584ABB16}"/>
              </a:ext>
            </a:extLst>
          </p:cNvPr>
          <p:cNvSpPr>
            <a:spLocks noGrp="1"/>
          </p:cNvSpPr>
          <p:nvPr>
            <p:ph type="dt" sz="half" idx="10"/>
          </p:nvPr>
        </p:nvSpPr>
        <p:spPr>
          <a:xfrm>
            <a:off x="838200" y="6356350"/>
            <a:ext cx="2743200" cy="365125"/>
          </a:xfrm>
          <a:prstGeom prst="rect">
            <a:avLst/>
          </a:prstGeom>
        </p:spPr>
        <p:txBody>
          <a:bodyPr/>
          <a:lstStyle/>
          <a:p>
            <a:fld id="{26F7F99C-93F6-0647-A3CD-6ABFD02CB3F9}" type="datetime1">
              <a:rPr lang="en-US" smtClean="0"/>
              <a:t>9/17/2021</a:t>
            </a:fld>
            <a:endParaRPr lang="en-US"/>
          </a:p>
        </p:txBody>
      </p:sp>
      <p:sp>
        <p:nvSpPr>
          <p:cNvPr id="5" name="Footer Placeholder 4">
            <a:extLst>
              <a:ext uri="{FF2B5EF4-FFF2-40B4-BE49-F238E27FC236}">
                <a16:creationId xmlns:a16="http://schemas.microsoft.com/office/drawing/2014/main" id="{D755D6BC-CE41-BF4B-BC25-2D56E4676B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427A2E-C1AD-2C47-A08F-A20C90EF33A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792080841"/>
      </p:ext>
    </p:extLst>
  </p:cSld>
  <p:clrMapOvr>
    <a:masterClrMapping/>
  </p:clrMapOvr>
</p:sldLayout>
</file>

<file path=ppt/slideLayouts/slideLayout350.xml><?xml version="1.0" encoding="utf-8"?>
<p:sldLayout xmlns:a="http://schemas.openxmlformats.org/drawingml/2006/main" xmlns:r="http://schemas.openxmlformats.org/officeDocument/2006/relationships" xmlns:p="http://schemas.openxmlformats.org/presentationml/2006/main" userDrawn="1">
  <p:cSld name="9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74250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04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58497162"/>
      </p:ext>
    </p:extLst>
  </p:cSld>
  <p:clrMapOvr>
    <a:masterClrMapping/>
  </p:clrMapOvr>
</p:sldLayout>
</file>

<file path=ppt/slideLayouts/slideLayout351.xml><?xml version="1.0" encoding="utf-8"?>
<p:sldLayout xmlns:a="http://schemas.openxmlformats.org/drawingml/2006/main" xmlns:r="http://schemas.openxmlformats.org/officeDocument/2006/relationships" xmlns:p="http://schemas.openxmlformats.org/presentationml/2006/main" userDrawn="1">
  <p:cSld name="6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294893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14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64864363"/>
      </p:ext>
    </p:extLst>
  </p:cSld>
  <p:clrMapOvr>
    <a:masterClrMapping/>
  </p:clrMapOvr>
  <p:hf hdr="0" ftr="0" dt="0"/>
</p:sldLayout>
</file>

<file path=ppt/slideLayouts/slideLayout352.xml><?xml version="1.0" encoding="utf-8"?>
<p:sldLayout xmlns:a="http://schemas.openxmlformats.org/drawingml/2006/main" xmlns:r="http://schemas.openxmlformats.org/officeDocument/2006/relationships" xmlns:p="http://schemas.openxmlformats.org/presentationml/2006/main" userDrawn="1">
  <p:cSld name="6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4977799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24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10558388"/>
      </p:ext>
    </p:extLst>
  </p:cSld>
  <p:clrMapOvr>
    <a:masterClrMapping/>
  </p:clrMapOvr>
  <p:hf hdr="0" ftr="0" dt="0"/>
</p:sldLayout>
</file>

<file path=ppt/slideLayouts/slideLayout353.xml><?xml version="1.0" encoding="utf-8"?>
<p:sldLayout xmlns:a="http://schemas.openxmlformats.org/drawingml/2006/main" xmlns:r="http://schemas.openxmlformats.org/officeDocument/2006/relationships" xmlns:p="http://schemas.openxmlformats.org/presentationml/2006/main" userDrawn="1">
  <p:cSld name="6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38734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35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89801919"/>
      </p:ext>
    </p:extLst>
  </p:cSld>
  <p:clrMapOvr>
    <a:masterClrMapping/>
  </p:clrMapOvr>
  <p:hf hdr="0" ftr="0" dt="0"/>
</p:sldLayout>
</file>

<file path=ppt/slideLayouts/slideLayout354.xml><?xml version="1.0" encoding="utf-8"?>
<p:sldLayout xmlns:a="http://schemas.openxmlformats.org/drawingml/2006/main" xmlns:r="http://schemas.openxmlformats.org/officeDocument/2006/relationships" xmlns:p="http://schemas.openxmlformats.org/presentationml/2006/main" userDrawn="1">
  <p:cSld name="6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254109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45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6904360"/>
      </p:ext>
    </p:extLst>
  </p:cSld>
  <p:clrMapOvr>
    <a:masterClrMapping/>
  </p:clrMapOvr>
  <p:hf hdr="0" ftr="0" dt="0"/>
</p:sldLayout>
</file>

<file path=ppt/slideLayouts/slideLayout355.xml><?xml version="1.0" encoding="utf-8"?>
<p:sldLayout xmlns:a="http://schemas.openxmlformats.org/drawingml/2006/main" xmlns:r="http://schemas.openxmlformats.org/officeDocument/2006/relationships" xmlns:p="http://schemas.openxmlformats.org/presentationml/2006/main" userDrawn="1">
  <p:cSld name="6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255416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5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8194522"/>
      </p:ext>
    </p:extLst>
  </p:cSld>
  <p:clrMapOvr>
    <a:masterClrMapping/>
  </p:clrMapOvr>
</p:sldLayout>
</file>

<file path=ppt/slideLayouts/slideLayout356.xml><?xml version="1.0" encoding="utf-8"?>
<p:sldLayout xmlns:a="http://schemas.openxmlformats.org/drawingml/2006/main" xmlns:r="http://schemas.openxmlformats.org/officeDocument/2006/relationships" xmlns:p="http://schemas.openxmlformats.org/presentationml/2006/main" userDrawn="1">
  <p:cSld name="6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8153505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65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0131614"/>
      </p:ext>
    </p:extLst>
  </p:cSld>
  <p:clrMapOvr>
    <a:masterClrMapping/>
  </p:clrMapOvr>
</p:sldLayout>
</file>

<file path=ppt/slideLayouts/slideLayout357.xml><?xml version="1.0" encoding="utf-8"?>
<p:sldLayout xmlns:a="http://schemas.openxmlformats.org/drawingml/2006/main" xmlns:r="http://schemas.openxmlformats.org/officeDocument/2006/relationships" xmlns:p="http://schemas.openxmlformats.org/presentationml/2006/main" userDrawn="1">
  <p:cSld name="6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7107860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76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47538604"/>
      </p:ext>
    </p:extLst>
  </p:cSld>
  <p:clrMapOvr>
    <a:masterClrMapping/>
  </p:clrMapOvr>
  <p:hf hdr="0" ftr="0" dt="0"/>
</p:sldLayout>
</file>

<file path=ppt/slideLayouts/slideLayout358.xml><?xml version="1.0" encoding="utf-8"?>
<p:sldLayout xmlns:a="http://schemas.openxmlformats.org/drawingml/2006/main" xmlns:r="http://schemas.openxmlformats.org/officeDocument/2006/relationships" xmlns:p="http://schemas.openxmlformats.org/presentationml/2006/main" userDrawn="1">
  <p:cSld name="6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5022033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86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2967828"/>
      </p:ext>
    </p:extLst>
  </p:cSld>
  <p:clrMapOvr>
    <a:masterClrMapping/>
  </p:clrMapOvr>
  <p:hf hdr="0" ftr="0" dt="0"/>
</p:sldLayout>
</file>

<file path=ppt/slideLayouts/slideLayout359.xml><?xml version="1.0" encoding="utf-8"?>
<p:sldLayout xmlns:a="http://schemas.openxmlformats.org/drawingml/2006/main" xmlns:r="http://schemas.openxmlformats.org/officeDocument/2006/relationships" xmlns:p="http://schemas.openxmlformats.org/presentationml/2006/main" userDrawn="1">
  <p:cSld name="7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21214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696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3914705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6A663D-EC99-4A40-AA7A-FA6C2D991B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ECB103-FE98-2943-B31A-2E66F89430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3B0E2-5FCB-D444-8926-735935563EBE}"/>
              </a:ext>
            </a:extLst>
          </p:cNvPr>
          <p:cNvSpPr>
            <a:spLocks noGrp="1"/>
          </p:cNvSpPr>
          <p:nvPr>
            <p:ph type="dt" sz="half" idx="10"/>
          </p:nvPr>
        </p:nvSpPr>
        <p:spPr>
          <a:xfrm>
            <a:off x="838200" y="6356350"/>
            <a:ext cx="2743200" cy="365125"/>
          </a:xfrm>
          <a:prstGeom prst="rect">
            <a:avLst/>
          </a:prstGeom>
        </p:spPr>
        <p:txBody>
          <a:bodyPr/>
          <a:lstStyle/>
          <a:p>
            <a:fld id="{AEC2BE19-7675-4F45-98F8-E75FCBAE0386}" type="datetime1">
              <a:rPr lang="en-US" smtClean="0"/>
              <a:t>9/17/2021</a:t>
            </a:fld>
            <a:endParaRPr lang="en-US"/>
          </a:p>
        </p:txBody>
      </p:sp>
      <p:sp>
        <p:nvSpPr>
          <p:cNvPr id="5" name="Footer Placeholder 4">
            <a:extLst>
              <a:ext uri="{FF2B5EF4-FFF2-40B4-BE49-F238E27FC236}">
                <a16:creationId xmlns:a16="http://schemas.microsoft.com/office/drawing/2014/main" id="{71D06484-E089-4E49-A34C-2DD65BE950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1C85AEC-7D68-FC48-8935-07938F8A43D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53640309"/>
      </p:ext>
    </p:extLst>
  </p:cSld>
  <p:clrMapOvr>
    <a:masterClrMapping/>
  </p:clrMapOvr>
</p:sldLayout>
</file>

<file path=ppt/slideLayouts/slideLayout360.xml><?xml version="1.0" encoding="utf-8"?>
<p:sldLayout xmlns:a="http://schemas.openxmlformats.org/drawingml/2006/main" xmlns:r="http://schemas.openxmlformats.org/officeDocument/2006/relationships" xmlns:p="http://schemas.openxmlformats.org/presentationml/2006/main" userDrawn="1">
  <p:cSld name="7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98389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06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70772957"/>
      </p:ext>
    </p:extLst>
  </p:cSld>
  <p:clrMapOvr>
    <a:masterClrMapping/>
  </p:clrMapOvr>
  <p:hf hdr="0" ftr="0" dt="0"/>
</p:sldLayout>
</file>

<file path=ppt/slideLayouts/slideLayout361.xml><?xml version="1.0" encoding="utf-8"?>
<p:sldLayout xmlns:a="http://schemas.openxmlformats.org/drawingml/2006/main" xmlns:r="http://schemas.openxmlformats.org/officeDocument/2006/relationships" xmlns:p="http://schemas.openxmlformats.org/presentationml/2006/main" userDrawn="1">
  <p:cSld name="7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31540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17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44501734"/>
      </p:ext>
    </p:extLst>
  </p:cSld>
  <p:clrMapOvr>
    <a:masterClrMapping/>
  </p:clrMapOvr>
  <p:hf hdr="0" ftr="0" dt="0"/>
</p:sldLayout>
</file>

<file path=ppt/slideLayouts/slideLayout362.xml><?xml version="1.0" encoding="utf-8"?>
<p:sldLayout xmlns:a="http://schemas.openxmlformats.org/drawingml/2006/main" xmlns:r="http://schemas.openxmlformats.org/officeDocument/2006/relationships" xmlns:p="http://schemas.openxmlformats.org/presentationml/2006/main" userDrawn="1">
  <p:cSld name="7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8309329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727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208171795"/>
      </p:ext>
    </p:extLst>
  </p:cSld>
  <p:clrMapOvr>
    <a:masterClrMapping/>
  </p:clrMapOvr>
  <p:hf hdr="0" ftr="0" dt="0"/>
</p:sldLayout>
</file>

<file path=ppt/slideLayouts/slideLayout363.xml><?xml version="1.0" encoding="utf-8"?>
<p:sldLayout xmlns:a="http://schemas.openxmlformats.org/drawingml/2006/main" xmlns:r="http://schemas.openxmlformats.org/officeDocument/2006/relationships" xmlns:p="http://schemas.openxmlformats.org/presentationml/2006/main" userDrawn="1">
  <p:cSld name="7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9111372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737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44200639"/>
      </p:ext>
    </p:extLst>
  </p:cSld>
  <p:clrMapOvr>
    <a:masterClrMapping/>
  </p:clrMapOvr>
  <p:hf hdr="0" ftr="0" dt="0"/>
</p:sldLayout>
</file>

<file path=ppt/slideLayouts/slideLayout364.xml><?xml version="1.0" encoding="utf-8"?>
<p:sldLayout xmlns:a="http://schemas.openxmlformats.org/drawingml/2006/main" xmlns:r="http://schemas.openxmlformats.org/officeDocument/2006/relationships" xmlns:p="http://schemas.openxmlformats.org/presentationml/2006/main" userDrawn="1">
  <p:cSld name="7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71352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747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37089289"/>
      </p:ext>
    </p:extLst>
  </p:cSld>
  <p:clrMapOvr>
    <a:masterClrMapping/>
  </p:clrMapOvr>
</p:sldLayout>
</file>

<file path=ppt/slideLayouts/slideLayout365.xml><?xml version="1.0" encoding="utf-8"?>
<p:sldLayout xmlns:a="http://schemas.openxmlformats.org/drawingml/2006/main" xmlns:r="http://schemas.openxmlformats.org/officeDocument/2006/relationships" xmlns:p="http://schemas.openxmlformats.org/presentationml/2006/main" userDrawn="1">
  <p:cSld name="7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0095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58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41245174"/>
      </p:ext>
    </p:extLst>
  </p:cSld>
  <p:clrMapOvr>
    <a:masterClrMapping/>
  </p:clrMapOvr>
  <p:hf hdr="0" ftr="0" dt="0"/>
</p:sldLayout>
</file>

<file path=ppt/slideLayouts/slideLayout366.xml><?xml version="1.0" encoding="utf-8"?>
<p:sldLayout xmlns:a="http://schemas.openxmlformats.org/drawingml/2006/main" xmlns:r="http://schemas.openxmlformats.org/officeDocument/2006/relationships" xmlns:p="http://schemas.openxmlformats.org/presentationml/2006/main" userDrawn="1">
  <p:cSld name="7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53557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68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85151341"/>
      </p:ext>
    </p:extLst>
  </p:cSld>
  <p:clrMapOvr>
    <a:masterClrMapping/>
  </p:clrMapOvr>
  <p:hf hdr="0" ftr="0" dt="0"/>
</p:sldLayout>
</file>

<file path=ppt/slideLayouts/slideLayout367.xml><?xml version="1.0" encoding="utf-8"?>
<p:sldLayout xmlns:a="http://schemas.openxmlformats.org/drawingml/2006/main" xmlns:r="http://schemas.openxmlformats.org/officeDocument/2006/relationships" xmlns:p="http://schemas.openxmlformats.org/presentationml/2006/main" userDrawn="1">
  <p:cSld name="7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5076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78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468281668"/>
      </p:ext>
    </p:extLst>
  </p:cSld>
  <p:clrMapOvr>
    <a:masterClrMapping/>
  </p:clrMapOvr>
</p:sldLayout>
</file>

<file path=ppt/slideLayouts/slideLayout368.xml><?xml version="1.0" encoding="utf-8"?>
<p:sldLayout xmlns:a="http://schemas.openxmlformats.org/drawingml/2006/main" xmlns:r="http://schemas.openxmlformats.org/officeDocument/2006/relationships" xmlns:p="http://schemas.openxmlformats.org/presentationml/2006/main" userDrawn="1">
  <p:cSld name="7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9617505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788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36629758"/>
      </p:ext>
    </p:extLst>
  </p:cSld>
  <p:clrMapOvr>
    <a:masterClrMapping/>
  </p:clrMapOvr>
  <p:hf hdr="0" ftr="0" dt="0"/>
</p:sldLayout>
</file>

<file path=ppt/slideLayouts/slideLayout369.xml><?xml version="1.0" encoding="utf-8"?>
<p:sldLayout xmlns:a="http://schemas.openxmlformats.org/drawingml/2006/main" xmlns:r="http://schemas.openxmlformats.org/officeDocument/2006/relationships" xmlns:p="http://schemas.openxmlformats.org/presentationml/2006/main" userDrawn="1">
  <p:cSld name="8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4529502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799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46246486"/>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980951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13228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19538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178178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E7B4FFE7-DDA4-46AE-910C-AFC9712FA38D}"/>
              </a:ext>
            </a:extLst>
          </p:cNvPr>
          <p:cNvSpPr/>
          <p:nvPr/>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hord 9">
            <a:extLst>
              <a:ext uri="{FF2B5EF4-FFF2-40B4-BE49-F238E27FC236}">
                <a16:creationId xmlns:a16="http://schemas.microsoft.com/office/drawing/2014/main" id="{F38B96C9-1FF5-4C32-8F78-F8FC0B733668}"/>
              </a:ext>
            </a:extLst>
          </p:cNvPr>
          <p:cNvSpPr/>
          <p:nvPr/>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81EFFA1-85F2-4556-81C3-7DA40F141E04}"/>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8DB78B1-AC2B-4AE3-968A-E358873C8C7D}"/>
              </a:ext>
            </a:extLst>
          </p:cNvPr>
          <p:cNvPicPr>
            <a:picLocks noChangeAspect="1"/>
          </p:cNvPicPr>
          <p:nvPr userDrawn="1"/>
        </p:nvPicPr>
        <p:blipFill>
          <a:blip r:embed="rId10"/>
          <a:stretch>
            <a:fillRect/>
          </a:stretch>
        </p:blipFill>
        <p:spPr bwMode="ltGray">
          <a:xfrm>
            <a:off x="553972" y="6307972"/>
            <a:ext cx="2927350" cy="380882"/>
          </a:xfrm>
          <a:prstGeom prst="rect">
            <a:avLst/>
          </a:prstGeom>
        </p:spPr>
      </p:pic>
      <p:pic>
        <p:nvPicPr>
          <p:cNvPr id="19" name="Picture 13" descr="Governor Newsom Launches “Vaccinate All 58” Campaign based on Safety and  Equity as First Vaccines Arrive to California | California Governor">
            <a:extLst>
              <a:ext uri="{FF2B5EF4-FFF2-40B4-BE49-F238E27FC236}">
                <a16:creationId xmlns:a16="http://schemas.microsoft.com/office/drawing/2014/main" id="{70740478-4937-4504-A627-B86ED7AF69E1}"/>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82504845"/>
      </p:ext>
    </p:extLst>
  </p:cSld>
  <p:clrMapOvr>
    <a:masterClrMapping/>
  </p:clrMapOvr>
</p:sldLayout>
</file>

<file path=ppt/slideLayouts/slideLayout370.xml><?xml version="1.0" encoding="utf-8"?>
<p:sldLayout xmlns:a="http://schemas.openxmlformats.org/drawingml/2006/main" xmlns:r="http://schemas.openxmlformats.org/officeDocument/2006/relationships" xmlns:p="http://schemas.openxmlformats.org/presentationml/2006/main" userDrawn="1">
  <p:cSld name="8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9484218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809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15638938"/>
      </p:ext>
    </p:extLst>
  </p:cSld>
  <p:clrMapOvr>
    <a:masterClrMapping/>
  </p:clrMapOvr>
</p:sldLayout>
</file>

<file path=ppt/slideLayouts/slideLayout371.xml><?xml version="1.0" encoding="utf-8"?>
<p:sldLayout xmlns:a="http://schemas.openxmlformats.org/drawingml/2006/main" xmlns:r="http://schemas.openxmlformats.org/officeDocument/2006/relationships" xmlns:p="http://schemas.openxmlformats.org/presentationml/2006/main" userDrawn="1">
  <p:cSld name="8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81598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19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02210583"/>
      </p:ext>
    </p:extLst>
  </p:cSld>
  <p:clrMapOvr>
    <a:masterClrMapping/>
  </p:clrMapOvr>
  <p:hf hdr="0" ftr="0" dt="0"/>
</p:sldLayout>
</file>

<file path=ppt/slideLayouts/slideLayout372.xml><?xml version="1.0" encoding="utf-8"?>
<p:sldLayout xmlns:a="http://schemas.openxmlformats.org/drawingml/2006/main" xmlns:r="http://schemas.openxmlformats.org/officeDocument/2006/relationships" xmlns:p="http://schemas.openxmlformats.org/presentationml/2006/main" userDrawn="1">
  <p:cSld name="8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55869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29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37209054"/>
      </p:ext>
    </p:extLst>
  </p:cSld>
  <p:clrMapOvr>
    <a:masterClrMapping/>
  </p:clrMapOvr>
  <p:hf hdr="0" ftr="0" dt="0"/>
</p:sldLayout>
</file>

<file path=ppt/slideLayouts/slideLayout373.xml><?xml version="1.0" encoding="utf-8"?>
<p:sldLayout xmlns:a="http://schemas.openxmlformats.org/drawingml/2006/main" xmlns:r="http://schemas.openxmlformats.org/officeDocument/2006/relationships" xmlns:p="http://schemas.openxmlformats.org/presentationml/2006/main" userDrawn="1">
  <p:cSld name="8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07973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40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05787739"/>
      </p:ext>
    </p:extLst>
  </p:cSld>
  <p:clrMapOvr>
    <a:masterClrMapping/>
  </p:clrMapOvr>
</p:sldLayout>
</file>

<file path=ppt/slideLayouts/slideLayout374.xml><?xml version="1.0" encoding="utf-8"?>
<p:sldLayout xmlns:a="http://schemas.openxmlformats.org/drawingml/2006/main" xmlns:r="http://schemas.openxmlformats.org/officeDocument/2006/relationships" xmlns:p="http://schemas.openxmlformats.org/presentationml/2006/main" userDrawn="1">
  <p:cSld name="8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867626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50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50474371"/>
      </p:ext>
    </p:extLst>
  </p:cSld>
  <p:clrMapOvr>
    <a:masterClrMapping/>
  </p:clrMapOvr>
</p:sldLayout>
</file>

<file path=ppt/slideLayouts/slideLayout375.xml><?xml version="1.0" encoding="utf-8"?>
<p:sldLayout xmlns:a="http://schemas.openxmlformats.org/drawingml/2006/main" xmlns:r="http://schemas.openxmlformats.org/officeDocument/2006/relationships" xmlns:p="http://schemas.openxmlformats.org/presentationml/2006/main" userDrawn="1">
  <p:cSld name="8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295388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860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71094049"/>
      </p:ext>
    </p:extLst>
  </p:cSld>
  <p:clrMapOvr>
    <a:masterClrMapping/>
  </p:clrMapOvr>
  <p:hf hdr="0" ftr="0" dt="0"/>
</p:sldLayout>
</file>

<file path=ppt/slideLayouts/slideLayout376.xml><?xml version="1.0" encoding="utf-8"?>
<p:sldLayout xmlns:a="http://schemas.openxmlformats.org/drawingml/2006/main" xmlns:r="http://schemas.openxmlformats.org/officeDocument/2006/relationships" xmlns:p="http://schemas.openxmlformats.org/presentationml/2006/main" userDrawn="1">
  <p:cSld name="8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770333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870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91738487"/>
      </p:ext>
    </p:extLst>
  </p:cSld>
  <p:clrMapOvr>
    <a:masterClrMapping/>
  </p:clrMapOvr>
  <p:hf hdr="0" ftr="0" dt="0"/>
</p:sldLayout>
</file>

<file path=ppt/slideLayouts/slideLayout377.xml><?xml version="1.0" encoding="utf-8"?>
<p:sldLayout xmlns:a="http://schemas.openxmlformats.org/drawingml/2006/main" xmlns:r="http://schemas.openxmlformats.org/officeDocument/2006/relationships" xmlns:p="http://schemas.openxmlformats.org/presentationml/2006/main" userDrawn="1">
  <p:cSld name="9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198409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80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90399130"/>
      </p:ext>
    </p:extLst>
  </p:cSld>
  <p:clrMapOvr>
    <a:masterClrMapping/>
  </p:clrMapOvr>
  <p:hf hdr="0" ftr="0" dt="0"/>
</p:sldLayout>
</file>

<file path=ppt/slideLayouts/slideLayout378.xml><?xml version="1.0" encoding="utf-8"?>
<p:sldLayout xmlns:a="http://schemas.openxmlformats.org/drawingml/2006/main" xmlns:r="http://schemas.openxmlformats.org/officeDocument/2006/relationships" xmlns:p="http://schemas.openxmlformats.org/presentationml/2006/main" userDrawn="1">
  <p:cSld name="9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59933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07672205"/>
      </p:ext>
    </p:extLst>
  </p:cSld>
  <p:clrMapOvr>
    <a:masterClrMapping/>
  </p:clrMapOvr>
  <p:hf hdr="0" ftr="0" dt="0"/>
</p:sldLayout>
</file>

<file path=ppt/slideLayouts/slideLayout379.xml><?xml version="1.0" encoding="utf-8"?>
<p:sldLayout xmlns:a="http://schemas.openxmlformats.org/drawingml/2006/main" xmlns:r="http://schemas.openxmlformats.org/officeDocument/2006/relationships" xmlns:p="http://schemas.openxmlformats.org/presentationml/2006/main" userDrawn="1">
  <p:cSld name="9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986149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01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477453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sldLayout>
</file>

<file path=ppt/slideLayouts/slideLayout380.xml><?xml version="1.0" encoding="utf-8"?>
<p:sldLayout xmlns:a="http://schemas.openxmlformats.org/drawingml/2006/main" xmlns:r="http://schemas.openxmlformats.org/officeDocument/2006/relationships" xmlns:p="http://schemas.openxmlformats.org/presentationml/2006/main" userDrawn="1">
  <p:cSld name="9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4058128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911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96907950"/>
      </p:ext>
    </p:extLst>
  </p:cSld>
  <p:clrMapOvr>
    <a:masterClrMapping/>
  </p:clrMapOvr>
</p:sldLayout>
</file>

<file path=ppt/slideLayouts/slideLayout381.xml><?xml version="1.0" encoding="utf-8"?>
<p:sldLayout xmlns:a="http://schemas.openxmlformats.org/drawingml/2006/main" xmlns:r="http://schemas.openxmlformats.org/officeDocument/2006/relationships" xmlns:p="http://schemas.openxmlformats.org/presentationml/2006/main" userDrawn="1">
  <p:cSld name="9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1168244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921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28538853"/>
      </p:ext>
    </p:extLst>
  </p:cSld>
  <p:clrMapOvr>
    <a:masterClrMapping/>
  </p:clrMapOvr>
  <p:hf hdr="0" ftr="0" dt="0"/>
</p:sldLayout>
</file>

<file path=ppt/slideLayouts/slideLayout382.xml><?xml version="1.0" encoding="utf-8"?>
<p:sldLayout xmlns:a="http://schemas.openxmlformats.org/drawingml/2006/main" xmlns:r="http://schemas.openxmlformats.org/officeDocument/2006/relationships" xmlns:p="http://schemas.openxmlformats.org/presentationml/2006/main" userDrawn="1">
  <p:cSld name="9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6434838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932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65873419"/>
      </p:ext>
    </p:extLst>
  </p:cSld>
  <p:clrMapOvr>
    <a:masterClrMapping/>
  </p:clrMapOvr>
  <p:hf hdr="0" ftr="0" dt="0"/>
</p:sldLayout>
</file>

<file path=ppt/slideLayouts/slideLayout383.xml><?xml version="1.0" encoding="utf-8"?>
<p:sldLayout xmlns:a="http://schemas.openxmlformats.org/drawingml/2006/main" xmlns:r="http://schemas.openxmlformats.org/officeDocument/2006/relationships" xmlns:p="http://schemas.openxmlformats.org/presentationml/2006/main" userDrawn="1">
  <p:cSld name="9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4703311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942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78389039"/>
      </p:ext>
    </p:extLst>
  </p:cSld>
  <p:clrMapOvr>
    <a:masterClrMapping/>
  </p:clrMapOvr>
</p:sldLayout>
</file>

<file path=ppt/slideLayouts/slideLayout384.xml><?xml version="1.0" encoding="utf-8"?>
<p:sldLayout xmlns:a="http://schemas.openxmlformats.org/drawingml/2006/main" xmlns:r="http://schemas.openxmlformats.org/officeDocument/2006/relationships" xmlns:p="http://schemas.openxmlformats.org/presentationml/2006/main" userDrawn="1">
  <p:cSld name="9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79935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52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25615906"/>
      </p:ext>
    </p:extLst>
  </p:cSld>
  <p:clrMapOvr>
    <a:masterClrMapping/>
  </p:clrMapOvr>
  <p:hf hdr="0" ftr="0" dt="0"/>
</p:sldLayout>
</file>

<file path=ppt/slideLayouts/slideLayout385.xml><?xml version="1.0" encoding="utf-8"?>
<p:sldLayout xmlns:a="http://schemas.openxmlformats.org/drawingml/2006/main" xmlns:r="http://schemas.openxmlformats.org/officeDocument/2006/relationships" xmlns:p="http://schemas.openxmlformats.org/presentationml/2006/main" userDrawn="1">
  <p:cSld name="9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59450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62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55079239"/>
      </p:ext>
    </p:extLst>
  </p:cSld>
  <p:clrMapOvr>
    <a:masterClrMapping/>
  </p:clrMapOvr>
</p:sldLayout>
</file>

<file path=ppt/slideLayouts/slideLayout386.xml><?xml version="1.0" encoding="utf-8"?>
<p:sldLayout xmlns:a="http://schemas.openxmlformats.org/drawingml/2006/main" xmlns:r="http://schemas.openxmlformats.org/officeDocument/2006/relationships" xmlns:p="http://schemas.openxmlformats.org/presentationml/2006/main" userDrawn="1">
  <p:cSld name="9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42583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3973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87433907"/>
      </p:ext>
    </p:extLst>
  </p:cSld>
  <p:clrMapOvr>
    <a:masterClrMapping/>
  </p:clrMapOvr>
  <p:hf hdr="0" ftr="0" dt="0"/>
</p:sldLayout>
</file>

<file path=ppt/slideLayouts/slideLayout387.xml><?xml version="1.0" encoding="utf-8"?>
<p:sldLayout xmlns:a="http://schemas.openxmlformats.org/drawingml/2006/main" xmlns:r="http://schemas.openxmlformats.org/officeDocument/2006/relationships" xmlns:p="http://schemas.openxmlformats.org/presentationml/2006/main" userDrawn="1">
  <p:cSld name="10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30049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83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48599050"/>
      </p:ext>
    </p:extLst>
  </p:cSld>
  <p:clrMapOvr>
    <a:masterClrMapping/>
  </p:clrMapOvr>
  <p:hf hdr="0" ftr="0" dt="0"/>
</p:sldLayout>
</file>

<file path=ppt/slideLayouts/slideLayout388.xml><?xml version="1.0" encoding="utf-8"?>
<p:sldLayout xmlns:a="http://schemas.openxmlformats.org/drawingml/2006/main" xmlns:r="http://schemas.openxmlformats.org/officeDocument/2006/relationships" xmlns:p="http://schemas.openxmlformats.org/presentationml/2006/main" userDrawn="1">
  <p:cSld name="10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76090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88495912"/>
      </p:ext>
    </p:extLst>
  </p:cSld>
  <p:clrMapOvr>
    <a:masterClrMapping/>
  </p:clrMapOvr>
  <p:hf hdr="0" ftr="0" dt="0"/>
</p:sldLayout>
</file>

<file path=ppt/slideLayouts/slideLayout389.xml><?xml version="1.0" encoding="utf-8"?>
<p:sldLayout xmlns:a="http://schemas.openxmlformats.org/drawingml/2006/main" xmlns:r="http://schemas.openxmlformats.org/officeDocument/2006/relationships" xmlns:p="http://schemas.openxmlformats.org/presentationml/2006/main" userDrawn="1">
  <p:cSld name="10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2785014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03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38868269"/>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1"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721213148"/>
      </p:ext>
    </p:extLst>
  </p:cSld>
  <p:clrMapOvr>
    <a:masterClrMapping/>
  </p:clrMapOvr>
</p:sldLayout>
</file>

<file path=ppt/slideLayouts/slideLayout390.xml><?xml version="1.0" encoding="utf-8"?>
<p:sldLayout xmlns:a="http://schemas.openxmlformats.org/drawingml/2006/main" xmlns:r="http://schemas.openxmlformats.org/officeDocument/2006/relationships" xmlns:p="http://schemas.openxmlformats.org/presentationml/2006/main" userDrawn="1">
  <p:cSld name="10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582840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14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54560789"/>
      </p:ext>
    </p:extLst>
  </p:cSld>
  <p:clrMapOvr>
    <a:masterClrMapping/>
  </p:clrMapOvr>
</p:sldLayout>
</file>

<file path=ppt/slideLayouts/slideLayout391.xml><?xml version="1.0" encoding="utf-8"?>
<p:sldLayout xmlns:a="http://schemas.openxmlformats.org/drawingml/2006/main" xmlns:r="http://schemas.openxmlformats.org/officeDocument/2006/relationships" xmlns:p="http://schemas.openxmlformats.org/presentationml/2006/main" userDrawn="1">
  <p:cSld name="10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737808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24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47478953"/>
      </p:ext>
    </p:extLst>
  </p:cSld>
  <p:clrMapOvr>
    <a:masterClrMapping/>
  </p:clrMapOvr>
</p:sldLayout>
</file>

<file path=ppt/slideLayouts/slideLayout392.xml><?xml version="1.0" encoding="utf-8"?>
<p:sldLayout xmlns:a="http://schemas.openxmlformats.org/drawingml/2006/main" xmlns:r="http://schemas.openxmlformats.org/officeDocument/2006/relationships" xmlns:p="http://schemas.openxmlformats.org/presentationml/2006/main" userDrawn="1">
  <p:cSld name="10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777631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34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74407668"/>
      </p:ext>
    </p:extLst>
  </p:cSld>
  <p:clrMapOvr>
    <a:masterClrMapping/>
  </p:clrMapOvr>
  <p:hf hdr="0" ftr="0" dt="0"/>
</p:sldLayout>
</file>

<file path=ppt/slideLayouts/slideLayout393.xml><?xml version="1.0" encoding="utf-8"?>
<p:sldLayout xmlns:a="http://schemas.openxmlformats.org/drawingml/2006/main" xmlns:r="http://schemas.openxmlformats.org/officeDocument/2006/relationships" xmlns:p="http://schemas.openxmlformats.org/presentationml/2006/main" userDrawn="1">
  <p:cSld name="10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8896478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44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18284049"/>
      </p:ext>
    </p:extLst>
  </p:cSld>
  <p:clrMapOvr>
    <a:masterClrMapping/>
  </p:clrMapOvr>
  <p:hf hdr="0" ftr="0" dt="0"/>
</p:sldLayout>
</file>

<file path=ppt/slideLayouts/slideLayout394.xml><?xml version="1.0" encoding="utf-8"?>
<p:sldLayout xmlns:a="http://schemas.openxmlformats.org/drawingml/2006/main" xmlns:r="http://schemas.openxmlformats.org/officeDocument/2006/relationships" xmlns:p="http://schemas.openxmlformats.org/presentationml/2006/main" userDrawn="1">
  <p:cSld name="10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061179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55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51482523"/>
      </p:ext>
    </p:extLst>
  </p:cSld>
  <p:clrMapOvr>
    <a:masterClrMapping/>
  </p:clrMapOvr>
</p:sldLayout>
</file>

<file path=ppt/slideLayouts/slideLayout395.xml><?xml version="1.0" encoding="utf-8"?>
<p:sldLayout xmlns:a="http://schemas.openxmlformats.org/drawingml/2006/main" xmlns:r="http://schemas.openxmlformats.org/officeDocument/2006/relationships" xmlns:p="http://schemas.openxmlformats.org/presentationml/2006/main" userDrawn="1">
  <p:cSld name="10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575400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65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05471374"/>
      </p:ext>
    </p:extLst>
  </p:cSld>
  <p:clrMapOvr>
    <a:masterClrMapping/>
  </p:clrMapOvr>
</p:sldLayout>
</file>

<file path=ppt/slideLayouts/slideLayout396.xml><?xml version="1.0" encoding="utf-8"?>
<p:sldLayout xmlns:a="http://schemas.openxmlformats.org/drawingml/2006/main" xmlns:r="http://schemas.openxmlformats.org/officeDocument/2006/relationships" xmlns:p="http://schemas.openxmlformats.org/presentationml/2006/main" userDrawn="1">
  <p:cSld name="10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904442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75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38040776"/>
      </p:ext>
    </p:extLst>
  </p:cSld>
  <p:clrMapOvr>
    <a:masterClrMapping/>
  </p:clrMapOvr>
  <p:hf hdr="0" ftr="0" dt="0"/>
</p:sldLayout>
</file>

<file path=ppt/slideLayouts/slideLayout397.xml><?xml version="1.0" encoding="utf-8"?>
<p:sldLayout xmlns:a="http://schemas.openxmlformats.org/drawingml/2006/main" xmlns:r="http://schemas.openxmlformats.org/officeDocument/2006/relationships" xmlns:p="http://schemas.openxmlformats.org/presentationml/2006/main" userDrawn="1">
  <p:cSld name="11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894015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85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80919882"/>
      </p:ext>
    </p:extLst>
  </p:cSld>
  <p:clrMapOvr>
    <a:masterClrMapping/>
  </p:clrMapOvr>
  <p:hf hdr="0" ftr="0" dt="0"/>
</p:sldLayout>
</file>

<file path=ppt/slideLayouts/slideLayout398.xml><?xml version="1.0" encoding="utf-8"?>
<p:sldLayout xmlns:a="http://schemas.openxmlformats.org/drawingml/2006/main" xmlns:r="http://schemas.openxmlformats.org/officeDocument/2006/relationships" xmlns:p="http://schemas.openxmlformats.org/presentationml/2006/main" userDrawn="1">
  <p:cSld name="11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081378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096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443852591"/>
      </p:ext>
    </p:extLst>
  </p:cSld>
  <p:clrMapOvr>
    <a:masterClrMapping/>
  </p:clrMapOvr>
</p:sldLayout>
</file>

<file path=ppt/slideLayouts/slideLayout399.xml><?xml version="1.0" encoding="utf-8"?>
<p:sldLayout xmlns:a="http://schemas.openxmlformats.org/drawingml/2006/main" xmlns:r="http://schemas.openxmlformats.org/officeDocument/2006/relationships" xmlns:p="http://schemas.openxmlformats.org/presentationml/2006/main" userDrawn="1">
  <p:cSld name="11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967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17949484"/>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326133213"/>
      </p:ext>
    </p:extLst>
  </p:cSld>
  <p:clrMapOvr>
    <a:masterClrMapping/>
  </p:clrMapOvr>
  <p:hf hdr="0" ftr="0" dt="0"/>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I column content">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a:xfrm>
            <a:off x="554736" y="2170800"/>
            <a:ext cx="2484655" cy="2046714"/>
          </a:xfrm>
        </p:spPr>
        <p:txBody>
          <a:bodyPr/>
          <a:lstStyle>
            <a:lvl2pPr>
              <a:defRPr/>
            </a:lvl2pPr>
          </a:lstStyle>
          <a:p>
            <a:r>
              <a:rPr lang="en-US"/>
              <a:t>First level bullet, century gothic, 18pt, blue bullet</a:t>
            </a:r>
          </a:p>
          <a:p>
            <a:pPr lvl="1"/>
            <a:r>
              <a:rPr lang="en-US"/>
              <a:t>Second level bullet, century gothic, 16pt, dark blue bullet</a:t>
            </a:r>
          </a:p>
          <a:p>
            <a:pPr lvl="2"/>
            <a:r>
              <a:rPr lang="en-US"/>
              <a:t>Third level bullet, century gothic, 14pt, grey bullet</a:t>
            </a:r>
          </a:p>
        </p:txBody>
      </p:sp>
      <p:sp>
        <p:nvSpPr>
          <p:cNvPr id="4" name="Title 1"/>
          <p:cNvSpPr>
            <a:spLocks noGrp="1"/>
          </p:cNvSpPr>
          <p:nvPr>
            <p:ph type="title" hasCustomPrompt="1"/>
          </p:nvPr>
        </p:nvSpPr>
        <p:spPr>
          <a:xfrm>
            <a:off x="609600" y="274638"/>
            <a:ext cx="10972800" cy="591950"/>
          </a:xfrm>
        </p:spPr>
        <p:txBody>
          <a:bodyPr anchor="t" anchorCtr="0">
            <a:noAutofit/>
          </a:bodyPr>
          <a:lstStyle>
            <a:lvl1pPr>
              <a:defRPr sz="2400" b="1" baseline="0">
                <a:solidFill>
                  <a:schemeClr val="tx2"/>
                </a:solidFill>
              </a:defRPr>
            </a:lvl1pPr>
          </a:lstStyle>
          <a:p>
            <a:r>
              <a:rPr lang="en-US"/>
              <a:t>1-column layout title 28pt Century Gothic bold </a:t>
            </a:r>
          </a:p>
        </p:txBody>
      </p:sp>
    </p:spTree>
    <p:extLst>
      <p:ext uri="{BB962C8B-B14F-4D97-AF65-F5344CB8AC3E}">
        <p14:creationId xmlns:p14="http://schemas.microsoft.com/office/powerpoint/2010/main" val="3728938682"/>
      </p:ext>
    </p:extLst>
  </p:cSld>
  <p:clrMapOvr>
    <a:masterClrMapping/>
  </p:clrMapOvr>
  <mc:AlternateContent xmlns:mc="http://schemas.openxmlformats.org/markup-compatibility/2006">
    <mc:Choice xmlns:p14="http://schemas.microsoft.com/office/powerpoint/2010/main" Requires="p14">
      <p:transition p14:dur="400">
        <p:fade/>
      </p:transition>
    </mc:Choice>
    <mc:Fallback>
      <p:transition>
        <p:fade/>
      </p:transition>
    </mc:Fallback>
  </mc:AlternateContent>
</p:sldLayout>
</file>

<file path=ppt/slideLayouts/slideLayout400.xml><?xml version="1.0" encoding="utf-8"?>
<p:sldLayout xmlns:a="http://schemas.openxmlformats.org/drawingml/2006/main" xmlns:r="http://schemas.openxmlformats.org/officeDocument/2006/relationships" xmlns:p="http://schemas.openxmlformats.org/presentationml/2006/main" userDrawn="1">
  <p:cSld name="11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997080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16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53588215"/>
      </p:ext>
    </p:extLst>
  </p:cSld>
  <p:clrMapOvr>
    <a:masterClrMapping/>
  </p:clrMapOvr>
  <p:hf hdr="0" ftr="0" dt="0"/>
</p:sldLayout>
</file>

<file path=ppt/slideLayouts/slideLayout401.xml><?xml version="1.0" encoding="utf-8"?>
<p:sldLayout xmlns:a="http://schemas.openxmlformats.org/drawingml/2006/main" xmlns:r="http://schemas.openxmlformats.org/officeDocument/2006/relationships" xmlns:p="http://schemas.openxmlformats.org/presentationml/2006/main" userDrawn="1">
  <p:cSld name="1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90575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6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39222077"/>
      </p:ext>
    </p:extLst>
  </p:cSld>
  <p:clrMapOvr>
    <a:masterClrMapping/>
  </p:clrMapOvr>
</p:sldLayout>
</file>

<file path=ppt/slideLayouts/slideLayout402.xml><?xml version="1.0" encoding="utf-8"?>
<p:sldLayout xmlns:a="http://schemas.openxmlformats.org/drawingml/2006/main" xmlns:r="http://schemas.openxmlformats.org/officeDocument/2006/relationships" xmlns:p="http://schemas.openxmlformats.org/presentationml/2006/main" userDrawn="1">
  <p:cSld name="11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257573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36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12673360"/>
      </p:ext>
    </p:extLst>
  </p:cSld>
  <p:clrMapOvr>
    <a:masterClrMapping/>
  </p:clrMapOvr>
  <p:hf hdr="0" ftr="0" dt="0"/>
</p:sldLayout>
</file>

<file path=ppt/slideLayouts/slideLayout403.xml><?xml version="1.0" encoding="utf-8"?>
<p:sldLayout xmlns:a="http://schemas.openxmlformats.org/drawingml/2006/main" xmlns:r="http://schemas.openxmlformats.org/officeDocument/2006/relationships" xmlns:p="http://schemas.openxmlformats.org/presentationml/2006/main" userDrawn="1">
  <p:cSld name="11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0872106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47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713961680"/>
      </p:ext>
    </p:extLst>
  </p:cSld>
  <p:clrMapOvr>
    <a:masterClrMapping/>
  </p:clrMapOvr>
  <p:hf hdr="0" ftr="0" dt="0"/>
</p:sldLayout>
</file>

<file path=ppt/slideLayouts/slideLayout404.xml><?xml version="1.0" encoding="utf-8"?>
<p:sldLayout xmlns:a="http://schemas.openxmlformats.org/drawingml/2006/main" xmlns:r="http://schemas.openxmlformats.org/officeDocument/2006/relationships" xmlns:p="http://schemas.openxmlformats.org/presentationml/2006/main" userDrawn="1">
  <p:cSld name="11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1787490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57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71487126"/>
      </p:ext>
    </p:extLst>
  </p:cSld>
  <p:clrMapOvr>
    <a:masterClrMapping/>
  </p:clrMapOvr>
  <p:hf hdr="0" ftr="0" dt="0"/>
</p:sldLayout>
</file>

<file path=ppt/slideLayouts/slideLayout405.xml><?xml version="1.0" encoding="utf-8"?>
<p:sldLayout xmlns:a="http://schemas.openxmlformats.org/drawingml/2006/main" xmlns:r="http://schemas.openxmlformats.org/officeDocument/2006/relationships" xmlns:p="http://schemas.openxmlformats.org/presentationml/2006/main" userDrawn="1">
  <p:cSld name="11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31806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67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08912696"/>
      </p:ext>
    </p:extLst>
  </p:cSld>
  <p:clrMapOvr>
    <a:masterClrMapping/>
  </p:clrMapOvr>
  <p:hf hdr="0" ftr="0" dt="0"/>
</p:sldLayout>
</file>

<file path=ppt/slideLayouts/slideLayout406.xml><?xml version="1.0" encoding="utf-8"?>
<p:sldLayout xmlns:a="http://schemas.openxmlformats.org/drawingml/2006/main" xmlns:r="http://schemas.openxmlformats.org/officeDocument/2006/relationships" xmlns:p="http://schemas.openxmlformats.org/presentationml/2006/main" userDrawn="1">
  <p:cSld name="11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800027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7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77683448"/>
      </p:ext>
    </p:extLst>
  </p:cSld>
  <p:clrMapOvr>
    <a:masterClrMapping/>
  </p:clrMapOvr>
  <p:hf hdr="0" ftr="0" dt="0"/>
</p:sldLayout>
</file>

<file path=ppt/slideLayouts/slideLayout407.xml><?xml version="1.0" encoding="utf-8"?>
<p:sldLayout xmlns:a="http://schemas.openxmlformats.org/drawingml/2006/main" xmlns:r="http://schemas.openxmlformats.org/officeDocument/2006/relationships" xmlns:p="http://schemas.openxmlformats.org/presentationml/2006/main" userDrawn="1">
  <p:cSld name="12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338601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88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30558922"/>
      </p:ext>
    </p:extLst>
  </p:cSld>
  <p:clrMapOvr>
    <a:masterClrMapping/>
  </p:clrMapOvr>
</p:sldLayout>
</file>

<file path=ppt/slideLayouts/slideLayout408.xml><?xml version="1.0" encoding="utf-8"?>
<p:sldLayout xmlns:a="http://schemas.openxmlformats.org/drawingml/2006/main" xmlns:r="http://schemas.openxmlformats.org/officeDocument/2006/relationships" xmlns:p="http://schemas.openxmlformats.org/presentationml/2006/main" userDrawn="1">
  <p:cSld name="12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4413406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98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075952"/>
      </p:ext>
    </p:extLst>
  </p:cSld>
  <p:clrMapOvr>
    <a:masterClrMapping/>
  </p:clrMapOvr>
</p:sldLayout>
</file>

<file path=ppt/slideLayouts/slideLayout409.xml><?xml version="1.0" encoding="utf-8"?>
<p:sldLayout xmlns:a="http://schemas.openxmlformats.org/drawingml/2006/main" xmlns:r="http://schemas.openxmlformats.org/officeDocument/2006/relationships" xmlns:p="http://schemas.openxmlformats.org/presentationml/2006/main" userDrawn="1">
  <p:cSld name="12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776314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208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22042736"/>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742807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9"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13228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19538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178178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E7B4FFE7-DDA4-46AE-910C-AFC9712FA38D}"/>
              </a:ext>
            </a:extLst>
          </p:cNvPr>
          <p:cNvSpPr/>
          <p:nvPr/>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hord 9">
            <a:extLst>
              <a:ext uri="{FF2B5EF4-FFF2-40B4-BE49-F238E27FC236}">
                <a16:creationId xmlns:a16="http://schemas.microsoft.com/office/drawing/2014/main" id="{F38B96C9-1FF5-4C32-8F78-F8FC0B733668}"/>
              </a:ext>
            </a:extLst>
          </p:cNvPr>
          <p:cNvSpPr/>
          <p:nvPr/>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81EFFA1-85F2-4556-81C3-7DA40F141E04}"/>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8DB78B1-AC2B-4AE3-968A-E358873C8C7D}"/>
              </a:ext>
            </a:extLst>
          </p:cNvPr>
          <p:cNvPicPr>
            <a:picLocks noChangeAspect="1"/>
          </p:cNvPicPr>
          <p:nvPr userDrawn="1"/>
        </p:nvPicPr>
        <p:blipFill>
          <a:blip r:embed="rId10"/>
          <a:stretch>
            <a:fillRect/>
          </a:stretch>
        </p:blipFill>
        <p:spPr bwMode="ltGray">
          <a:xfrm>
            <a:off x="553972" y="6307972"/>
            <a:ext cx="2927350" cy="380882"/>
          </a:xfrm>
          <a:prstGeom prst="rect">
            <a:avLst/>
          </a:prstGeom>
        </p:spPr>
      </p:pic>
      <p:pic>
        <p:nvPicPr>
          <p:cNvPr id="19" name="Picture 13" descr="Governor Newsom Launches “Vaccinate All 58” Campaign based on Safety and  Equity as First Vaccines Arrive to California | California Governor">
            <a:extLst>
              <a:ext uri="{FF2B5EF4-FFF2-40B4-BE49-F238E27FC236}">
                <a16:creationId xmlns:a16="http://schemas.microsoft.com/office/drawing/2014/main" id="{70740478-4937-4504-A627-B86ED7AF69E1}"/>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2663259"/>
      </p:ext>
    </p:extLst>
  </p:cSld>
  <p:clrMapOvr>
    <a:masterClrMapping/>
  </p:clrMapOvr>
</p:sldLayout>
</file>

<file path=ppt/slideLayouts/slideLayout410.xml><?xml version="1.0" encoding="utf-8"?>
<p:sldLayout xmlns:a="http://schemas.openxmlformats.org/drawingml/2006/main" xmlns:r="http://schemas.openxmlformats.org/officeDocument/2006/relationships" xmlns:p="http://schemas.openxmlformats.org/presentationml/2006/main" userDrawn="1">
  <p:cSld name="12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0618296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218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17833304"/>
      </p:ext>
    </p:extLst>
  </p:cSld>
  <p:clrMapOvr>
    <a:masterClrMapping/>
  </p:clrMapOvr>
  <p:hf hdr="0" ftr="0" dt="0"/>
</p:sldLayout>
</file>

<file path=ppt/slideLayouts/slideLayout411.xml><?xml version="1.0" encoding="utf-8"?>
<p:sldLayout xmlns:a="http://schemas.openxmlformats.org/drawingml/2006/main" xmlns:r="http://schemas.openxmlformats.org/officeDocument/2006/relationships" xmlns:p="http://schemas.openxmlformats.org/presentationml/2006/main" userDrawn="1">
  <p:cSld name="12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9540619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229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03710170"/>
      </p:ext>
    </p:extLst>
  </p:cSld>
  <p:clrMapOvr>
    <a:masterClrMapping/>
  </p:clrMapOvr>
</p:sldLayout>
</file>

<file path=ppt/slideLayouts/slideLayout412.xml><?xml version="1.0" encoding="utf-8"?>
<p:sldLayout xmlns:a="http://schemas.openxmlformats.org/drawingml/2006/main" xmlns:r="http://schemas.openxmlformats.org/officeDocument/2006/relationships" xmlns:p="http://schemas.openxmlformats.org/presentationml/2006/main" userDrawn="1">
  <p:cSld name="12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23809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39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01435706"/>
      </p:ext>
    </p:extLst>
  </p:cSld>
  <p:clrMapOvr>
    <a:masterClrMapping/>
  </p:clrMapOvr>
  <p:hf hdr="0" ftr="0" dt="0"/>
</p:sldLayout>
</file>

<file path=ppt/slideLayouts/slideLayout413.xml><?xml version="1.0" encoding="utf-8"?>
<p:sldLayout xmlns:a="http://schemas.openxmlformats.org/drawingml/2006/main" xmlns:r="http://schemas.openxmlformats.org/officeDocument/2006/relationships" xmlns:p="http://schemas.openxmlformats.org/presentationml/2006/main" userDrawn="1">
  <p:cSld name="12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18278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49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17809763"/>
      </p:ext>
    </p:extLst>
  </p:cSld>
  <p:clrMapOvr>
    <a:masterClrMapping/>
  </p:clrMapOvr>
</p:sldLayout>
</file>

<file path=ppt/slideLayouts/slideLayout414.xml><?xml version="1.0" encoding="utf-8"?>
<p:sldLayout xmlns:a="http://schemas.openxmlformats.org/drawingml/2006/main" xmlns:r="http://schemas.openxmlformats.org/officeDocument/2006/relationships" xmlns:p="http://schemas.openxmlformats.org/presentationml/2006/main" userDrawn="1">
  <p:cSld name="12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215429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259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24924338"/>
      </p:ext>
    </p:extLst>
  </p:cSld>
  <p:clrMapOvr>
    <a:masterClrMapping/>
  </p:clrMapOvr>
  <p:hf hdr="0" ftr="0" dt="0"/>
</p:sldLayout>
</file>

<file path=ppt/slideLayouts/slideLayout415.xml><?xml version="1.0" encoding="utf-8"?>
<p:sldLayout xmlns:a="http://schemas.openxmlformats.org/drawingml/2006/main" xmlns:r="http://schemas.openxmlformats.org/officeDocument/2006/relationships" xmlns:p="http://schemas.openxmlformats.org/presentationml/2006/main" userDrawn="1">
  <p:cSld name="12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158159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270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46925068"/>
      </p:ext>
    </p:extLst>
  </p:cSld>
  <p:clrMapOvr>
    <a:masterClrMapping/>
  </p:clrMapOvr>
  <p:hf hdr="0" ftr="0" dt="0"/>
</p:sldLayout>
</file>

<file path=ppt/slideLayouts/slideLayout416.xml><?xml version="1.0" encoding="utf-8"?>
<p:sldLayout xmlns:a="http://schemas.openxmlformats.org/drawingml/2006/main" xmlns:r="http://schemas.openxmlformats.org/officeDocument/2006/relationships" xmlns:p="http://schemas.openxmlformats.org/presentationml/2006/main" userDrawn="1">
  <p:cSld name="12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517850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80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14352851"/>
      </p:ext>
    </p:extLst>
  </p:cSld>
  <p:clrMapOvr>
    <a:masterClrMapping/>
  </p:clrMapOvr>
  <p:hf hdr="0" ftr="0" dt="0"/>
</p:sldLayout>
</file>

<file path=ppt/slideLayouts/slideLayout417.xml><?xml version="1.0" encoding="utf-8"?>
<p:sldLayout xmlns:a="http://schemas.openxmlformats.org/drawingml/2006/main" xmlns:r="http://schemas.openxmlformats.org/officeDocument/2006/relationships" xmlns:p="http://schemas.openxmlformats.org/presentationml/2006/main" userDrawn="1">
  <p:cSld name="13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917966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90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44729570"/>
      </p:ext>
    </p:extLst>
  </p:cSld>
  <p:clrMapOvr>
    <a:masterClrMapping/>
  </p:clrMapOvr>
  <p:hf hdr="0" ftr="0" dt="0"/>
</p:sldLayout>
</file>

<file path=ppt/slideLayouts/slideLayout418.xml><?xml version="1.0" encoding="utf-8"?>
<p:sldLayout xmlns:a="http://schemas.openxmlformats.org/drawingml/2006/main" xmlns:r="http://schemas.openxmlformats.org/officeDocument/2006/relationships" xmlns:p="http://schemas.openxmlformats.org/presentationml/2006/main" userDrawn="1">
  <p:cSld name="13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641381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0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78431633"/>
      </p:ext>
    </p:extLst>
  </p:cSld>
  <p:clrMapOvr>
    <a:masterClrMapping/>
  </p:clrMapOvr>
</p:sldLayout>
</file>

<file path=ppt/slideLayouts/slideLayout419.xml><?xml version="1.0" encoding="utf-8"?>
<p:sldLayout xmlns:a="http://schemas.openxmlformats.org/drawingml/2006/main" xmlns:r="http://schemas.openxmlformats.org/officeDocument/2006/relationships" xmlns:p="http://schemas.openxmlformats.org/presentationml/2006/main" userDrawn="1">
  <p:cSld name="13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8583259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11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7505037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37428073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13228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19538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178178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E7B4FFE7-DDA4-46AE-910C-AFC9712FA38D}"/>
              </a:ext>
            </a:extLst>
          </p:cNvPr>
          <p:cNvSpPr/>
          <p:nvPr/>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hord 9">
            <a:extLst>
              <a:ext uri="{FF2B5EF4-FFF2-40B4-BE49-F238E27FC236}">
                <a16:creationId xmlns:a16="http://schemas.microsoft.com/office/drawing/2014/main" id="{F38B96C9-1FF5-4C32-8F78-F8FC0B733668}"/>
              </a:ext>
            </a:extLst>
          </p:cNvPr>
          <p:cNvSpPr/>
          <p:nvPr/>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81EFFA1-85F2-4556-81C3-7DA40F141E04}"/>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8DB78B1-AC2B-4AE3-968A-E358873C8C7D}"/>
              </a:ext>
            </a:extLst>
          </p:cNvPr>
          <p:cNvPicPr>
            <a:picLocks noChangeAspect="1"/>
          </p:cNvPicPr>
          <p:nvPr userDrawn="1"/>
        </p:nvPicPr>
        <p:blipFill>
          <a:blip r:embed="rId10"/>
          <a:stretch>
            <a:fillRect/>
          </a:stretch>
        </p:blipFill>
        <p:spPr bwMode="ltGray">
          <a:xfrm>
            <a:off x="553972" y="6307972"/>
            <a:ext cx="2927350" cy="380882"/>
          </a:xfrm>
          <a:prstGeom prst="rect">
            <a:avLst/>
          </a:prstGeom>
        </p:spPr>
      </p:pic>
      <p:pic>
        <p:nvPicPr>
          <p:cNvPr id="19" name="Picture 13" descr="Governor Newsom Launches “Vaccinate All 58” Campaign based on Safety and  Equity as First Vaccines Arrive to California | California Governor">
            <a:extLst>
              <a:ext uri="{FF2B5EF4-FFF2-40B4-BE49-F238E27FC236}">
                <a16:creationId xmlns:a16="http://schemas.microsoft.com/office/drawing/2014/main" id="{70740478-4937-4504-A627-B86ED7AF69E1}"/>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02663259"/>
      </p:ext>
    </p:extLst>
  </p:cSld>
  <p:clrMapOvr>
    <a:masterClrMapping/>
  </p:clrMapOvr>
</p:sldLayout>
</file>

<file path=ppt/slideLayouts/slideLayout420.xml><?xml version="1.0" encoding="utf-8"?>
<p:sldLayout xmlns:a="http://schemas.openxmlformats.org/drawingml/2006/main" xmlns:r="http://schemas.openxmlformats.org/officeDocument/2006/relationships" xmlns:p="http://schemas.openxmlformats.org/presentationml/2006/main" userDrawn="1">
  <p:cSld name="13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5896699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21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70924757"/>
      </p:ext>
    </p:extLst>
  </p:cSld>
  <p:clrMapOvr>
    <a:masterClrMapping/>
  </p:clrMapOvr>
  <p:hf hdr="0" ftr="0" dt="0"/>
</p:sldLayout>
</file>

<file path=ppt/slideLayouts/slideLayout421.xml><?xml version="1.0" encoding="utf-8"?>
<p:sldLayout xmlns:a="http://schemas.openxmlformats.org/drawingml/2006/main" xmlns:r="http://schemas.openxmlformats.org/officeDocument/2006/relationships" xmlns:p="http://schemas.openxmlformats.org/presentationml/2006/main" userDrawn="1">
  <p:cSld name="13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8638328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31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06753759"/>
      </p:ext>
    </p:extLst>
  </p:cSld>
  <p:clrMapOvr>
    <a:masterClrMapping/>
  </p:clrMapOvr>
  <p:hf hdr="0" ftr="0" dt="0"/>
</p:sldLayout>
</file>

<file path=ppt/slideLayouts/slideLayout422.xml><?xml version="1.0" encoding="utf-8"?>
<p:sldLayout xmlns:a="http://schemas.openxmlformats.org/drawingml/2006/main" xmlns:r="http://schemas.openxmlformats.org/officeDocument/2006/relationships" xmlns:p="http://schemas.openxmlformats.org/presentationml/2006/main" userDrawn="1">
  <p:cSld name="13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4151215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41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50611559"/>
      </p:ext>
    </p:extLst>
  </p:cSld>
  <p:clrMapOvr>
    <a:masterClrMapping/>
  </p:clrMapOvr>
</p:sldLayout>
</file>

<file path=ppt/slideLayouts/slideLayout423.xml><?xml version="1.0" encoding="utf-8"?>
<p:sldLayout xmlns:a="http://schemas.openxmlformats.org/drawingml/2006/main" xmlns:r="http://schemas.openxmlformats.org/officeDocument/2006/relationships" xmlns:p="http://schemas.openxmlformats.org/presentationml/2006/main" userDrawn="1">
  <p:cSld name="13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50255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52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780208714"/>
      </p:ext>
    </p:extLst>
  </p:cSld>
  <p:clrMapOvr>
    <a:masterClrMapping/>
  </p:clrMapOvr>
  <p:hf hdr="0" ftr="0" dt="0"/>
</p:sldLayout>
</file>

<file path=ppt/slideLayouts/slideLayout424.xml><?xml version="1.0" encoding="utf-8"?>
<p:sldLayout xmlns:a="http://schemas.openxmlformats.org/drawingml/2006/main" xmlns:r="http://schemas.openxmlformats.org/officeDocument/2006/relationships" xmlns:p="http://schemas.openxmlformats.org/presentationml/2006/main" userDrawn="1">
  <p:cSld name="13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4974596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62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19311364"/>
      </p:ext>
    </p:extLst>
  </p:cSld>
  <p:clrMapOvr>
    <a:masterClrMapping/>
  </p:clrMapOvr>
  <p:hf hdr="0" ftr="0" dt="0"/>
</p:sldLayout>
</file>

<file path=ppt/slideLayouts/slideLayout425.xml><?xml version="1.0" encoding="utf-8"?>
<p:sldLayout xmlns:a="http://schemas.openxmlformats.org/drawingml/2006/main" xmlns:r="http://schemas.openxmlformats.org/officeDocument/2006/relationships" xmlns:p="http://schemas.openxmlformats.org/presentationml/2006/main" userDrawn="1">
  <p:cSld name="13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5946822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72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6574257"/>
      </p:ext>
    </p:extLst>
  </p:cSld>
  <p:clrMapOvr>
    <a:masterClrMapping/>
  </p:clrMapOvr>
  <p:hf hdr="0" ftr="0" dt="0"/>
</p:sldLayout>
</file>

<file path=ppt/slideLayouts/slideLayout426.xml><?xml version="1.0" encoding="utf-8"?>
<p:sldLayout xmlns:a="http://schemas.openxmlformats.org/drawingml/2006/main" xmlns:r="http://schemas.openxmlformats.org/officeDocument/2006/relationships" xmlns:p="http://schemas.openxmlformats.org/presentationml/2006/main" userDrawn="1">
  <p:cSld name="13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76281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82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47370745"/>
      </p:ext>
    </p:extLst>
  </p:cSld>
  <p:clrMapOvr>
    <a:masterClrMapping/>
  </p:clrMapOvr>
  <p:hf hdr="0" ftr="0" dt="0"/>
</p:sldLayout>
</file>

<file path=ppt/slideLayouts/slideLayout427.xml><?xml version="1.0" encoding="utf-8"?>
<p:sldLayout xmlns:a="http://schemas.openxmlformats.org/drawingml/2006/main" xmlns:r="http://schemas.openxmlformats.org/officeDocument/2006/relationships" xmlns:p="http://schemas.openxmlformats.org/presentationml/2006/main" userDrawn="1">
  <p:cSld name="14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033643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392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19386584"/>
      </p:ext>
    </p:extLst>
  </p:cSld>
  <p:clrMapOvr>
    <a:masterClrMapping/>
  </p:clrMapOvr>
</p:sldLayout>
</file>

<file path=ppt/slideLayouts/slideLayout428.xml><?xml version="1.0" encoding="utf-8"?>
<p:sldLayout xmlns:a="http://schemas.openxmlformats.org/drawingml/2006/main" xmlns:r="http://schemas.openxmlformats.org/officeDocument/2006/relationships" xmlns:p="http://schemas.openxmlformats.org/presentationml/2006/main" userDrawn="1">
  <p:cSld name="14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267856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11319160"/>
      </p:ext>
    </p:extLst>
  </p:cSld>
  <p:clrMapOvr>
    <a:masterClrMapping/>
  </p:clrMapOvr>
  <p:hf hdr="0" ftr="0" dt="0"/>
</p:sldLayout>
</file>

<file path=ppt/slideLayouts/slideLayout429.xml><?xml version="1.0" encoding="utf-8"?>
<p:sldLayout xmlns:a="http://schemas.openxmlformats.org/drawingml/2006/main" xmlns:r="http://schemas.openxmlformats.org/officeDocument/2006/relationships" xmlns:p="http://schemas.openxmlformats.org/presentationml/2006/main" userDrawn="1">
  <p:cSld name="14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17268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13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26785136"/>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3_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7"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1345402654"/>
      </p:ext>
    </p:extLst>
  </p:cSld>
  <p:clrMapOvr>
    <a:masterClrMapping/>
  </p:clrMapOvr>
</p:sldLayout>
</file>

<file path=ppt/slideLayouts/slideLayout430.xml><?xml version="1.0" encoding="utf-8"?>
<p:sldLayout xmlns:a="http://schemas.openxmlformats.org/drawingml/2006/main" xmlns:r="http://schemas.openxmlformats.org/officeDocument/2006/relationships" xmlns:p="http://schemas.openxmlformats.org/presentationml/2006/main" userDrawn="1">
  <p:cSld name="14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875334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423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830877353"/>
      </p:ext>
    </p:extLst>
  </p:cSld>
  <p:clrMapOvr>
    <a:masterClrMapping/>
  </p:clrMapOvr>
  <p:hf hdr="0" ftr="0" dt="0"/>
</p:sldLayout>
</file>

<file path=ppt/slideLayouts/slideLayout431.xml><?xml version="1.0" encoding="utf-8"?>
<p:sldLayout xmlns:a="http://schemas.openxmlformats.org/drawingml/2006/main" xmlns:r="http://schemas.openxmlformats.org/officeDocument/2006/relationships" xmlns:p="http://schemas.openxmlformats.org/presentationml/2006/main" userDrawn="1">
  <p:cSld name="14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3017877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433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49761588"/>
      </p:ext>
    </p:extLst>
  </p:cSld>
  <p:clrMapOvr>
    <a:masterClrMapping/>
  </p:clrMapOvr>
  <p:hf hdr="0" ftr="0" dt="0"/>
</p:sldLayout>
</file>

<file path=ppt/slideLayouts/slideLayout432.xml><?xml version="1.0" encoding="utf-8"?>
<p:sldLayout xmlns:a="http://schemas.openxmlformats.org/drawingml/2006/main" xmlns:r="http://schemas.openxmlformats.org/officeDocument/2006/relationships" xmlns:p="http://schemas.openxmlformats.org/presentationml/2006/main" userDrawn="1">
  <p:cSld name="14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12994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444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15983342"/>
      </p:ext>
    </p:extLst>
  </p:cSld>
  <p:clrMapOvr>
    <a:masterClrMapping/>
  </p:clrMapOvr>
</p:sldLayout>
</file>

<file path=ppt/slideLayouts/slideLayout433.xml><?xml version="1.0" encoding="utf-8"?>
<p:sldLayout xmlns:a="http://schemas.openxmlformats.org/drawingml/2006/main" xmlns:r="http://schemas.openxmlformats.org/officeDocument/2006/relationships" xmlns:p="http://schemas.openxmlformats.org/presentationml/2006/main" userDrawn="1">
  <p:cSld name="14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59241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54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70176953"/>
      </p:ext>
    </p:extLst>
  </p:cSld>
  <p:clrMapOvr>
    <a:masterClrMapping/>
  </p:clrMapOvr>
  <p:hf hdr="0" ftr="0" dt="0"/>
</p:sldLayout>
</file>

<file path=ppt/slideLayouts/slideLayout434.xml><?xml version="1.0" encoding="utf-8"?>
<p:sldLayout xmlns:a="http://schemas.openxmlformats.org/drawingml/2006/main" xmlns:r="http://schemas.openxmlformats.org/officeDocument/2006/relationships" xmlns:p="http://schemas.openxmlformats.org/presentationml/2006/main" userDrawn="1">
  <p:cSld name="14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72139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64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77109632"/>
      </p:ext>
    </p:extLst>
  </p:cSld>
  <p:clrMapOvr>
    <a:masterClrMapping/>
  </p:clrMapOvr>
  <p:hf hdr="0" ftr="0" dt="0"/>
</p:sldLayout>
</file>

<file path=ppt/slideLayouts/slideLayout435.xml><?xml version="1.0" encoding="utf-8"?>
<p:sldLayout xmlns:a="http://schemas.openxmlformats.org/drawingml/2006/main" xmlns:r="http://schemas.openxmlformats.org/officeDocument/2006/relationships" xmlns:p="http://schemas.openxmlformats.org/presentationml/2006/main" userDrawn="1">
  <p:cSld name="14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435342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74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89267685"/>
      </p:ext>
    </p:extLst>
  </p:cSld>
  <p:clrMapOvr>
    <a:masterClrMapping/>
  </p:clrMapOvr>
</p:sldLayout>
</file>

<file path=ppt/slideLayouts/slideLayout436.xml><?xml version="1.0" encoding="utf-8"?>
<p:sldLayout xmlns:a="http://schemas.openxmlformats.org/drawingml/2006/main" xmlns:r="http://schemas.openxmlformats.org/officeDocument/2006/relationships" xmlns:p="http://schemas.openxmlformats.org/presentationml/2006/main" userDrawn="1">
  <p:cSld name="14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43087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85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77422631"/>
      </p:ext>
    </p:extLst>
  </p:cSld>
  <p:clrMapOvr>
    <a:masterClrMapping/>
  </p:clrMapOvr>
</p:sldLayout>
</file>

<file path=ppt/slideLayouts/slideLayout437.xml><?xml version="1.0" encoding="utf-8"?>
<p:sldLayout xmlns:a="http://schemas.openxmlformats.org/drawingml/2006/main" xmlns:r="http://schemas.openxmlformats.org/officeDocument/2006/relationships" xmlns:p="http://schemas.openxmlformats.org/presentationml/2006/main" userDrawn="1">
  <p:cSld name="15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94374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95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4849212"/>
      </p:ext>
    </p:extLst>
  </p:cSld>
  <p:clrMapOvr>
    <a:masterClrMapping/>
  </p:clrMapOvr>
</p:sldLayout>
</file>

<file path=ppt/slideLayouts/slideLayout438.xml><?xml version="1.0" encoding="utf-8"?>
<p:sldLayout xmlns:a="http://schemas.openxmlformats.org/drawingml/2006/main" xmlns:r="http://schemas.openxmlformats.org/officeDocument/2006/relationships" xmlns:p="http://schemas.openxmlformats.org/presentationml/2006/main" userDrawn="1">
  <p:cSld name="15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8675470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05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05795872"/>
      </p:ext>
    </p:extLst>
  </p:cSld>
  <p:clrMapOvr>
    <a:masterClrMapping/>
  </p:clrMapOvr>
  <p:hf hdr="0" ftr="0" dt="0"/>
</p:sldLayout>
</file>

<file path=ppt/slideLayouts/slideLayout439.xml><?xml version="1.0" encoding="utf-8"?>
<p:sldLayout xmlns:a="http://schemas.openxmlformats.org/drawingml/2006/main" xmlns:r="http://schemas.openxmlformats.org/officeDocument/2006/relationships" xmlns:p="http://schemas.openxmlformats.org/presentationml/2006/main" userDrawn="1">
  <p:cSld name="15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2328374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15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67564838"/>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3021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1"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2058604579"/>
      </p:ext>
    </p:extLst>
  </p:cSld>
  <p:clrMapOvr>
    <a:masterClrMapping/>
  </p:clrMapOvr>
</p:sldLayout>
</file>

<file path=ppt/slideLayouts/slideLayout440.xml><?xml version="1.0" encoding="utf-8"?>
<p:sldLayout xmlns:a="http://schemas.openxmlformats.org/drawingml/2006/main" xmlns:r="http://schemas.openxmlformats.org/officeDocument/2006/relationships" xmlns:p="http://schemas.openxmlformats.org/presentationml/2006/main" userDrawn="1">
  <p:cSld name="15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70237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26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97750570"/>
      </p:ext>
    </p:extLst>
  </p:cSld>
  <p:clrMapOvr>
    <a:masterClrMapping/>
  </p:clrMapOvr>
  <p:hf hdr="0" ftr="0" dt="0"/>
</p:sldLayout>
</file>

<file path=ppt/slideLayouts/slideLayout441.xml><?xml version="1.0" encoding="utf-8"?>
<p:sldLayout xmlns:a="http://schemas.openxmlformats.org/drawingml/2006/main" xmlns:r="http://schemas.openxmlformats.org/officeDocument/2006/relationships" xmlns:p="http://schemas.openxmlformats.org/presentationml/2006/main" userDrawn="1">
  <p:cSld name="15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747203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36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37516144"/>
      </p:ext>
    </p:extLst>
  </p:cSld>
  <p:clrMapOvr>
    <a:masterClrMapping/>
  </p:clrMapOvr>
  <p:hf hdr="0" ftr="0" dt="0"/>
</p:sldLayout>
</file>

<file path=ppt/slideLayouts/slideLayout442.xml><?xml version="1.0" encoding="utf-8"?>
<p:sldLayout xmlns:a="http://schemas.openxmlformats.org/drawingml/2006/main" xmlns:r="http://schemas.openxmlformats.org/officeDocument/2006/relationships" xmlns:p="http://schemas.openxmlformats.org/presentationml/2006/main" userDrawn="1">
  <p:cSld name="15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66654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46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10286651"/>
      </p:ext>
    </p:extLst>
  </p:cSld>
  <p:clrMapOvr>
    <a:masterClrMapping/>
  </p:clrMapOvr>
</p:sldLayout>
</file>

<file path=ppt/slideLayouts/slideLayout443.xml><?xml version="1.0" encoding="utf-8"?>
<p:sldLayout xmlns:a="http://schemas.openxmlformats.org/drawingml/2006/main" xmlns:r="http://schemas.openxmlformats.org/officeDocument/2006/relationships" xmlns:p="http://schemas.openxmlformats.org/presentationml/2006/main" userDrawn="1">
  <p:cSld name="15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7939714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56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87810502"/>
      </p:ext>
    </p:extLst>
  </p:cSld>
  <p:clrMapOvr>
    <a:masterClrMapping/>
  </p:clrMapOvr>
</p:sldLayout>
</file>

<file path=ppt/slideLayouts/slideLayout444.xml><?xml version="1.0" encoding="utf-8"?>
<p:sldLayout xmlns:a="http://schemas.openxmlformats.org/drawingml/2006/main" xmlns:r="http://schemas.openxmlformats.org/officeDocument/2006/relationships" xmlns:p="http://schemas.openxmlformats.org/presentationml/2006/main" userDrawn="1">
  <p:cSld name="15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0633486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67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53132469"/>
      </p:ext>
    </p:extLst>
  </p:cSld>
  <p:clrMapOvr>
    <a:masterClrMapping/>
  </p:clrMapOvr>
  <p:hf hdr="0" ftr="0" dt="0"/>
</p:sldLayout>
</file>

<file path=ppt/slideLayouts/slideLayout445.xml><?xml version="1.0" encoding="utf-8"?>
<p:sldLayout xmlns:a="http://schemas.openxmlformats.org/drawingml/2006/main" xmlns:r="http://schemas.openxmlformats.org/officeDocument/2006/relationships" xmlns:p="http://schemas.openxmlformats.org/presentationml/2006/main" userDrawn="1">
  <p:cSld name="15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7944519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77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68764599"/>
      </p:ext>
    </p:extLst>
  </p:cSld>
  <p:clrMapOvr>
    <a:masterClrMapping/>
  </p:clrMapOvr>
  <p:hf hdr="0" ftr="0" dt="0"/>
</p:sldLayout>
</file>

<file path=ppt/slideLayouts/slideLayout446.xml><?xml version="1.0" encoding="utf-8"?>
<p:sldLayout xmlns:a="http://schemas.openxmlformats.org/drawingml/2006/main" xmlns:r="http://schemas.openxmlformats.org/officeDocument/2006/relationships" xmlns:p="http://schemas.openxmlformats.org/presentationml/2006/main" userDrawn="1">
  <p:cSld name="15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0597822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587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87723177"/>
      </p:ext>
    </p:extLst>
  </p:cSld>
  <p:clrMapOvr>
    <a:masterClrMapping/>
  </p:clrMapOvr>
</p:sldLayout>
</file>

<file path=ppt/slideLayouts/slideLayout447.xml><?xml version="1.0" encoding="utf-8"?>
<p:sldLayout xmlns:a="http://schemas.openxmlformats.org/drawingml/2006/main" xmlns:r="http://schemas.openxmlformats.org/officeDocument/2006/relationships" xmlns:p="http://schemas.openxmlformats.org/presentationml/2006/main" userDrawn="1">
  <p:cSld name="16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77320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97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79208241"/>
      </p:ext>
    </p:extLst>
  </p:cSld>
  <p:clrMapOvr>
    <a:masterClrMapping/>
  </p:clrMapOvr>
  <p:hf hdr="0" ftr="0" dt="0"/>
</p:sldLayout>
</file>

<file path=ppt/slideLayouts/slideLayout448.xml><?xml version="1.0" encoding="utf-8"?>
<p:sldLayout xmlns:a="http://schemas.openxmlformats.org/drawingml/2006/main" xmlns:r="http://schemas.openxmlformats.org/officeDocument/2006/relationships" xmlns:p="http://schemas.openxmlformats.org/presentationml/2006/main" userDrawn="1">
  <p:cSld name="16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4455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57859032"/>
      </p:ext>
    </p:extLst>
  </p:cSld>
  <p:clrMapOvr>
    <a:masterClrMapping/>
  </p:clrMapOvr>
</p:sldLayout>
</file>

<file path=ppt/slideLayouts/slideLayout449.xml><?xml version="1.0" encoding="utf-8"?>
<p:sldLayout xmlns:a="http://schemas.openxmlformats.org/drawingml/2006/main" xmlns:r="http://schemas.openxmlformats.org/officeDocument/2006/relationships" xmlns:p="http://schemas.openxmlformats.org/presentationml/2006/main" userDrawn="1">
  <p:cSld name="16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928454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618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06210230"/>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39661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5"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450715698"/>
      </p:ext>
    </p:extLst>
  </p:cSld>
  <p:clrMapOvr>
    <a:masterClrMapping/>
  </p:clrMapOvr>
</p:sldLayout>
</file>

<file path=ppt/slideLayouts/slideLayout450.xml><?xml version="1.0" encoding="utf-8"?>
<p:sldLayout xmlns:a="http://schemas.openxmlformats.org/drawingml/2006/main" xmlns:r="http://schemas.openxmlformats.org/officeDocument/2006/relationships" xmlns:p="http://schemas.openxmlformats.org/presentationml/2006/main" userDrawn="1">
  <p:cSld name="16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96246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628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54528531"/>
      </p:ext>
    </p:extLst>
  </p:cSld>
  <p:clrMapOvr>
    <a:masterClrMapping/>
  </p:clrMapOvr>
  <p:hf hdr="0" ftr="0" dt="0"/>
</p:sldLayout>
</file>

<file path=ppt/slideLayouts/slideLayout451.xml><?xml version="1.0" encoding="utf-8"?>
<p:sldLayout xmlns:a="http://schemas.openxmlformats.org/drawingml/2006/main" xmlns:r="http://schemas.openxmlformats.org/officeDocument/2006/relationships" xmlns:p="http://schemas.openxmlformats.org/presentationml/2006/main" userDrawn="1">
  <p:cSld name="16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121997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38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27565817"/>
      </p:ext>
    </p:extLst>
  </p:cSld>
  <p:clrMapOvr>
    <a:masterClrMapping/>
  </p:clrMapOvr>
  <p:hf hdr="0" ftr="0" dt="0"/>
</p:sldLayout>
</file>

<file path=ppt/slideLayouts/slideLayout452.xml><?xml version="1.0" encoding="utf-8"?>
<p:sldLayout xmlns:a="http://schemas.openxmlformats.org/drawingml/2006/main" xmlns:r="http://schemas.openxmlformats.org/officeDocument/2006/relationships" xmlns:p="http://schemas.openxmlformats.org/presentationml/2006/main" userDrawn="1">
  <p:cSld name="16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65085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48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71984001"/>
      </p:ext>
    </p:extLst>
  </p:cSld>
  <p:clrMapOvr>
    <a:masterClrMapping/>
  </p:clrMapOvr>
  <p:hf hdr="0" ftr="0" dt="0"/>
</p:sldLayout>
</file>

<file path=ppt/slideLayouts/slideLayout453.xml><?xml version="1.0" encoding="utf-8"?>
<p:sldLayout xmlns:a="http://schemas.openxmlformats.org/drawingml/2006/main" xmlns:r="http://schemas.openxmlformats.org/officeDocument/2006/relationships" xmlns:p="http://schemas.openxmlformats.org/presentationml/2006/main" userDrawn="1">
  <p:cSld name="16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55427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59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18752307"/>
      </p:ext>
    </p:extLst>
  </p:cSld>
  <p:clrMapOvr>
    <a:masterClrMapping/>
  </p:clrMapOvr>
</p:sldLayout>
</file>

<file path=ppt/slideLayouts/slideLayout454.xml><?xml version="1.0" encoding="utf-8"?>
<p:sldLayout xmlns:a="http://schemas.openxmlformats.org/drawingml/2006/main" xmlns:r="http://schemas.openxmlformats.org/officeDocument/2006/relationships" xmlns:p="http://schemas.openxmlformats.org/presentationml/2006/main" userDrawn="1">
  <p:cSld name="16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6614764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669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03736497"/>
      </p:ext>
    </p:extLst>
  </p:cSld>
  <p:clrMapOvr>
    <a:masterClrMapping/>
  </p:clrMapOvr>
</p:sldLayout>
</file>

<file path=ppt/slideLayouts/slideLayout455.xml><?xml version="1.0" encoding="utf-8"?>
<p:sldLayout xmlns:a="http://schemas.openxmlformats.org/drawingml/2006/main" xmlns:r="http://schemas.openxmlformats.org/officeDocument/2006/relationships" xmlns:p="http://schemas.openxmlformats.org/presentationml/2006/main" userDrawn="1">
  <p:cSld name="16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355549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679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81618413"/>
      </p:ext>
    </p:extLst>
  </p:cSld>
  <p:clrMapOvr>
    <a:masterClrMapping/>
  </p:clrMapOvr>
  <p:hf hdr="0" ftr="0" dt="0"/>
</p:sldLayout>
</file>

<file path=ppt/slideLayouts/slideLayout456.xml><?xml version="1.0" encoding="utf-8"?>
<p:sldLayout xmlns:a="http://schemas.openxmlformats.org/drawingml/2006/main" xmlns:r="http://schemas.openxmlformats.org/officeDocument/2006/relationships" xmlns:p="http://schemas.openxmlformats.org/presentationml/2006/main" userDrawn="1">
  <p:cSld name="16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8172450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689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60213805"/>
      </p:ext>
    </p:extLst>
  </p:cSld>
  <p:clrMapOvr>
    <a:masterClrMapping/>
  </p:clrMapOvr>
  <p:hf hdr="0" ftr="0" dt="0"/>
</p:sldLayout>
</file>

<file path=ppt/slideLayouts/slideLayout457.xml><?xml version="1.0" encoding="utf-8"?>
<p:sldLayout xmlns:a="http://schemas.openxmlformats.org/drawingml/2006/main" xmlns:r="http://schemas.openxmlformats.org/officeDocument/2006/relationships" xmlns:p="http://schemas.openxmlformats.org/presentationml/2006/main" userDrawn="1">
  <p:cSld name="17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4387999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700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45831278"/>
      </p:ext>
    </p:extLst>
  </p:cSld>
  <p:clrMapOvr>
    <a:masterClrMapping/>
  </p:clrMapOvr>
</p:sldLayout>
</file>

<file path=ppt/slideLayouts/slideLayout458.xml><?xml version="1.0" encoding="utf-8"?>
<p:sldLayout xmlns:a="http://schemas.openxmlformats.org/drawingml/2006/main" xmlns:r="http://schemas.openxmlformats.org/officeDocument/2006/relationships" xmlns:p="http://schemas.openxmlformats.org/presentationml/2006/main" userDrawn="1">
  <p:cSld name="17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50997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47888409"/>
      </p:ext>
    </p:extLst>
  </p:cSld>
  <p:clrMapOvr>
    <a:masterClrMapping/>
  </p:clrMapOvr>
  <p:hf hdr="0" ftr="0" dt="0"/>
</p:sldLayout>
</file>

<file path=ppt/slideLayouts/slideLayout459.xml><?xml version="1.0" encoding="utf-8"?>
<p:sldLayout xmlns:a="http://schemas.openxmlformats.org/drawingml/2006/main" xmlns:r="http://schemas.openxmlformats.org/officeDocument/2006/relationships" xmlns:p="http://schemas.openxmlformats.org/presentationml/2006/main" userDrawn="1">
  <p:cSld name="17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0466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20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718416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994867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29"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3053517345"/>
      </p:ext>
    </p:extLst>
  </p:cSld>
  <p:clrMapOvr>
    <a:masterClrMapping/>
  </p:clrMapOvr>
</p:sldLayout>
</file>

<file path=ppt/slideLayouts/slideLayout460.xml><?xml version="1.0" encoding="utf-8"?>
<p:sldLayout xmlns:a="http://schemas.openxmlformats.org/drawingml/2006/main" xmlns:r="http://schemas.openxmlformats.org/officeDocument/2006/relationships" xmlns:p="http://schemas.openxmlformats.org/presentationml/2006/main" userDrawn="1">
  <p:cSld name="17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458717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730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52304743"/>
      </p:ext>
    </p:extLst>
  </p:cSld>
  <p:clrMapOvr>
    <a:masterClrMapping/>
  </p:clrMapOvr>
  <p:hf hdr="0" ftr="0" dt="0"/>
</p:sldLayout>
</file>

<file path=ppt/slideLayouts/slideLayout461.xml><?xml version="1.0" encoding="utf-8"?>
<p:sldLayout xmlns:a="http://schemas.openxmlformats.org/drawingml/2006/main" xmlns:r="http://schemas.openxmlformats.org/officeDocument/2006/relationships" xmlns:p="http://schemas.openxmlformats.org/presentationml/2006/main" userDrawn="1">
  <p:cSld name="17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5399973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741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39087108"/>
      </p:ext>
    </p:extLst>
  </p:cSld>
  <p:clrMapOvr>
    <a:masterClrMapping/>
  </p:clrMapOvr>
  <p:hf hdr="0" ftr="0" dt="0"/>
</p:sldLayout>
</file>

<file path=ppt/slideLayouts/slideLayout462.xml><?xml version="1.0" encoding="utf-8"?>
<p:sldLayout xmlns:a="http://schemas.openxmlformats.org/drawingml/2006/main" xmlns:r="http://schemas.openxmlformats.org/officeDocument/2006/relationships" xmlns:p="http://schemas.openxmlformats.org/presentationml/2006/main" userDrawn="1">
  <p:cSld name="17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9233532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751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16252969"/>
      </p:ext>
    </p:extLst>
  </p:cSld>
  <p:clrMapOvr>
    <a:masterClrMapping/>
  </p:clrMapOvr>
</p:sldLayout>
</file>

<file path=ppt/slideLayouts/slideLayout463.xml><?xml version="1.0" encoding="utf-8"?>
<p:sldLayout xmlns:a="http://schemas.openxmlformats.org/drawingml/2006/main" xmlns:r="http://schemas.openxmlformats.org/officeDocument/2006/relationships" xmlns:p="http://schemas.openxmlformats.org/presentationml/2006/main" userDrawn="1">
  <p:cSld name="17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044479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61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77438483"/>
      </p:ext>
    </p:extLst>
  </p:cSld>
  <p:clrMapOvr>
    <a:masterClrMapping/>
  </p:clrMapOvr>
  <p:hf hdr="0" ftr="0" dt="0"/>
</p:sldLayout>
</file>

<file path=ppt/slideLayouts/slideLayout464.xml><?xml version="1.0" encoding="utf-8"?>
<p:sldLayout xmlns:a="http://schemas.openxmlformats.org/drawingml/2006/main" xmlns:r="http://schemas.openxmlformats.org/officeDocument/2006/relationships" xmlns:p="http://schemas.openxmlformats.org/presentationml/2006/main" userDrawn="1">
  <p:cSld name="17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42723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71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65092437"/>
      </p:ext>
    </p:extLst>
  </p:cSld>
  <p:clrMapOvr>
    <a:masterClrMapping/>
  </p:clrMapOvr>
  <p:hf hdr="0" ftr="0" dt="0"/>
</p:sldLayout>
</file>

<file path=ppt/slideLayouts/slideLayout465.xml><?xml version="1.0" encoding="utf-8"?>
<p:sldLayout xmlns:a="http://schemas.openxmlformats.org/drawingml/2006/main" xmlns:r="http://schemas.openxmlformats.org/officeDocument/2006/relationships" xmlns:p="http://schemas.openxmlformats.org/presentationml/2006/main" userDrawn="1">
  <p:cSld name="17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00994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82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05590236"/>
      </p:ext>
    </p:extLst>
  </p:cSld>
  <p:clrMapOvr>
    <a:masterClrMapping/>
  </p:clrMapOvr>
</p:sldLayout>
</file>

<file path=ppt/slideLayouts/slideLayout466.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BE79C2-5748-0C42-922B-B5AFFFD6C1D3}"/>
              </a:ext>
            </a:extLst>
          </p:cNvPr>
          <p:cNvSpPr>
            <a:spLocks noGrp="1"/>
          </p:cNvSpPr>
          <p:nvPr>
            <p:ph type="dt" sz="half" idx="10"/>
          </p:nvPr>
        </p:nvSpPr>
        <p:spPr/>
        <p:txBody>
          <a:bodyPr/>
          <a:lstStyle/>
          <a:p>
            <a:fld id="{A4B724FD-3F3E-D649-A620-78A251F2669A}" type="datetime1">
              <a:rPr lang="en-US" smtClean="0"/>
              <a:t>9/17/2021</a:t>
            </a:fld>
            <a:endParaRPr lang="en-US"/>
          </a:p>
        </p:txBody>
      </p:sp>
      <p:sp>
        <p:nvSpPr>
          <p:cNvPr id="3" name="Footer Placeholder 2">
            <a:extLst>
              <a:ext uri="{FF2B5EF4-FFF2-40B4-BE49-F238E27FC236}">
                <a16:creationId xmlns:a16="http://schemas.microsoft.com/office/drawing/2014/main" id="{B2A66209-50D7-074D-8F2C-EB351CA93953}"/>
              </a:ext>
            </a:extLst>
          </p:cNvPr>
          <p:cNvSpPr>
            <a:spLocks noGrp="1"/>
          </p:cNvSpPr>
          <p:nvPr>
            <p:ph type="ftr" sz="quarter" idx="11"/>
          </p:nvPr>
        </p:nvSpPr>
        <p:spPr/>
        <p:txBody>
          <a:bodyPr/>
          <a:lstStyle/>
          <a:p>
            <a:pPr>
              <a:defRPr/>
            </a:pPr>
            <a:r>
              <a:rPr lang="en-GB"/>
              <a:t>Copyright © 2021 My Turn. All rights reserved.</a:t>
            </a:r>
            <a:endParaRPr lang="en-US"/>
          </a:p>
        </p:txBody>
      </p:sp>
      <p:sp>
        <p:nvSpPr>
          <p:cNvPr id="4" name="Slide Number Placeholder 3">
            <a:extLst>
              <a:ext uri="{FF2B5EF4-FFF2-40B4-BE49-F238E27FC236}">
                <a16:creationId xmlns:a16="http://schemas.microsoft.com/office/drawing/2014/main" id="{74246572-FA97-EB48-A5B7-053BA060674B}"/>
              </a:ext>
            </a:extLst>
          </p:cNvPr>
          <p:cNvSpPr>
            <a:spLocks noGrp="1"/>
          </p:cNvSpPr>
          <p:nvPr>
            <p:ph type="sldNum" sz="quarter" idx="12"/>
          </p:nvPr>
        </p:nvSpPr>
        <p:spPr/>
        <p:txBody>
          <a:bodyPr/>
          <a:lstStyle/>
          <a:p>
            <a:fld id="{6B695C30-D3B2-214A-8D78-397FAFB63F0B}" type="slidenum">
              <a:rPr lang="en-US" smtClean="0"/>
              <a:t>‹#›</a:t>
            </a:fld>
            <a:endParaRPr lang="en-US"/>
          </a:p>
        </p:txBody>
      </p:sp>
    </p:spTree>
    <p:extLst>
      <p:ext uri="{BB962C8B-B14F-4D97-AF65-F5344CB8AC3E}">
        <p14:creationId xmlns:p14="http://schemas.microsoft.com/office/powerpoint/2010/main" val="911294487"/>
      </p:ext>
    </p:extLst>
  </p:cSld>
  <p:clrMapOvr>
    <a:masterClrMapping/>
  </p:clrMapOvr>
</p:sldLayout>
</file>

<file path=ppt/slideLayouts/slideLayout467.xml><?xml version="1.0" encoding="utf-8"?>
<p:sldLayout xmlns:a="http://schemas.openxmlformats.org/drawingml/2006/main" xmlns:r="http://schemas.openxmlformats.org/officeDocument/2006/relationships" xmlns:p="http://schemas.openxmlformats.org/presentationml/2006/main" matchingName="Title and Content">
  <p:cSld name="4_Title and Content">
    <p:spTree>
      <p:nvGrpSpPr>
        <p:cNvPr id="1" name="Shape 25"/>
        <p:cNvGrpSpPr/>
        <p:nvPr/>
      </p:nvGrpSpPr>
      <p:grpSpPr>
        <a:xfrm>
          <a:off x="0" y="0"/>
          <a:ext cx="0" cy="0"/>
          <a:chOff x="0" y="0"/>
          <a:chExt cx="0" cy="0"/>
        </a:xfrm>
      </p:grpSpPr>
      <p:sp>
        <p:nvSpPr>
          <p:cNvPr id="26" name="Google Shape;26;p29"/>
          <p:cNvSpPr txBox="1">
            <a:spLocks noGrp="1"/>
          </p:cNvSpPr>
          <p:nvPr>
            <p:ph type="body" idx="1"/>
          </p:nvPr>
        </p:nvSpPr>
        <p:spPr>
          <a:xfrm>
            <a:off x="1320800" y="1600201"/>
            <a:ext cx="10261600" cy="4525963"/>
          </a:xfrm>
          <a:prstGeom prst="rect">
            <a:avLst/>
          </a:prstGeom>
          <a:noFill/>
          <a:ln>
            <a:noFill/>
          </a:ln>
        </p:spPr>
        <p:txBody>
          <a:bodyPr spcFirstLastPara="1" wrap="square" lIns="91425" tIns="45700" rIns="91425" bIns="45700" anchor="t" anchorCtr="0">
            <a:normAutofit/>
          </a:bodyPr>
          <a:lstStyle>
            <a:lvl1pPr marL="457200" lvl="0" indent="-431800" algn="l">
              <a:spcBef>
                <a:spcPts val="640"/>
              </a:spcBef>
              <a:spcAft>
                <a:spcPts val="0"/>
              </a:spcAft>
              <a:buClr>
                <a:srgbClr val="003C59"/>
              </a:buClr>
              <a:buSzPts val="3200"/>
              <a:buChar char="•"/>
              <a:defRPr>
                <a:solidFill>
                  <a:srgbClr val="003C59"/>
                </a:solidFill>
              </a:defRPr>
            </a:lvl1pPr>
            <a:lvl2pPr marL="914400" lvl="1" indent="-406400" algn="l">
              <a:spcBef>
                <a:spcPts val="560"/>
              </a:spcBef>
              <a:spcAft>
                <a:spcPts val="0"/>
              </a:spcAft>
              <a:buClr>
                <a:srgbClr val="003C59"/>
              </a:buClr>
              <a:buSzPts val="2800"/>
              <a:buChar char="–"/>
              <a:defRPr>
                <a:solidFill>
                  <a:srgbClr val="003C59"/>
                </a:solidFill>
              </a:defRPr>
            </a:lvl2pPr>
            <a:lvl3pPr marL="1371600" lvl="2" indent="-381000" algn="l">
              <a:spcBef>
                <a:spcPts val="480"/>
              </a:spcBef>
              <a:spcAft>
                <a:spcPts val="0"/>
              </a:spcAft>
              <a:buClr>
                <a:srgbClr val="003C59"/>
              </a:buClr>
              <a:buSzPts val="2400"/>
              <a:buChar char="•"/>
              <a:defRPr>
                <a:solidFill>
                  <a:srgbClr val="003C59"/>
                </a:solidFill>
              </a:defRPr>
            </a:lvl3pPr>
            <a:lvl4pPr marL="1828800" lvl="3" indent="-355600" algn="l">
              <a:spcBef>
                <a:spcPts val="400"/>
              </a:spcBef>
              <a:spcAft>
                <a:spcPts val="0"/>
              </a:spcAft>
              <a:buClr>
                <a:srgbClr val="003C59"/>
              </a:buClr>
              <a:buSzPts val="2000"/>
              <a:buChar char="–"/>
              <a:defRPr>
                <a:solidFill>
                  <a:srgbClr val="003C59"/>
                </a:solidFill>
              </a:defRPr>
            </a:lvl4pPr>
            <a:lvl5pPr marL="2286000" lvl="4" indent="-355600" algn="l">
              <a:spcBef>
                <a:spcPts val="400"/>
              </a:spcBef>
              <a:spcAft>
                <a:spcPts val="0"/>
              </a:spcAft>
              <a:buClr>
                <a:srgbClr val="003C59"/>
              </a:buClr>
              <a:buSzPts val="2000"/>
              <a:buChar char="»"/>
              <a:defRPr>
                <a:solidFill>
                  <a:srgbClr val="003C59"/>
                </a:solidFill>
              </a:defRPr>
            </a:lvl5pPr>
            <a:lvl6pPr marL="2743200" lvl="5" indent="-342900" algn="l">
              <a:spcBef>
                <a:spcPts val="360"/>
              </a:spcBef>
              <a:spcAft>
                <a:spcPts val="0"/>
              </a:spcAft>
              <a:buClr>
                <a:schemeClr val="dk1"/>
              </a:buClr>
              <a:buSzPts val="1800"/>
              <a:buChar char="•"/>
              <a:defRPr/>
            </a:lvl6pPr>
            <a:lvl7pPr marL="3200400" lvl="6" indent="-342900" algn="l">
              <a:spcBef>
                <a:spcPts val="360"/>
              </a:spcBef>
              <a:spcAft>
                <a:spcPts val="0"/>
              </a:spcAft>
              <a:buClr>
                <a:schemeClr val="dk1"/>
              </a:buClr>
              <a:buSzPts val="1800"/>
              <a:buChar char="•"/>
              <a:defRPr/>
            </a:lvl7pPr>
            <a:lvl8pPr marL="3657600" lvl="7" indent="-342900" algn="l">
              <a:spcBef>
                <a:spcPts val="360"/>
              </a:spcBef>
              <a:spcAft>
                <a:spcPts val="0"/>
              </a:spcAft>
              <a:buClr>
                <a:schemeClr val="dk1"/>
              </a:buClr>
              <a:buSzPts val="1800"/>
              <a:buChar char="•"/>
              <a:defRPr/>
            </a:lvl8pPr>
            <a:lvl9pPr marL="4114800" lvl="8" indent="-342900" algn="l">
              <a:spcBef>
                <a:spcPts val="360"/>
              </a:spcBef>
              <a:spcAft>
                <a:spcPts val="0"/>
              </a:spcAft>
              <a:buClr>
                <a:schemeClr val="dk1"/>
              </a:buClr>
              <a:buSzPts val="1800"/>
              <a:buChar char="•"/>
              <a:defRPr/>
            </a:lvl9pPr>
          </a:lstStyle>
          <a:p>
            <a:endParaRPr/>
          </a:p>
        </p:txBody>
      </p:sp>
      <p:sp>
        <p:nvSpPr>
          <p:cNvPr id="27" name="Google Shape;27;p29"/>
          <p:cNvSpPr txBox="1">
            <a:spLocks noGrp="1"/>
          </p:cNvSpPr>
          <p:nvPr>
            <p:ph type="dt" idx="10"/>
          </p:nvPr>
        </p:nvSpPr>
        <p:spPr>
          <a:xfrm>
            <a:off x="1320800" y="6356351"/>
            <a:ext cx="2844800" cy="365125"/>
          </a:xfrm>
          <a:prstGeom prst="rect">
            <a:avLst/>
          </a:prstGeom>
          <a:noFill/>
          <a:ln>
            <a:noFill/>
          </a:ln>
        </p:spPr>
        <p:txBody>
          <a:bodyPr spcFirstLastPara="1" wrap="square" lIns="91425" tIns="45700" rIns="91425" bIns="45700" anchor="ctr" anchorCtr="0">
            <a:noAutofit/>
          </a:bodyPr>
          <a:lstStyle>
            <a:lvl1pPr lvl="0" algn="l">
              <a:spcBef>
                <a:spcPts val="0"/>
              </a:spcBef>
              <a:spcAft>
                <a:spcPts val="0"/>
              </a:spcAft>
              <a:buSzPts val="1400"/>
              <a:buNone/>
              <a:defRPr/>
            </a:lvl1pPr>
            <a:lvl2pPr lvl="1" algn="l">
              <a:spcBef>
                <a:spcPts val="0"/>
              </a:spcBef>
              <a:spcAft>
                <a:spcPts val="0"/>
              </a:spcAft>
              <a:buSzPts val="1400"/>
              <a:buNone/>
              <a:defRPr/>
            </a:lvl2pPr>
            <a:lvl3pPr lvl="2" algn="l">
              <a:spcBef>
                <a:spcPts val="0"/>
              </a:spcBef>
              <a:spcAft>
                <a:spcPts val="0"/>
              </a:spcAft>
              <a:buSzPts val="1400"/>
              <a:buNone/>
              <a:defRPr/>
            </a:lvl3pPr>
            <a:lvl4pPr lvl="3" algn="l">
              <a:spcBef>
                <a:spcPts val="0"/>
              </a:spcBef>
              <a:spcAft>
                <a:spcPts val="0"/>
              </a:spcAft>
              <a:buSzPts val="1400"/>
              <a:buNone/>
              <a:defRPr/>
            </a:lvl4pPr>
            <a:lvl5pPr lvl="4" algn="l">
              <a:spcBef>
                <a:spcPts val="0"/>
              </a:spcBef>
              <a:spcAft>
                <a:spcPts val="0"/>
              </a:spcAft>
              <a:buSzPts val="1400"/>
              <a:buNone/>
              <a:defRPr/>
            </a:lvl5pPr>
            <a:lvl6pPr lvl="5" algn="l">
              <a:spcBef>
                <a:spcPts val="0"/>
              </a:spcBef>
              <a:spcAft>
                <a:spcPts val="0"/>
              </a:spcAft>
              <a:buSzPts val="1400"/>
              <a:buNone/>
              <a:defRPr/>
            </a:lvl6pPr>
            <a:lvl7pPr lvl="6" algn="l">
              <a:spcBef>
                <a:spcPts val="0"/>
              </a:spcBef>
              <a:spcAft>
                <a:spcPts val="0"/>
              </a:spcAft>
              <a:buSzPts val="1400"/>
              <a:buNone/>
              <a:defRPr/>
            </a:lvl7pPr>
            <a:lvl8pPr lvl="7" algn="l">
              <a:spcBef>
                <a:spcPts val="0"/>
              </a:spcBef>
              <a:spcAft>
                <a:spcPts val="0"/>
              </a:spcAft>
              <a:buSzPts val="1400"/>
              <a:buNone/>
              <a:defRPr/>
            </a:lvl8pPr>
            <a:lvl9pPr lvl="8" algn="l">
              <a:spcBef>
                <a:spcPts val="0"/>
              </a:spcBef>
              <a:spcAft>
                <a:spcPts val="0"/>
              </a:spcAft>
              <a:buSzPts val="1400"/>
              <a:buNone/>
              <a:defRPr/>
            </a:lvl9pPr>
          </a:lstStyle>
          <a:p>
            <a:endParaRPr/>
          </a:p>
        </p:txBody>
      </p:sp>
      <p:sp>
        <p:nvSpPr>
          <p:cNvPr id="28" name="Google Shape;28;p29"/>
          <p:cNvSpPr txBox="1">
            <a:spLocks noGrp="1"/>
          </p:cNvSpPr>
          <p:nvPr>
            <p:ph type="sldNum" idx="12"/>
          </p:nvPr>
        </p:nvSpPr>
        <p:spPr>
          <a:xfrm>
            <a:off x="8737600" y="6356351"/>
            <a:ext cx="2844800" cy="365125"/>
          </a:xfrm>
          <a:prstGeom prst="rect">
            <a:avLst/>
          </a:prstGeom>
          <a:noFill/>
          <a:ln>
            <a:noFill/>
          </a:ln>
        </p:spPr>
        <p:txBody>
          <a:bodyPr spcFirstLastPara="1" wrap="square" lIns="91425" tIns="45700" rIns="91425" bIns="45700" anchor="ctr" anchorCtr="0">
            <a:noAutofit/>
          </a:bodyPr>
          <a:lstStyle>
            <a:lvl1pPr marL="0" lvl="0" indent="0" algn="r">
              <a:spcBef>
                <a:spcPts val="0"/>
              </a:spcBef>
              <a:buNone/>
              <a:defRPr/>
            </a:lvl1pPr>
            <a:lvl2pPr marL="0" lvl="1" indent="0" algn="r">
              <a:spcBef>
                <a:spcPts val="0"/>
              </a:spcBef>
              <a:buNone/>
              <a:defRPr/>
            </a:lvl2pPr>
            <a:lvl3pPr marL="0" lvl="2" indent="0" algn="r">
              <a:spcBef>
                <a:spcPts val="0"/>
              </a:spcBef>
              <a:buNone/>
              <a:defRPr/>
            </a:lvl3pPr>
            <a:lvl4pPr marL="0" lvl="3" indent="0" algn="r">
              <a:spcBef>
                <a:spcPts val="0"/>
              </a:spcBef>
              <a:buNone/>
              <a:defRPr/>
            </a:lvl4pPr>
            <a:lvl5pPr marL="0" lvl="4" indent="0" algn="r">
              <a:spcBef>
                <a:spcPts val="0"/>
              </a:spcBef>
              <a:buNone/>
              <a:defRPr/>
            </a:lvl5pPr>
            <a:lvl6pPr marL="0" lvl="5" indent="0" algn="r">
              <a:spcBef>
                <a:spcPts val="0"/>
              </a:spcBef>
              <a:buNone/>
              <a:defRPr/>
            </a:lvl6pPr>
            <a:lvl7pPr marL="0" lvl="6" indent="0" algn="r">
              <a:spcBef>
                <a:spcPts val="0"/>
              </a:spcBef>
              <a:buNone/>
              <a:defRPr/>
            </a:lvl7pPr>
            <a:lvl8pPr marL="0" lvl="7" indent="0" algn="r">
              <a:spcBef>
                <a:spcPts val="0"/>
              </a:spcBef>
              <a:buNone/>
              <a:defRPr/>
            </a:lvl8pPr>
            <a:lvl9pPr marL="0" lvl="8" indent="0" algn="r">
              <a:spcBef>
                <a:spcPts val="0"/>
              </a:spcBef>
              <a:buNone/>
              <a:defRPr/>
            </a:lvl9pPr>
          </a:lstStyle>
          <a:p>
            <a:fld id="{00000000-1234-1234-1234-123412341234}" type="slidenum">
              <a:rPr lang="en-US" smtClean="0"/>
              <a:pPr/>
              <a:t>‹#›</a:t>
            </a:fld>
            <a:endParaRPr lang="en-US"/>
          </a:p>
        </p:txBody>
      </p:sp>
      <p:sp>
        <p:nvSpPr>
          <p:cNvPr id="32" name="Google Shape;32;p29"/>
          <p:cNvSpPr txBox="1">
            <a:spLocks noGrp="1"/>
          </p:cNvSpPr>
          <p:nvPr>
            <p:ph type="title"/>
          </p:nvPr>
        </p:nvSpPr>
        <p:spPr>
          <a:xfrm>
            <a:off x="2844800" y="274638"/>
            <a:ext cx="9042400" cy="1143000"/>
          </a:xfrm>
          <a:prstGeom prst="rect">
            <a:avLst/>
          </a:prstGeom>
          <a:noFill/>
          <a:ln>
            <a:noFill/>
          </a:ln>
        </p:spPr>
        <p:txBody>
          <a:bodyPr spcFirstLastPara="1" wrap="square" lIns="91425" tIns="45700" rIns="91425" bIns="45700" anchor="ctr" anchorCtr="0">
            <a:normAutofit/>
          </a:bodyPr>
          <a:lstStyle>
            <a:lvl1pPr lvl="0" algn="ctr">
              <a:spcBef>
                <a:spcPts val="0"/>
              </a:spcBef>
              <a:spcAft>
                <a:spcPts val="0"/>
              </a:spcAft>
              <a:buClr>
                <a:srgbClr val="0A295B"/>
              </a:buClr>
              <a:buSzPts val="4400"/>
              <a:buFont typeface="Arial"/>
              <a:buNone/>
              <a:defRPr>
                <a:solidFill>
                  <a:srgbClr val="0A295B"/>
                </a:solidFill>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pic>
        <p:nvPicPr>
          <p:cNvPr id="12" name="Picture 11" descr="Logo, company name&#10;&#10;Description automatically generated">
            <a:extLst>
              <a:ext uri="{FF2B5EF4-FFF2-40B4-BE49-F238E27FC236}">
                <a16:creationId xmlns:a16="http://schemas.microsoft.com/office/drawing/2014/main" id="{B7BE7BE5-14DE-4CED-875E-B1133261BDD8}"/>
              </a:ext>
            </a:extLst>
          </p:cNvPr>
          <p:cNvPicPr>
            <a:picLocks noChangeAspect="1"/>
          </p:cNvPicPr>
          <p:nvPr userDrawn="1"/>
        </p:nvPicPr>
        <p:blipFill rotWithShape="1">
          <a:blip r:embed="rId2"/>
          <a:srcRect b="10478"/>
          <a:stretch/>
        </p:blipFill>
        <p:spPr>
          <a:xfrm>
            <a:off x="845772" y="326050"/>
            <a:ext cx="1850537" cy="1016061"/>
          </a:xfrm>
          <a:prstGeom prst="rect">
            <a:avLst/>
          </a:prstGeom>
        </p:spPr>
      </p:pic>
      <p:sp>
        <p:nvSpPr>
          <p:cNvPr id="13" name="Google Shape;58;p32">
            <a:extLst>
              <a:ext uri="{FF2B5EF4-FFF2-40B4-BE49-F238E27FC236}">
                <a16:creationId xmlns:a16="http://schemas.microsoft.com/office/drawing/2014/main" id="{1435D1EC-B53E-4439-9F21-F8CA19440F35}"/>
              </a:ext>
            </a:extLst>
          </p:cNvPr>
          <p:cNvSpPr/>
          <p:nvPr userDrawn="1"/>
        </p:nvSpPr>
        <p:spPr>
          <a:xfrm>
            <a:off x="0" y="0"/>
            <a:ext cx="609600" cy="6858000"/>
          </a:xfrm>
          <a:prstGeom prst="rect">
            <a:avLst/>
          </a:prstGeom>
          <a:solidFill>
            <a:srgbClr val="5B872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aseline="-25000">
              <a:solidFill>
                <a:schemeClr val="lt1"/>
              </a:solidFill>
              <a:latin typeface="Arial"/>
              <a:ea typeface="Arial"/>
              <a:cs typeface="Arial"/>
              <a:sym typeface="Arial"/>
            </a:endParaRPr>
          </a:p>
        </p:txBody>
      </p:sp>
      <p:sp>
        <p:nvSpPr>
          <p:cNvPr id="14" name="Google Shape;59;p32">
            <a:extLst>
              <a:ext uri="{FF2B5EF4-FFF2-40B4-BE49-F238E27FC236}">
                <a16:creationId xmlns:a16="http://schemas.microsoft.com/office/drawing/2014/main" id="{77D5946F-2D91-462B-9F84-C1E2FFEAA0AA}"/>
              </a:ext>
            </a:extLst>
          </p:cNvPr>
          <p:cNvSpPr/>
          <p:nvPr userDrawn="1"/>
        </p:nvSpPr>
        <p:spPr>
          <a:xfrm>
            <a:off x="0" y="0"/>
            <a:ext cx="609600" cy="685800"/>
          </a:xfrm>
          <a:prstGeom prst="rect">
            <a:avLst/>
          </a:prstGeom>
          <a:solidFill>
            <a:srgbClr val="0079C2"/>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aseline="-25000">
              <a:solidFill>
                <a:schemeClr val="lt1"/>
              </a:solidFill>
              <a:latin typeface="Arial"/>
              <a:ea typeface="Arial"/>
              <a:cs typeface="Arial"/>
              <a:sym typeface="Arial"/>
            </a:endParaRPr>
          </a:p>
        </p:txBody>
      </p:sp>
      <p:sp>
        <p:nvSpPr>
          <p:cNvPr id="15" name="Google Shape;60;p32">
            <a:extLst>
              <a:ext uri="{FF2B5EF4-FFF2-40B4-BE49-F238E27FC236}">
                <a16:creationId xmlns:a16="http://schemas.microsoft.com/office/drawing/2014/main" id="{39584BD9-11C9-44AC-BBD0-D14D4F8D67E3}"/>
              </a:ext>
            </a:extLst>
          </p:cNvPr>
          <p:cNvSpPr/>
          <p:nvPr userDrawn="1"/>
        </p:nvSpPr>
        <p:spPr>
          <a:xfrm>
            <a:off x="0" y="4648200"/>
            <a:ext cx="609600" cy="22098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aseline="-25000">
              <a:solidFill>
                <a:schemeClr val="lt1"/>
              </a:solidFill>
              <a:latin typeface="Arial"/>
              <a:ea typeface="Arial"/>
              <a:cs typeface="Arial"/>
              <a:sym typeface="Arial"/>
            </a:endParaRPr>
          </a:p>
        </p:txBody>
      </p:sp>
    </p:spTree>
    <p:extLst>
      <p:ext uri="{BB962C8B-B14F-4D97-AF65-F5344CB8AC3E}">
        <p14:creationId xmlns:p14="http://schemas.microsoft.com/office/powerpoint/2010/main" val="750950242"/>
      </p:ext>
    </p:extLst>
  </p:cSld>
  <p:clrMapOvr>
    <a:masterClrMapping/>
  </p:clrMapOvr>
</p:sldLayout>
</file>

<file path=ppt/slideLayouts/slideLayout46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CFA8823-DBDC-4D8C-AB1A-4BFBEF48EF3D}"/>
              </a:ext>
            </a:extLst>
          </p:cNvPr>
          <p:cNvSpPr/>
          <p:nvPr userDrawn="1"/>
        </p:nvSpPr>
        <p:spPr>
          <a:xfrm>
            <a:off x="0" y="5002925"/>
            <a:ext cx="12192000" cy="185507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Tree>
    <p:extLst>
      <p:ext uri="{BB962C8B-B14F-4D97-AF65-F5344CB8AC3E}">
        <p14:creationId xmlns:p14="http://schemas.microsoft.com/office/powerpoint/2010/main" val="3899700386"/>
      </p:ext>
    </p:extLst>
  </p:cSld>
  <p:clrMapOvr>
    <a:masterClrMapping/>
  </p:clrMapOvr>
</p:sldLayout>
</file>

<file path=ppt/slideLayouts/slideLayout469.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9" name="Picture Placeholder 8"/>
          <p:cNvSpPr>
            <a:spLocks noGrp="1"/>
          </p:cNvSpPr>
          <p:nvPr>
            <p:ph type="pic" sz="quarter" idx="10"/>
          </p:nvPr>
        </p:nvSpPr>
        <p:spPr>
          <a:xfrm>
            <a:off x="609600" y="1600200"/>
            <a:ext cx="10972800" cy="246221"/>
          </a:xfrm>
        </p:spPr>
        <p:txBody>
          <a:bodyPr/>
          <a:lstStyle/>
          <a:p>
            <a:endParaRPr lang="en-US"/>
          </a:p>
        </p:txBody>
      </p:sp>
    </p:spTree>
    <p:extLst>
      <p:ext uri="{BB962C8B-B14F-4D97-AF65-F5344CB8AC3E}">
        <p14:creationId xmlns:p14="http://schemas.microsoft.com/office/powerpoint/2010/main" val="32237506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le">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3B562A0-3D6C-45D0-9E85-8A28A804D0F1}"/>
              </a:ext>
            </a:extLst>
          </p:cNvPr>
          <p:cNvGraphicFramePr>
            <a:graphicFrameLocks noChangeAspect="1"/>
          </p:cNvGraphicFramePr>
          <p:nvPr userDrawn="1">
            <p:custDataLst>
              <p:tags r:id="rId2"/>
            </p:custDataLst>
            <p:extLst>
              <p:ext uri="{D42A27DB-BD31-4B8C-83A1-F6EECF244321}">
                <p14:modId xmlns:p14="http://schemas.microsoft.com/office/powerpoint/2010/main" val="14566668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3" name="think-cell Slide" r:id="rId8" imgW="592" imgH="591" progId="TCLayout.ActiveDocument.1">
                  <p:embed/>
                </p:oleObj>
              </mc:Choice>
              <mc:Fallback>
                <p:oleObj name="think-cell Slide" r:id="rId8" imgW="592" imgH="591" progId="TCLayout.ActiveDocument.1">
                  <p:embed/>
                  <p:pic>
                    <p:nvPicPr>
                      <p:cNvPr id="7" name="Object 6" hidden="1">
                        <a:extLst>
                          <a:ext uri="{FF2B5EF4-FFF2-40B4-BE49-F238E27FC236}">
                            <a16:creationId xmlns:a16="http://schemas.microsoft.com/office/drawing/2014/main" id="{33B562A0-3D6C-45D0-9E85-8A28A804D0F1}"/>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C42428D-965F-410A-AAB0-2F4E028AF07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4400" b="1" i="0" baseline="0">
              <a:solidFill>
                <a:schemeClr val="bg1"/>
              </a:solidFill>
              <a:latin typeface="Arial" panose="020B0604020202020204" pitchFamily="34" charset="0"/>
              <a:ea typeface="+mj-ea"/>
              <a:cs typeface="+mj-cs"/>
              <a:sym typeface="Arial" panose="020B0604020202020204" pitchFamily="34" charset="0"/>
            </a:endParaRPr>
          </a:p>
        </p:txBody>
      </p:sp>
      <p:sp>
        <p:nvSpPr>
          <p:cNvPr id="16" name="Documenttype">
            <a:extLst>
              <a:ext uri="{FF2B5EF4-FFF2-40B4-BE49-F238E27FC236}">
                <a16:creationId xmlns:a16="http://schemas.microsoft.com/office/drawing/2014/main" id="{0CADA7EB-5C2E-4AD4-A32E-534A28817C8A}"/>
              </a:ext>
            </a:extLst>
          </p:cNvPr>
          <p:cNvSpPr>
            <a:spLocks noGrp="1"/>
          </p:cNvSpPr>
          <p:nvPr>
            <p:ph type="body" sz="quarter" idx="13" hasCustomPrompt="1"/>
            <p:custDataLst>
              <p:tags r:id="rId4"/>
            </p:custDataLst>
          </p:nvPr>
        </p:nvSpPr>
        <p:spPr>
          <a:xfrm>
            <a:off x="550800" y="5132288"/>
            <a:ext cx="9726795"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1400" dirty="0"/>
            </a:lvl1pPr>
          </a:lstStyle>
          <a:p>
            <a:pPr lvl="0">
              <a:buNone/>
            </a:pPr>
            <a:r>
              <a:rPr lang="en-US"/>
              <a:t>Edit date or title/role</a:t>
            </a:r>
          </a:p>
        </p:txBody>
      </p:sp>
      <p:sp>
        <p:nvSpPr>
          <p:cNvPr id="18" name="Subtitle">
            <a:extLst>
              <a:ext uri="{FF2B5EF4-FFF2-40B4-BE49-F238E27FC236}">
                <a16:creationId xmlns:a16="http://schemas.microsoft.com/office/drawing/2014/main" id="{C85A1636-E33D-4640-A4BA-89E2008C1ED4}"/>
              </a:ext>
            </a:extLst>
          </p:cNvPr>
          <p:cNvSpPr>
            <a:spLocks noGrp="1"/>
          </p:cNvSpPr>
          <p:nvPr>
            <p:ph type="subTitle" idx="1"/>
            <p:custDataLst>
              <p:tags r:id="rId5"/>
            </p:custDataLst>
          </p:nvPr>
        </p:nvSpPr>
        <p:spPr>
          <a:xfrm>
            <a:off x="551941" y="4195382"/>
            <a:ext cx="9726795" cy="30777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2000" dirty="0"/>
            </a:lvl1pPr>
          </a:lstStyle>
          <a:p>
            <a:pPr lvl="0">
              <a:buNone/>
            </a:pPr>
            <a:r>
              <a:rPr lang="en-US"/>
              <a:t>Click to edit Master subtitle style</a:t>
            </a:r>
          </a:p>
        </p:txBody>
      </p:sp>
      <p:sp>
        <p:nvSpPr>
          <p:cNvPr id="20" name="Title">
            <a:extLst>
              <a:ext uri="{FF2B5EF4-FFF2-40B4-BE49-F238E27FC236}">
                <a16:creationId xmlns:a16="http://schemas.microsoft.com/office/drawing/2014/main" id="{AA4E4E19-7239-46DA-AE24-CE9556C9BE7D}"/>
              </a:ext>
            </a:extLst>
          </p:cNvPr>
          <p:cNvSpPr>
            <a:spLocks noGrp="1"/>
          </p:cNvSpPr>
          <p:nvPr>
            <p:ph type="title"/>
            <p:custDataLst>
              <p:tags r:id="rId6"/>
            </p:custDataLst>
          </p:nvPr>
        </p:nvSpPr>
        <p:spPr>
          <a:xfrm>
            <a:off x="551941" y="1781780"/>
            <a:ext cx="9726795" cy="677108"/>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lvl1pPr>
              <a:defRPr lang="en-US" sz="4400" dirty="0">
                <a:solidFill>
                  <a:schemeClr val="accent1"/>
                </a:solidFill>
              </a:defRPr>
            </a:lvl1pPr>
          </a:lstStyle>
          <a:p>
            <a:pPr lvl="0"/>
            <a:r>
              <a:rPr lang="en-US"/>
              <a:t>Click to edit Master title style</a:t>
            </a:r>
          </a:p>
        </p:txBody>
      </p:sp>
      <p:sp>
        <p:nvSpPr>
          <p:cNvPr id="9" name="Rectangle 8">
            <a:extLst>
              <a:ext uri="{FF2B5EF4-FFF2-40B4-BE49-F238E27FC236}">
                <a16:creationId xmlns:a16="http://schemas.microsoft.com/office/drawing/2014/main" id="{E7B4FFE7-DDA4-46AE-910C-AFC9712FA38D}"/>
              </a:ext>
            </a:extLst>
          </p:cNvPr>
          <p:cNvSpPr/>
          <p:nvPr/>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hord 9">
            <a:extLst>
              <a:ext uri="{FF2B5EF4-FFF2-40B4-BE49-F238E27FC236}">
                <a16:creationId xmlns:a16="http://schemas.microsoft.com/office/drawing/2014/main" id="{F38B96C9-1FF5-4C32-8F78-F8FC0B733668}"/>
              </a:ext>
            </a:extLst>
          </p:cNvPr>
          <p:cNvSpPr/>
          <p:nvPr/>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3" name="Rectangle 12">
            <a:extLst>
              <a:ext uri="{FF2B5EF4-FFF2-40B4-BE49-F238E27FC236}">
                <a16:creationId xmlns:a16="http://schemas.microsoft.com/office/drawing/2014/main" id="{781EFFA1-85F2-4556-81C3-7DA40F141E04}"/>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a:extLst>
              <a:ext uri="{FF2B5EF4-FFF2-40B4-BE49-F238E27FC236}">
                <a16:creationId xmlns:a16="http://schemas.microsoft.com/office/drawing/2014/main" id="{78DB78B1-AC2B-4AE3-968A-E358873C8C7D}"/>
              </a:ext>
            </a:extLst>
          </p:cNvPr>
          <p:cNvPicPr>
            <a:picLocks noChangeAspect="1"/>
          </p:cNvPicPr>
          <p:nvPr userDrawn="1"/>
        </p:nvPicPr>
        <p:blipFill>
          <a:blip r:embed="rId10"/>
          <a:stretch>
            <a:fillRect/>
          </a:stretch>
        </p:blipFill>
        <p:spPr bwMode="ltGray">
          <a:xfrm>
            <a:off x="553972" y="6307972"/>
            <a:ext cx="2927350" cy="380882"/>
          </a:xfrm>
          <a:prstGeom prst="rect">
            <a:avLst/>
          </a:prstGeom>
        </p:spPr>
      </p:pic>
      <p:pic>
        <p:nvPicPr>
          <p:cNvPr id="19" name="Picture 13" descr="Governor Newsom Launches “Vaccinate All 58” Campaign based on Safety and  Equity as First Vaccines Arrive to California | California Governor">
            <a:extLst>
              <a:ext uri="{FF2B5EF4-FFF2-40B4-BE49-F238E27FC236}">
                <a16:creationId xmlns:a16="http://schemas.microsoft.com/office/drawing/2014/main" id="{70740478-4937-4504-A627-B86ED7AF69E1}"/>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38280782"/>
      </p:ext>
    </p:extLst>
  </p:cSld>
  <p:clrMapOvr>
    <a:masterClrMapping/>
  </p:clrMapOvr>
</p:sldLayout>
</file>

<file path=ppt/slideLayouts/slideLayout470.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43"/>
        <p:cNvGrpSpPr/>
        <p:nvPr/>
      </p:nvGrpSpPr>
      <p:grpSpPr>
        <a:xfrm>
          <a:off x="0" y="0"/>
          <a:ext cx="0" cy="0"/>
          <a:chOff x="0" y="0"/>
          <a:chExt cx="0" cy="0"/>
        </a:xfrm>
      </p:grpSpPr>
      <p:sp>
        <p:nvSpPr>
          <p:cNvPr id="44" name="Google Shape;44;p8"/>
          <p:cNvSpPr txBox="1">
            <a:spLocks noGrp="1"/>
          </p:cNvSpPr>
          <p:nvPr>
            <p:ph type="title"/>
          </p:nvPr>
        </p:nvSpPr>
        <p:spPr>
          <a:xfrm>
            <a:off x="1850800" y="2409400"/>
            <a:ext cx="8490400" cy="2039200"/>
          </a:xfrm>
          <a:prstGeom prst="rect">
            <a:avLst/>
          </a:prstGeom>
        </p:spPr>
        <p:txBody>
          <a:bodyPr spcFirstLastPara="1" wrap="square" lIns="91425" tIns="91425" rIns="91425" bIns="91425" anchor="ctr" anchorCtr="0">
            <a:noAutofit/>
          </a:bodyPr>
          <a:lstStyle>
            <a:lvl1pPr lvl="0" algn="ctr">
              <a:spcBef>
                <a:spcPts val="0"/>
              </a:spcBef>
              <a:spcAft>
                <a:spcPts val="0"/>
              </a:spcAft>
              <a:buSzPts val="6000"/>
              <a:buNone/>
              <a:defRPr sz="8000"/>
            </a:lvl1pPr>
            <a:lvl2pPr lvl="1" algn="ctr">
              <a:spcBef>
                <a:spcPts val="0"/>
              </a:spcBef>
              <a:spcAft>
                <a:spcPts val="0"/>
              </a:spcAft>
              <a:buSzPts val="6000"/>
              <a:buNone/>
              <a:defRPr sz="8000"/>
            </a:lvl2pPr>
            <a:lvl3pPr lvl="2" algn="ctr">
              <a:spcBef>
                <a:spcPts val="0"/>
              </a:spcBef>
              <a:spcAft>
                <a:spcPts val="0"/>
              </a:spcAft>
              <a:buSzPts val="6000"/>
              <a:buNone/>
              <a:defRPr sz="8000"/>
            </a:lvl3pPr>
            <a:lvl4pPr lvl="3" algn="ctr">
              <a:spcBef>
                <a:spcPts val="0"/>
              </a:spcBef>
              <a:spcAft>
                <a:spcPts val="0"/>
              </a:spcAft>
              <a:buSzPts val="6000"/>
              <a:buNone/>
              <a:defRPr sz="8000"/>
            </a:lvl4pPr>
            <a:lvl5pPr lvl="4" algn="ctr">
              <a:spcBef>
                <a:spcPts val="0"/>
              </a:spcBef>
              <a:spcAft>
                <a:spcPts val="0"/>
              </a:spcAft>
              <a:buSzPts val="6000"/>
              <a:buNone/>
              <a:defRPr sz="8000"/>
            </a:lvl5pPr>
            <a:lvl6pPr lvl="5" algn="ctr">
              <a:spcBef>
                <a:spcPts val="0"/>
              </a:spcBef>
              <a:spcAft>
                <a:spcPts val="0"/>
              </a:spcAft>
              <a:buSzPts val="6000"/>
              <a:buNone/>
              <a:defRPr sz="8000"/>
            </a:lvl6pPr>
            <a:lvl7pPr lvl="6" algn="ctr">
              <a:spcBef>
                <a:spcPts val="0"/>
              </a:spcBef>
              <a:spcAft>
                <a:spcPts val="0"/>
              </a:spcAft>
              <a:buSzPts val="6000"/>
              <a:buNone/>
              <a:defRPr sz="8000"/>
            </a:lvl7pPr>
            <a:lvl8pPr lvl="7" algn="ctr">
              <a:spcBef>
                <a:spcPts val="0"/>
              </a:spcBef>
              <a:spcAft>
                <a:spcPts val="0"/>
              </a:spcAft>
              <a:buSzPts val="6000"/>
              <a:buNone/>
              <a:defRPr sz="8000"/>
            </a:lvl8pPr>
            <a:lvl9pPr lvl="8" algn="ctr">
              <a:spcBef>
                <a:spcPts val="0"/>
              </a:spcBef>
              <a:spcAft>
                <a:spcPts val="0"/>
              </a:spcAft>
              <a:buSzPts val="6000"/>
              <a:buNone/>
              <a:defRPr sz="8000"/>
            </a:lvl9pPr>
          </a:lstStyle>
          <a:p>
            <a:endParaRPr/>
          </a:p>
        </p:txBody>
      </p:sp>
    </p:spTree>
    <p:extLst>
      <p:ext uri="{BB962C8B-B14F-4D97-AF65-F5344CB8AC3E}">
        <p14:creationId xmlns:p14="http://schemas.microsoft.com/office/powerpoint/2010/main" val="1876498288"/>
      </p:ext>
    </p:extLst>
  </p:cSld>
  <p:clrMapOvr>
    <a:masterClrMapping/>
  </p:clrMapOvr>
</p:sldLayout>
</file>

<file path=ppt/slideLayouts/slideLayout471.xml><?xml version="1.0" encoding="utf-8"?>
<p:sldLayout xmlns:a="http://schemas.openxmlformats.org/drawingml/2006/main" xmlns:r="http://schemas.openxmlformats.org/officeDocument/2006/relationships" xmlns:p="http://schemas.openxmlformats.org/presentationml/2006/main" matchingName="Title Only">
  <p:cSld name="5_Title Only">
    <p:spTree>
      <p:nvGrpSpPr>
        <p:cNvPr id="1" name="Shape 182"/>
        <p:cNvGrpSpPr/>
        <p:nvPr/>
      </p:nvGrpSpPr>
      <p:grpSpPr>
        <a:xfrm>
          <a:off x="0" y="0"/>
          <a:ext cx="0" cy="0"/>
          <a:chOff x="0" y="0"/>
          <a:chExt cx="0" cy="0"/>
        </a:xfrm>
      </p:grpSpPr>
      <p:sp>
        <p:nvSpPr>
          <p:cNvPr id="183" name="Google Shape;183;gbdcf8fcad3_0_1363"/>
          <p:cNvSpPr txBox="1">
            <a:spLocks noGrp="1"/>
          </p:cNvSpPr>
          <p:nvPr>
            <p:ph type="title"/>
          </p:nvPr>
        </p:nvSpPr>
        <p:spPr>
          <a:xfrm>
            <a:off x="916939" y="329406"/>
            <a:ext cx="10358100" cy="13005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sz="3600" b="0" i="0">
                <a:solidFill>
                  <a:srgbClr val="1F469E"/>
                </a:solidFill>
                <a:latin typeface="Arial"/>
                <a:ea typeface="Arial"/>
                <a:cs typeface="Arial"/>
                <a:sym typeface="Aria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84" name="Google Shape;184;gbdcf8fcad3_0_1363"/>
          <p:cNvSpPr txBox="1">
            <a:spLocks noGrp="1"/>
          </p:cNvSpPr>
          <p:nvPr>
            <p:ph type="ftr" idx="11"/>
          </p:nvPr>
        </p:nvSpPr>
        <p:spPr>
          <a:xfrm>
            <a:off x="4145280" y="6377940"/>
            <a:ext cx="3901500" cy="342900"/>
          </a:xfrm>
          <a:prstGeom prst="rect">
            <a:avLst/>
          </a:prstGeom>
          <a:noFill/>
          <a:ln>
            <a:noFill/>
          </a:ln>
        </p:spPr>
        <p:txBody>
          <a:bodyPr spcFirstLastPara="1" wrap="square" lIns="0" tIns="0" rIns="0" bIns="0" anchor="t" anchorCtr="0">
            <a:noAutofit/>
          </a:bodyPr>
          <a:lstStyle>
            <a:lvl1pPr lvl="0" algn="ctr"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85" name="Google Shape;185;gbdcf8fcad3_0_1363"/>
          <p:cNvSpPr txBox="1">
            <a:spLocks noGrp="1"/>
          </p:cNvSpPr>
          <p:nvPr>
            <p:ph type="dt" idx="10"/>
          </p:nvPr>
        </p:nvSpPr>
        <p:spPr>
          <a:xfrm>
            <a:off x="609600" y="6377940"/>
            <a:ext cx="2804100" cy="342900"/>
          </a:xfrm>
          <a:prstGeom prst="rect">
            <a:avLst/>
          </a:prstGeom>
          <a:noFill/>
          <a:ln>
            <a:noFill/>
          </a:ln>
        </p:spPr>
        <p:txBody>
          <a:bodyPr spcFirstLastPara="1" wrap="square" lIns="0" tIns="0" rIns="0" bIns="0" anchor="t" anchorCtr="0">
            <a:noAutofit/>
          </a:bodyPr>
          <a:lstStyle>
            <a:lvl1pPr lvl="0" algn="l" rtl="0">
              <a:lnSpc>
                <a:spcPct val="100000"/>
              </a:lnSpc>
              <a:spcBef>
                <a:spcPts val="0"/>
              </a:spcBef>
              <a:spcAft>
                <a:spcPts val="0"/>
              </a:spcAft>
              <a:buSzPts val="1400"/>
              <a:buNone/>
              <a:defRPr>
                <a:solidFill>
                  <a:srgbClr val="888888"/>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sp>
        <p:nvSpPr>
          <p:cNvPr id="186" name="Google Shape;186;gbdcf8fcad3_0_1363"/>
          <p:cNvSpPr txBox="1">
            <a:spLocks noGrp="1"/>
          </p:cNvSpPr>
          <p:nvPr>
            <p:ph type="sldNum" idx="12"/>
          </p:nvPr>
        </p:nvSpPr>
        <p:spPr>
          <a:xfrm>
            <a:off x="8778240" y="6377940"/>
            <a:ext cx="2804100" cy="342900"/>
          </a:xfrm>
          <a:prstGeom prst="rect">
            <a:avLst/>
          </a:prstGeom>
          <a:noFill/>
          <a:ln>
            <a:noFill/>
          </a:ln>
        </p:spPr>
        <p:txBody>
          <a:bodyPr spcFirstLastPara="1" wrap="square" lIns="0" tIns="0" rIns="0" bIns="0" anchor="t" anchorCtr="0">
            <a:noAutofit/>
          </a:bodyPr>
          <a:lstStyle>
            <a:lvl1pPr marL="0" marR="0" lvl="0"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1pPr>
            <a:lvl2pPr marL="0" marR="0" lvl="1"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2pPr>
            <a:lvl3pPr marL="0" marR="0" lvl="2"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3pPr>
            <a:lvl4pPr marL="0" marR="0" lvl="3"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4pPr>
            <a:lvl5pPr marL="0" marR="0" lvl="4"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5pPr>
            <a:lvl6pPr marL="0" marR="0" lvl="5"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6pPr>
            <a:lvl7pPr marL="0" marR="0" lvl="6"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7pPr>
            <a:lvl8pPr marL="0" marR="0" lvl="7"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8pPr>
            <a:lvl9pPr marL="0" marR="0" lvl="8" indent="0" algn="r" rtl="0">
              <a:lnSpc>
                <a:spcPct val="100000"/>
              </a:lnSpc>
              <a:spcBef>
                <a:spcPts val="0"/>
              </a:spcBef>
              <a:spcAft>
                <a:spcPts val="0"/>
              </a:spcAft>
              <a:buClr>
                <a:srgbClr val="000000"/>
              </a:buClr>
              <a:buSzPts val="1800"/>
              <a:buFont typeface="Arial"/>
              <a:buNone/>
              <a:defRPr sz="18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1621781151"/>
      </p:ext>
    </p:extLst>
  </p:cSld>
  <p:clrMapOvr>
    <a:masterClrMapping/>
  </p:clrMapOvr>
</p:sldLayout>
</file>

<file path=ppt/slideLayouts/slideLayout472.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4" y="1450429"/>
            <a:ext cx="11090953" cy="4240924"/>
          </a:xfrm>
        </p:spPr>
        <p:txBody>
          <a:bodyPr>
            <a:normAutofit/>
          </a:bodyPr>
          <a:lstStyle>
            <a:lvl1pPr marL="0" indent="0" algn="ctr">
              <a:lnSpc>
                <a:spcPct val="150000"/>
              </a:lnSpc>
              <a:buNone/>
              <a:defRPr sz="3000"/>
            </a:lvl1pPr>
          </a:lstStyle>
          <a:p>
            <a:pPr lvl="0"/>
            <a:r>
              <a:rPr lang="en-US"/>
              <a:t>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 text</a:t>
            </a:r>
          </a:p>
        </p:txBody>
      </p:sp>
      <p:sp>
        <p:nvSpPr>
          <p:cNvPr id="2" name="Footer Placeholder 1"/>
          <p:cNvSpPr>
            <a:spLocks noGrp="1"/>
          </p:cNvSpPr>
          <p:nvPr>
            <p:ph type="ftr" sz="quarter" idx="22"/>
          </p:nvPr>
        </p:nvSpPr>
        <p:spPr/>
        <p:txBody>
          <a:bodyPr/>
          <a:lstStyle/>
          <a:p>
            <a:r>
              <a:rPr lang="en-US"/>
              <a:t>© Copyright 2020 by California Medical Association</a:t>
            </a:r>
          </a:p>
        </p:txBody>
      </p:sp>
      <p:sp>
        <p:nvSpPr>
          <p:cNvPr id="3" name="Slide Number Placeholder 2"/>
          <p:cNvSpPr>
            <a:spLocks noGrp="1"/>
          </p:cNvSpPr>
          <p:nvPr>
            <p:ph type="sldNum" sz="quarter" idx="23"/>
          </p:nvPr>
        </p:nvSpPr>
        <p:spPr/>
        <p:txBody>
          <a:bodyPr/>
          <a:lstStyle/>
          <a:p>
            <a:fld id="{462947D2-DB38-B544-9561-A22ED783005A}" type="slidenum">
              <a:rPr lang="en-US" smtClean="0"/>
              <a:t>‹#›</a:t>
            </a:fld>
            <a:endParaRPr lang="en-US"/>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pic>
        <p:nvPicPr>
          <p:cNvPr id="8" name="Picture 7">
            <a:extLst>
              <a:ext uri="{FF2B5EF4-FFF2-40B4-BE49-F238E27FC236}">
                <a16:creationId xmlns:a16="http://schemas.microsoft.com/office/drawing/2014/main" id="{80FB3F3D-B7A7-5C49-B649-12BC464757C8}"/>
              </a:ext>
            </a:extLst>
          </p:cNvPr>
          <p:cNvPicPr>
            <a:picLocks noChangeAspect="1"/>
          </p:cNvPicPr>
          <p:nvPr userDrawn="1"/>
        </p:nvPicPr>
        <p:blipFill>
          <a:blip r:embed="rId2"/>
          <a:stretch>
            <a:fillRect/>
          </a:stretch>
        </p:blipFill>
        <p:spPr>
          <a:xfrm>
            <a:off x="11490499" y="-22227"/>
            <a:ext cx="683203" cy="506812"/>
          </a:xfrm>
          <a:prstGeom prst="rect">
            <a:avLst/>
          </a:prstGeom>
        </p:spPr>
      </p:pic>
    </p:spTree>
    <p:extLst>
      <p:ext uri="{BB962C8B-B14F-4D97-AF65-F5344CB8AC3E}">
        <p14:creationId xmlns:p14="http://schemas.microsoft.com/office/powerpoint/2010/main" val="2239761860"/>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473.xml><?xml version="1.0" encoding="utf-8"?>
<p:sldLayout xmlns:a="http://schemas.openxmlformats.org/drawingml/2006/main" xmlns:r="http://schemas.openxmlformats.org/officeDocument/2006/relationships" xmlns:p="http://schemas.openxmlformats.org/presentationml/2006/main" userDrawn="1">
  <p:cSld name="Body Copy">
    <p:spTree>
      <p:nvGrpSpPr>
        <p:cNvPr id="1" name=""/>
        <p:cNvGrpSpPr/>
        <p:nvPr/>
      </p:nvGrpSpPr>
      <p:grpSpPr>
        <a:xfrm>
          <a:off x="0" y="0"/>
          <a:ext cx="0" cy="0"/>
          <a:chOff x="0" y="0"/>
          <a:chExt cx="0" cy="0"/>
        </a:xfrm>
      </p:grpSpPr>
      <p:sp>
        <p:nvSpPr>
          <p:cNvPr id="21" name="Text Placeholder 20"/>
          <p:cNvSpPr>
            <a:spLocks noGrp="1"/>
          </p:cNvSpPr>
          <p:nvPr>
            <p:ph type="body" sz="quarter" idx="21" hasCustomPrompt="1"/>
          </p:nvPr>
        </p:nvSpPr>
        <p:spPr>
          <a:xfrm>
            <a:off x="498793" y="984144"/>
            <a:ext cx="11090953" cy="4901784"/>
          </a:xfrm>
        </p:spPr>
        <p:txBody>
          <a:bodyPr>
            <a:normAutofit/>
          </a:bodyPr>
          <a:lstStyle>
            <a:lvl1pPr marL="228600" marR="0" indent="-228600" algn="l" defTabSz="914400" rtl="0" eaLnBrk="1" fontAlgn="auto" latinLnBrk="0" hangingPunct="1">
              <a:lnSpc>
                <a:spcPct val="150000"/>
              </a:lnSpc>
              <a:spcBef>
                <a:spcPts val="1000"/>
              </a:spcBef>
              <a:spcAft>
                <a:spcPts val="0"/>
              </a:spcAft>
              <a:buClrTx/>
              <a:buSzTx/>
              <a:buFont typeface="Arial"/>
              <a:buChar char="•"/>
              <a:tabLst/>
              <a:defRPr sz="2400"/>
            </a:lvl1pPr>
          </a:lstStyle>
          <a:p>
            <a:pPr lvl="0"/>
            <a:r>
              <a:rPr lang="en-US"/>
              <a:t>Bullet</a:t>
            </a:r>
          </a:p>
          <a:p>
            <a:pPr lvl="0"/>
            <a:r>
              <a:rPr lang="en-US"/>
              <a:t>Bullet</a:t>
            </a:r>
          </a:p>
          <a:p>
            <a:pPr lvl="0"/>
            <a:r>
              <a:rPr lang="en-US"/>
              <a:t>Bullet</a:t>
            </a:r>
          </a:p>
          <a:p>
            <a:pPr lvl="0"/>
            <a:r>
              <a:rPr lang="en-US"/>
              <a:t>Bullet</a:t>
            </a:r>
          </a:p>
          <a:p>
            <a:pPr lvl="0"/>
            <a:r>
              <a:rPr lang="en-US"/>
              <a:t>Bullet</a:t>
            </a:r>
          </a:p>
          <a:p>
            <a:pPr lvl="0"/>
            <a:r>
              <a:rPr lang="en-US"/>
              <a:t>Bullet</a:t>
            </a:r>
          </a:p>
          <a:p>
            <a:pPr marL="228600" marR="0" lvl="0" indent="-228600" algn="l" defTabSz="914400" rtl="0" eaLnBrk="1" fontAlgn="auto" latinLnBrk="0" hangingPunct="1">
              <a:lnSpc>
                <a:spcPct val="150000"/>
              </a:lnSpc>
              <a:spcBef>
                <a:spcPts val="1000"/>
              </a:spcBef>
              <a:spcAft>
                <a:spcPts val="0"/>
              </a:spcAft>
              <a:buClrTx/>
              <a:buSzTx/>
              <a:buFont typeface="Arial"/>
              <a:buChar char="•"/>
              <a:tabLst/>
              <a:defRPr/>
            </a:pPr>
            <a:r>
              <a:rPr lang="en-US"/>
              <a:t>Bullet</a:t>
            </a:r>
          </a:p>
        </p:txBody>
      </p:sp>
      <p:sp>
        <p:nvSpPr>
          <p:cNvPr id="7" name="Title Placeholder 1"/>
          <p:cNvSpPr>
            <a:spLocks noGrp="1"/>
          </p:cNvSpPr>
          <p:nvPr>
            <p:ph type="title" hasCustomPrompt="1"/>
          </p:nvPr>
        </p:nvSpPr>
        <p:spPr>
          <a:xfrm>
            <a:off x="498794" y="234904"/>
            <a:ext cx="10515600" cy="519728"/>
          </a:xfrm>
          <a:prstGeom prst="rect">
            <a:avLst/>
          </a:prstGeom>
        </p:spPr>
        <p:txBody>
          <a:bodyPr vert="horz" lIns="0" tIns="0" rIns="0" bIns="45720" rtlCol="0" anchor="t" anchorCtr="0">
            <a:noAutofit/>
          </a:bodyPr>
          <a:lstStyle/>
          <a:p>
            <a:r>
              <a:rPr lang="en-US"/>
              <a:t>Click to edit title</a:t>
            </a:r>
          </a:p>
        </p:txBody>
      </p:sp>
      <p:sp>
        <p:nvSpPr>
          <p:cNvPr id="8" name="Footer Placeholder 5"/>
          <p:cNvSpPr>
            <a:spLocks noGrp="1"/>
          </p:cNvSpPr>
          <p:nvPr>
            <p:ph type="ftr" sz="quarter" idx="3"/>
          </p:nvPr>
        </p:nvSpPr>
        <p:spPr>
          <a:xfrm>
            <a:off x="7601025" y="6261696"/>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a:t>© Copyright 2020 by California Medical Association</a:t>
            </a:r>
          </a:p>
        </p:txBody>
      </p:sp>
      <p:sp>
        <p:nvSpPr>
          <p:cNvPr id="9" name="Slide Number Placeholder 8"/>
          <p:cNvSpPr>
            <a:spLocks noGrp="1"/>
          </p:cNvSpPr>
          <p:nvPr>
            <p:ph type="sldNum" sz="quarter" idx="4"/>
          </p:nvPr>
        </p:nvSpPr>
        <p:spPr>
          <a:xfrm>
            <a:off x="9330690" y="6261696"/>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pic>
        <p:nvPicPr>
          <p:cNvPr id="10" name="Picture 9">
            <a:extLst>
              <a:ext uri="{FF2B5EF4-FFF2-40B4-BE49-F238E27FC236}">
                <a16:creationId xmlns:a16="http://schemas.microsoft.com/office/drawing/2014/main" id="{170AC3A0-3801-094E-9417-E5052EEBE78F}"/>
              </a:ext>
            </a:extLst>
          </p:cNvPr>
          <p:cNvPicPr>
            <a:picLocks noChangeAspect="1"/>
          </p:cNvPicPr>
          <p:nvPr userDrawn="1"/>
        </p:nvPicPr>
        <p:blipFill>
          <a:blip r:embed="rId2"/>
          <a:stretch>
            <a:fillRect/>
          </a:stretch>
        </p:blipFill>
        <p:spPr>
          <a:xfrm>
            <a:off x="11490499" y="-22227"/>
            <a:ext cx="683203" cy="506812"/>
          </a:xfrm>
          <a:prstGeom prst="rect">
            <a:avLst/>
          </a:prstGeom>
        </p:spPr>
      </p:pic>
    </p:spTree>
    <p:extLst>
      <p:ext uri="{BB962C8B-B14F-4D97-AF65-F5344CB8AC3E}">
        <p14:creationId xmlns:p14="http://schemas.microsoft.com/office/powerpoint/2010/main" val="1623630589"/>
      </p:ext>
    </p:extLst>
  </p:cSld>
  <p:clrMapOvr>
    <a:masterClrMapping/>
  </p:clrMapOvr>
  <p:extLst>
    <p:ext uri="{DCECCB84-F9BA-43D5-87BE-67443E8EF086}">
      <p15:sldGuideLst xmlns:p15="http://schemas.microsoft.com/office/powerpoint/2012/main">
        <p15:guide id="1" pos="288">
          <p15:clr>
            <a:srgbClr val="FBAE40"/>
          </p15:clr>
        </p15:guide>
        <p15:guide id="2" pos="7392">
          <p15:clr>
            <a:srgbClr val="FBAE40"/>
          </p15:clr>
        </p15:guide>
        <p15:guide id="3" pos="3480">
          <p15:clr>
            <a:srgbClr val="FBAE40"/>
          </p15:clr>
        </p15:guide>
        <p15:guide id="4" orient="horz" pos="1152">
          <p15:clr>
            <a:srgbClr val="FBAE40"/>
          </p15:clr>
        </p15:guide>
        <p15:guide id="5" orient="horz" pos="3864">
          <p15:clr>
            <a:srgbClr val="FBAE40"/>
          </p15:clr>
        </p15:guide>
        <p15:guide id="6" orient="horz" pos="3984">
          <p15:clr>
            <a:srgbClr val="FBAE40"/>
          </p15:clr>
        </p15:guide>
        <p15:guide id="7" orient="horz" pos="456">
          <p15:clr>
            <a:srgbClr val="FBAE40"/>
          </p15:clr>
        </p15:guide>
        <p15:guide id="8" orient="horz" pos="168">
          <p15:clr>
            <a:srgbClr val="FBAE40"/>
          </p15:clr>
        </p15:guide>
        <p15:guide id="9" pos="3696">
          <p15:clr>
            <a:srgbClr val="FBAE40"/>
          </p15:clr>
        </p15:guide>
        <p15:guide id="10" orient="horz" pos="4200">
          <p15:clr>
            <a:srgbClr val="FBAE40"/>
          </p15:clr>
        </p15:guide>
        <p15:guide id="11" orient="horz" pos="1920">
          <p15:clr>
            <a:srgbClr val="FBAE40"/>
          </p15:clr>
        </p15:guide>
      </p15:sldGuideLst>
    </p:ext>
  </p:extLst>
</p:sldLayout>
</file>

<file path=ppt/slideLayouts/slideLayout474.xml><?xml version="1.0" encoding="utf-8"?>
<p:sldLayout xmlns:a="http://schemas.openxmlformats.org/drawingml/2006/main" xmlns:r="http://schemas.openxmlformats.org/officeDocument/2006/relationships" xmlns:p="http://schemas.openxmlformats.org/presentationml/2006/main" userDrawn="1">
  <p:cSld name="2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112508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74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85970316"/>
      </p:ext>
    </p:extLst>
  </p:cSld>
  <p:clrMapOvr>
    <a:masterClrMapping/>
  </p:clrMapOvr>
  <p:hf hdr="0" ftr="0" dt="0"/>
</p:sldLayout>
</file>

<file path=ppt/slideLayouts/slideLayout475.xml><?xml version="1.0" encoding="utf-8"?>
<p:sldLayout xmlns:a="http://schemas.openxmlformats.org/drawingml/2006/main" xmlns:r="http://schemas.openxmlformats.org/officeDocument/2006/relationships" xmlns:p="http://schemas.openxmlformats.org/presentationml/2006/main" userDrawn="1">
  <p:cSld name="2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2358514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884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16467621"/>
      </p:ext>
    </p:extLst>
  </p:cSld>
  <p:clrMapOvr>
    <a:masterClrMapping/>
  </p:clrMapOvr>
  <p:hf hdr="0" ftr="0" dt="0"/>
</p:sldLayout>
</file>

<file path=ppt/slideLayouts/slideLayout476.xml><?xml version="1.0" encoding="utf-8"?>
<p:sldLayout xmlns:a="http://schemas.openxmlformats.org/drawingml/2006/main" xmlns:r="http://schemas.openxmlformats.org/officeDocument/2006/relationships" xmlns:p="http://schemas.openxmlformats.org/presentationml/2006/main" userDrawn="1">
  <p:cSld name="2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195891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894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98910184"/>
      </p:ext>
    </p:extLst>
  </p:cSld>
  <p:clrMapOvr>
    <a:masterClrMapping/>
  </p:clrMapOvr>
  <p:hf hdr="0" ftr="0" dt="0"/>
</p:sldLayout>
</file>

<file path=ppt/slideLayouts/slideLayout477.xml><?xml version="1.0" encoding="utf-8"?>
<p:sldLayout xmlns:a="http://schemas.openxmlformats.org/drawingml/2006/main" xmlns:r="http://schemas.openxmlformats.org/officeDocument/2006/relationships" xmlns:p="http://schemas.openxmlformats.org/presentationml/2006/main" userDrawn="1">
  <p:cSld name="2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139328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904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76082091"/>
      </p:ext>
    </p:extLst>
  </p:cSld>
  <p:clrMapOvr>
    <a:masterClrMapping/>
  </p:clrMapOvr>
</p:sldLayout>
</file>

<file path=ppt/slideLayouts/slideLayout478.xml><?xml version="1.0" encoding="utf-8"?>
<p:sldLayout xmlns:a="http://schemas.openxmlformats.org/drawingml/2006/main" xmlns:r="http://schemas.openxmlformats.org/officeDocument/2006/relationships" xmlns:p="http://schemas.openxmlformats.org/presentationml/2006/main" userDrawn="1">
  <p:cSld name="2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366434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91391824"/>
      </p:ext>
    </p:extLst>
  </p:cSld>
  <p:clrMapOvr>
    <a:masterClrMapping/>
  </p:clrMapOvr>
  <p:hf hdr="0" ftr="0" dt="0"/>
</p:sldLayout>
</file>

<file path=ppt/slideLayouts/slideLayout479.xml><?xml version="1.0" encoding="utf-8"?>
<p:sldLayout xmlns:a="http://schemas.openxmlformats.org/drawingml/2006/main" xmlns:r="http://schemas.openxmlformats.org/officeDocument/2006/relationships" xmlns:p="http://schemas.openxmlformats.org/presentationml/2006/main" userDrawn="1">
  <p:cSld name="2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201256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25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7423969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Default">
    <p:spTree>
      <p:nvGrpSpPr>
        <p:cNvPr id="1" name=""/>
        <p:cNvGrpSpPr/>
        <p:nvPr/>
      </p:nvGrpSpPr>
      <p:grpSpPr>
        <a:xfrm>
          <a:off x="0" y="0"/>
          <a:ext cx="0" cy="0"/>
          <a:chOff x="0" y="0"/>
          <a:chExt cx="0" cy="0"/>
        </a:xfrm>
      </p:grpSpPr>
      <p:graphicFrame>
        <p:nvGraphicFramePr>
          <p:cNvPr id="3" name="Object 8"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20511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7" name="think-cell Slide" r:id="rId10" imgW="413" imgH="416" progId="TCLayout.ActiveDocument.1">
                  <p:embed/>
                </p:oleObj>
              </mc:Choice>
              <mc:Fallback>
                <p:oleObj name="think-cell Slide" r:id="rId10" imgW="413" imgH="416" progId="TCLayout.ActiveDocument.1">
                  <p:embed/>
                  <p:pic>
                    <p:nvPicPr>
                      <p:cNvPr id="3" name="Object 8" hidden="1">
                        <a:extLst>
                          <a:ext uri="{FF2B5EF4-FFF2-40B4-BE49-F238E27FC236}">
                            <a16:creationId xmlns:a16="http://schemas.microsoft.com/office/drawing/2014/main" id="{D8EFF8A2-0FB9-4B25-8B8D-492353274983}"/>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Rectangle 7" hidden="1">
            <a:extLst>
              <a:ext uri="{FF2B5EF4-FFF2-40B4-BE49-F238E27FC236}">
                <a16:creationId xmlns:a16="http://schemas.microsoft.com/office/drawing/2014/main" id="{9F741700-5035-4E61-A4AC-1B3C7AE220D5}"/>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100000"/>
              </a:lnSpc>
              <a:spcBef>
                <a:spcPct val="0"/>
              </a:spcBef>
              <a:spcAft>
                <a:spcPct val="0"/>
              </a:spcAft>
            </a:pPr>
            <a:endParaRPr lang="en-US" sz="2500" b="1" i="0" baseline="0" err="1">
              <a:solidFill>
                <a:schemeClr val="bg1"/>
              </a:solidFill>
              <a:latin typeface="Georgia" panose="02040502050405020303" pitchFamily="18" charset="0"/>
              <a:ea typeface="+mj-ea"/>
              <a:cs typeface="+mj-cs"/>
              <a:sym typeface="Georgia" panose="02040502050405020303" pitchFamily="18"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554736" y="172212"/>
            <a:ext cx="11082528" cy="731520"/>
          </a:xfrm>
        </p:spPr>
        <p:txBody>
          <a:bodyPr/>
          <a:lstStyle/>
          <a:p>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p:spPr>
        <p:txBody>
          <a:bodyPr wrap="square">
            <a:noAutofit/>
          </a:bodyPr>
          <a:lstStyle>
            <a:lvl1pPr marL="0" indent="0" algn="l">
              <a:buNone/>
              <a:defRPr sz="1800" b="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9" name="Slide Number">
            <a:extLst>
              <a:ext uri="{FF2B5EF4-FFF2-40B4-BE49-F238E27FC236}">
                <a16:creationId xmlns:a16="http://schemas.microsoft.com/office/drawing/2014/main" id="{66686DBA-90DA-4033-B950-94CBD0D7A425}"/>
              </a:ext>
            </a:extLst>
          </p:cNvPr>
          <p:cNvSpPr>
            <a:spLocks noChangeArrowheads="1"/>
          </p:cNvSpPr>
          <p:nvPr userDrawn="1">
            <p:custDataLst>
              <p:tags r:id="rId6"/>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a:solidFill>
                <a:schemeClr val="tx1"/>
              </a:solidFill>
              <a:latin typeface="+mn-lt"/>
              <a:ea typeface="+mn-ea"/>
              <a:cs typeface="Arial" panose="020B0604020202020204" pitchFamily="34" charset="0"/>
            </a:endParaRP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7"/>
            </p:custDataLst>
          </p:nvPr>
        </p:nvSpPr>
        <p:spPr>
          <a:xfrm>
            <a:off x="554735" y="6501669"/>
            <a:ext cx="7277861" cy="123111"/>
          </a:xfrm>
          <a:prstGeom prst="rect">
            <a:avLst/>
          </a:prstGeom>
        </p:spPr>
        <p:txBody>
          <a:bodyPr vert="horz" wrap="square" lIns="0" tIns="0" rIns="0" bIns="0" rtlCol="0" anchor="t">
            <a:spAutoFit/>
          </a:bodyPr>
          <a:lstStyle>
            <a:lvl1pPr indent="0">
              <a:lnSpc>
                <a:spcPct val="100000"/>
              </a:lnSpc>
              <a:spcBef>
                <a:spcPts val="300"/>
              </a:spcBef>
              <a:spcAft>
                <a:spcPts val="300"/>
              </a:spcAft>
              <a:buFont typeface="Segoe UI" panose="020B0502040204020203" pitchFamily="34" charset="0"/>
              <a:buChar char="​"/>
              <a:defRPr lang="en-US" sz="900" dirty="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800"/>
              <a:t>Source: …</a:t>
            </a:r>
          </a:p>
        </p:txBody>
      </p:sp>
      <p:sp>
        <p:nvSpPr>
          <p:cNvPr id="10" name="1. On-page tracker">
            <a:extLst>
              <a:ext uri="{FF2B5EF4-FFF2-40B4-BE49-F238E27FC236}">
                <a16:creationId xmlns:a16="http://schemas.microsoft.com/office/drawing/2014/main" id="{A8BAFD1A-3C11-49E6-B76E-5166760AF118}"/>
              </a:ext>
            </a:extLst>
          </p:cNvPr>
          <p:cNvSpPr>
            <a:spLocks noGrp="1"/>
          </p:cNvSpPr>
          <p:nvPr>
            <p:ph type="body" sz="quarter" idx="17" hasCustomPrompt="1"/>
            <p:custDataLst>
              <p:tags r:id="rId8"/>
            </p:custDataLst>
          </p:nvPr>
        </p:nvSpPr>
        <p:spPr>
          <a:xfrm>
            <a:off x="7156704" y="89319"/>
            <a:ext cx="4480560" cy="123111"/>
          </a:xfrm>
        </p:spPr>
        <p:txBody>
          <a:bodyPr anchor="ctr" anchorCtr="0">
            <a:spAutoFit/>
          </a:bodyPr>
          <a:lstStyle>
            <a:lvl1pPr algn="r">
              <a:defRPr sz="800">
                <a:latin typeface="+mn-lt"/>
              </a:defRPr>
            </a:lvl1pPr>
          </a:lstStyle>
          <a:p>
            <a:pPr lvl="0"/>
            <a:r>
              <a:rPr lang="en-US"/>
              <a:t>Chapter › Topic</a:t>
            </a:r>
          </a:p>
        </p:txBody>
      </p:sp>
    </p:spTree>
    <p:extLst>
      <p:ext uri="{BB962C8B-B14F-4D97-AF65-F5344CB8AC3E}">
        <p14:creationId xmlns:p14="http://schemas.microsoft.com/office/powerpoint/2010/main" val="1613057725"/>
      </p:ext>
    </p:extLst>
  </p:cSld>
  <p:clrMapOvr>
    <a:masterClrMapping/>
  </p:clrMapOvr>
</p:sldLayout>
</file>

<file path=ppt/slideLayouts/slideLayout480.xml><?xml version="1.0" encoding="utf-8"?>
<p:sldLayout xmlns:a="http://schemas.openxmlformats.org/drawingml/2006/main" xmlns:r="http://schemas.openxmlformats.org/officeDocument/2006/relationships" xmlns:p="http://schemas.openxmlformats.org/presentationml/2006/main" userDrawn="1">
  <p:cSld name="2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71292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35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52994276"/>
      </p:ext>
    </p:extLst>
  </p:cSld>
  <p:clrMapOvr>
    <a:masterClrMapping/>
  </p:clrMapOvr>
</p:sldLayout>
</file>

<file path=ppt/slideLayouts/slideLayout481.xml><?xml version="1.0" encoding="utf-8"?>
<p:sldLayout xmlns:a="http://schemas.openxmlformats.org/drawingml/2006/main" xmlns:r="http://schemas.openxmlformats.org/officeDocument/2006/relationships" xmlns:p="http://schemas.openxmlformats.org/presentationml/2006/main" userDrawn="1">
  <p:cSld name="3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767075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945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77689270"/>
      </p:ext>
    </p:extLst>
  </p:cSld>
  <p:clrMapOvr>
    <a:masterClrMapping/>
  </p:clrMapOvr>
  <p:hf hdr="0" ftr="0" dt="0"/>
</p:sldLayout>
</file>

<file path=ppt/slideLayouts/slideLayout482.xml><?xml version="1.0" encoding="utf-8"?>
<p:sldLayout xmlns:a="http://schemas.openxmlformats.org/drawingml/2006/main" xmlns:r="http://schemas.openxmlformats.org/officeDocument/2006/relationships" xmlns:p="http://schemas.openxmlformats.org/presentationml/2006/main" userDrawn="1">
  <p:cSld name="3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2308000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956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59447885"/>
      </p:ext>
    </p:extLst>
  </p:cSld>
  <p:clrMapOvr>
    <a:masterClrMapping/>
  </p:clrMapOvr>
  <p:hf hdr="0" ftr="0" dt="0"/>
</p:sldLayout>
</file>

<file path=ppt/slideLayouts/slideLayout483.xml><?xml version="1.0" encoding="utf-8"?>
<p:sldLayout xmlns:a="http://schemas.openxmlformats.org/drawingml/2006/main" xmlns:r="http://schemas.openxmlformats.org/officeDocument/2006/relationships" xmlns:p="http://schemas.openxmlformats.org/presentationml/2006/main" userDrawn="1">
  <p:cSld name="3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3951308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966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89724382"/>
      </p:ext>
    </p:extLst>
  </p:cSld>
  <p:clrMapOvr>
    <a:masterClrMapping/>
  </p:clrMapOvr>
</p:sldLayout>
</file>

<file path=ppt/slideLayouts/slideLayout484.xml><?xml version="1.0" encoding="utf-8"?>
<p:sldLayout xmlns:a="http://schemas.openxmlformats.org/drawingml/2006/main" xmlns:r="http://schemas.openxmlformats.org/officeDocument/2006/relationships" xmlns:p="http://schemas.openxmlformats.org/presentationml/2006/main" userDrawn="1">
  <p:cSld name="3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25635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76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87504111"/>
      </p:ext>
    </p:extLst>
  </p:cSld>
  <p:clrMapOvr>
    <a:masterClrMapping/>
  </p:clrMapOvr>
  <p:hf hdr="0" ftr="0" dt="0"/>
</p:sldLayout>
</file>

<file path=ppt/slideLayouts/slideLayout485.xml><?xml version="1.0" encoding="utf-8"?>
<p:sldLayout xmlns:a="http://schemas.openxmlformats.org/drawingml/2006/main" xmlns:r="http://schemas.openxmlformats.org/officeDocument/2006/relationships" xmlns:p="http://schemas.openxmlformats.org/presentationml/2006/main" userDrawn="1">
  <p:cSld name="3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36998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86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88996584"/>
      </p:ext>
    </p:extLst>
  </p:cSld>
  <p:clrMapOvr>
    <a:masterClrMapping/>
  </p:clrMapOvr>
  <p:hf hdr="0" ftr="0" dt="0"/>
</p:sldLayout>
</file>

<file path=ppt/slideLayouts/slideLayout486.xml><?xml version="1.0" encoding="utf-8"?>
<p:sldLayout xmlns:a="http://schemas.openxmlformats.org/drawingml/2006/main" xmlns:r="http://schemas.openxmlformats.org/officeDocument/2006/relationships" xmlns:p="http://schemas.openxmlformats.org/presentationml/2006/main" userDrawn="1">
  <p:cSld name="3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8334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97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31590615"/>
      </p:ext>
    </p:extLst>
  </p:cSld>
  <p:clrMapOvr>
    <a:masterClrMapping/>
  </p:clrMapOvr>
</p:sldLayout>
</file>

<file path=ppt/slideLayouts/slideLayout487.xml><?xml version="1.0" encoding="utf-8"?>
<p:sldLayout xmlns:a="http://schemas.openxmlformats.org/drawingml/2006/main" xmlns:r="http://schemas.openxmlformats.org/officeDocument/2006/relationships" xmlns:p="http://schemas.openxmlformats.org/presentationml/2006/main" userDrawn="1">
  <p:cSld name="17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580346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07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90321916"/>
      </p:ext>
    </p:extLst>
  </p:cSld>
  <p:clrMapOvr>
    <a:masterClrMapping/>
  </p:clrMapOvr>
  <p:hf hdr="0" ftr="0" dt="0"/>
</p:sldLayout>
</file>

<file path=ppt/slideLayouts/slideLayout488.xml><?xml version="1.0" encoding="utf-8"?>
<p:sldLayout xmlns:a="http://schemas.openxmlformats.org/drawingml/2006/main" xmlns:r="http://schemas.openxmlformats.org/officeDocument/2006/relationships" xmlns:p="http://schemas.openxmlformats.org/presentationml/2006/main" userDrawn="1">
  <p:cSld name="18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0269801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17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19882517"/>
      </p:ext>
    </p:extLst>
  </p:cSld>
  <p:clrMapOvr>
    <a:masterClrMapping/>
  </p:clrMapOvr>
  <p:hf hdr="0" ftr="0" dt="0"/>
</p:sldLayout>
</file>

<file path=ppt/slideLayouts/slideLayout489.xml><?xml version="1.0" encoding="utf-8"?>
<p:sldLayout xmlns:a="http://schemas.openxmlformats.org/drawingml/2006/main" xmlns:r="http://schemas.openxmlformats.org/officeDocument/2006/relationships" xmlns:p="http://schemas.openxmlformats.org/presentationml/2006/main" userDrawn="1">
  <p:cSld name="18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863392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27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08084523"/>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726414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a:solidFill>
                <a:schemeClr val="bg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atin typeface="Arial" panose="020B0604020202020204" pitchFamily="34" charset="0"/>
                <a:cs typeface="Arial" panose="020B0604020202020204" pitchFamily="34" charset="0"/>
                <a:sym typeface="Arial" panose="020B0604020202020204" pitchFamily="34" charset="0"/>
              </a:defRPr>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latin typeface="Arial" panose="020B0604020202020204" pitchFamily="34" charset="0"/>
                <a:cs typeface="Arial" panose="020B0604020202020204" pitchFamily="34" charset="0"/>
                <a:sym typeface="Arial" panose="020B0604020202020204" pitchFamily="34" charset="0"/>
              </a:rPr>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buNone/>
            </a:pPr>
            <a:r>
              <a:rPr lang="en-US"/>
              <a:t>Add tracker</a:t>
            </a:r>
          </a:p>
        </p:txBody>
      </p:sp>
    </p:spTree>
    <p:extLst>
      <p:ext uri="{BB962C8B-B14F-4D97-AF65-F5344CB8AC3E}">
        <p14:creationId xmlns:p14="http://schemas.microsoft.com/office/powerpoint/2010/main" val="4098368699"/>
      </p:ext>
    </p:extLst>
  </p:cSld>
  <p:clrMapOvr>
    <a:masterClrMapping/>
  </p:clrMapOvr>
</p:sldLayout>
</file>

<file path=ppt/slideLayouts/slideLayout490.xml><?xml version="1.0" encoding="utf-8"?>
<p:sldLayout xmlns:a="http://schemas.openxmlformats.org/drawingml/2006/main" xmlns:r="http://schemas.openxmlformats.org/officeDocument/2006/relationships" xmlns:p="http://schemas.openxmlformats.org/presentationml/2006/main" userDrawn="1">
  <p:cSld name="18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740584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38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9257200"/>
      </p:ext>
    </p:extLst>
  </p:cSld>
  <p:clrMapOvr>
    <a:masterClrMapping/>
  </p:clrMapOvr>
</p:sldLayout>
</file>

<file path=ppt/slideLayouts/slideLayout491.xml><?xml version="1.0" encoding="utf-8"?>
<p:sldLayout xmlns:a="http://schemas.openxmlformats.org/drawingml/2006/main" xmlns:r="http://schemas.openxmlformats.org/officeDocument/2006/relationships" xmlns:p="http://schemas.openxmlformats.org/presentationml/2006/main" userDrawn="1">
  <p:cSld name="18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79477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48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28411743"/>
      </p:ext>
    </p:extLst>
  </p:cSld>
  <p:clrMapOvr>
    <a:masterClrMapping/>
  </p:clrMapOvr>
  <p:hf hdr="0" ftr="0" dt="0"/>
</p:sldLayout>
</file>

<file path=ppt/slideLayouts/slideLayout492.xml><?xml version="1.0" encoding="utf-8"?>
<p:sldLayout xmlns:a="http://schemas.openxmlformats.org/drawingml/2006/main" xmlns:r="http://schemas.openxmlformats.org/officeDocument/2006/relationships" xmlns:p="http://schemas.openxmlformats.org/presentationml/2006/main" userDrawn="1">
  <p:cSld name="18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66755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58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77639304"/>
      </p:ext>
    </p:extLst>
  </p:cSld>
  <p:clrMapOvr>
    <a:masterClrMapping/>
  </p:clrMapOvr>
  <p:hf hdr="0" ftr="0" dt="0"/>
</p:sldLayout>
</file>

<file path=ppt/slideLayouts/slideLayout493.xml><?xml version="1.0" encoding="utf-8"?>
<p:sldLayout xmlns:a="http://schemas.openxmlformats.org/drawingml/2006/main" xmlns:r="http://schemas.openxmlformats.org/officeDocument/2006/relationships" xmlns:p="http://schemas.openxmlformats.org/presentationml/2006/main" userDrawn="1">
  <p:cSld name="18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749829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68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9648492"/>
      </p:ext>
    </p:extLst>
  </p:cSld>
  <p:clrMapOvr>
    <a:masterClrMapping/>
  </p:clrMapOvr>
</p:sldLayout>
</file>

<file path=ppt/slideLayouts/slideLayout494.xml><?xml version="1.0" encoding="utf-8"?>
<p:sldLayout xmlns:a="http://schemas.openxmlformats.org/drawingml/2006/main" xmlns:r="http://schemas.openxmlformats.org/officeDocument/2006/relationships" xmlns:p="http://schemas.openxmlformats.org/presentationml/2006/main" userDrawn="1">
  <p:cSld name="18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6493463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79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87405154"/>
      </p:ext>
    </p:extLst>
  </p:cSld>
  <p:clrMapOvr>
    <a:masterClrMapping/>
  </p:clrMapOvr>
  <p:hf hdr="0" ftr="0" dt="0"/>
</p:sldLayout>
</file>

<file path=ppt/slideLayouts/slideLayout495.xml><?xml version="1.0" encoding="utf-8"?>
<p:sldLayout xmlns:a="http://schemas.openxmlformats.org/drawingml/2006/main" xmlns:r="http://schemas.openxmlformats.org/officeDocument/2006/relationships" xmlns:p="http://schemas.openxmlformats.org/presentationml/2006/main" userDrawn="1">
  <p:cSld name="18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4445454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89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42566292"/>
      </p:ext>
    </p:extLst>
  </p:cSld>
  <p:clrMapOvr>
    <a:masterClrMapping/>
  </p:clrMapOvr>
  <p:hf hdr="0" ftr="0" dt="0"/>
</p:sldLayout>
</file>

<file path=ppt/slideLayouts/slideLayout496.xml><?xml version="1.0" encoding="utf-8"?>
<p:sldLayout xmlns:a="http://schemas.openxmlformats.org/drawingml/2006/main" xmlns:r="http://schemas.openxmlformats.org/officeDocument/2006/relationships" xmlns:p="http://schemas.openxmlformats.org/presentationml/2006/main" userDrawn="1">
  <p:cSld name="18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337046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099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92333880"/>
      </p:ext>
    </p:extLst>
  </p:cSld>
  <p:clrMapOvr>
    <a:masterClrMapping/>
  </p:clrMapOvr>
</p:sldLayout>
</file>

<file path=ppt/slideLayouts/slideLayout497.xml><?xml version="1.0" encoding="utf-8"?>
<p:sldLayout xmlns:a="http://schemas.openxmlformats.org/drawingml/2006/main" xmlns:r="http://schemas.openxmlformats.org/officeDocument/2006/relationships" xmlns:p="http://schemas.openxmlformats.org/presentationml/2006/main" userDrawn="1">
  <p:cSld name="18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09443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09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41909747"/>
      </p:ext>
    </p:extLst>
  </p:cSld>
  <p:clrMapOvr>
    <a:masterClrMapping/>
  </p:clrMapOvr>
  <p:hf hdr="0" ftr="0" dt="0"/>
</p:sldLayout>
</file>

<file path=ppt/slideLayouts/slideLayout498.xml><?xml version="1.0" encoding="utf-8"?>
<p:sldLayout xmlns:a="http://schemas.openxmlformats.org/drawingml/2006/main" xmlns:r="http://schemas.openxmlformats.org/officeDocument/2006/relationships" xmlns:p="http://schemas.openxmlformats.org/presentationml/2006/main" userDrawn="1">
  <p:cSld name="19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19675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42324611"/>
      </p:ext>
    </p:extLst>
  </p:cSld>
  <p:clrMapOvr>
    <a:masterClrMapping/>
  </p:clrMapOvr>
  <p:hf hdr="0" ftr="0" dt="0"/>
</p:sldLayout>
</file>

<file path=ppt/slideLayouts/slideLayout499.xml><?xml version="1.0" encoding="utf-8"?>
<p:sldLayout xmlns:a="http://schemas.openxmlformats.org/drawingml/2006/main" xmlns:r="http://schemas.openxmlformats.org/officeDocument/2006/relationships" xmlns:p="http://schemas.openxmlformats.org/presentationml/2006/main" userDrawn="1">
  <p:cSld name="19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56269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30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199656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865309607"/>
      </p:ext>
    </p:extLst>
  </p:cSld>
  <p:clrMapOvr>
    <a:masterClrMapping/>
  </p:clrMapOvr>
  <p:hf hdr="0" ftr="0" dt="0"/>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9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293434760"/>
      </p:ext>
    </p:extLst>
  </p:cSld>
  <p:clrMapOvr>
    <a:masterClrMapping/>
  </p:clrMapOvr>
</p:sldLayout>
</file>

<file path=ppt/slideLayouts/slideLayout500.xml><?xml version="1.0" encoding="utf-8"?>
<p:sldLayout xmlns:a="http://schemas.openxmlformats.org/drawingml/2006/main" xmlns:r="http://schemas.openxmlformats.org/officeDocument/2006/relationships" xmlns:p="http://schemas.openxmlformats.org/presentationml/2006/main" userDrawn="1">
  <p:cSld name="19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15541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40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36768047"/>
      </p:ext>
    </p:extLst>
  </p:cSld>
  <p:clrMapOvr>
    <a:masterClrMapping/>
  </p:clrMapOvr>
  <p:hf hdr="0" ftr="0" dt="0"/>
</p:sldLayout>
</file>

<file path=ppt/slideLayouts/slideLayout501.xml><?xml version="1.0" encoding="utf-8"?>
<p:sldLayout xmlns:a="http://schemas.openxmlformats.org/drawingml/2006/main" xmlns:r="http://schemas.openxmlformats.org/officeDocument/2006/relationships" xmlns:p="http://schemas.openxmlformats.org/presentationml/2006/main" userDrawn="1">
  <p:cSld name="19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7736726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50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48783448"/>
      </p:ext>
    </p:extLst>
  </p:cSld>
  <p:clrMapOvr>
    <a:masterClrMapping/>
  </p:clrMapOvr>
  <p:hf hdr="0" ftr="0" dt="0"/>
</p:sldLayout>
</file>

<file path=ppt/slideLayouts/slideLayout502.xml><?xml version="1.0" encoding="utf-8"?>
<p:sldLayout xmlns:a="http://schemas.openxmlformats.org/drawingml/2006/main" xmlns:r="http://schemas.openxmlformats.org/officeDocument/2006/relationships" xmlns:p="http://schemas.openxmlformats.org/presentationml/2006/main" userDrawn="1">
  <p:cSld name="19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8951865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60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34075092"/>
      </p:ext>
    </p:extLst>
  </p:cSld>
  <p:clrMapOvr>
    <a:masterClrMapping/>
  </p:clrMapOvr>
  <p:hf hdr="0" ftr="0" dt="0"/>
</p:sldLayout>
</file>

<file path=ppt/slideLayouts/slideLayout503.xml><?xml version="1.0" encoding="utf-8"?>
<p:sldLayout xmlns:a="http://schemas.openxmlformats.org/drawingml/2006/main" xmlns:r="http://schemas.openxmlformats.org/officeDocument/2006/relationships" xmlns:p="http://schemas.openxmlformats.org/presentationml/2006/main" userDrawn="1">
  <p:cSld name="19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4159349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171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34729782"/>
      </p:ext>
    </p:extLst>
  </p:cSld>
  <p:clrMapOvr>
    <a:masterClrMapping/>
  </p:clrMapOvr>
</p:sldLayout>
</file>

<file path=ppt/slideLayouts/slideLayout504.xml><?xml version="1.0" encoding="utf-8"?>
<p:sldLayout xmlns:a="http://schemas.openxmlformats.org/drawingml/2006/main" xmlns:r="http://schemas.openxmlformats.org/officeDocument/2006/relationships" xmlns:p="http://schemas.openxmlformats.org/presentationml/2006/main" userDrawn="1">
  <p:cSld name="19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086351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81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34234767"/>
      </p:ext>
    </p:extLst>
  </p:cSld>
  <p:clrMapOvr>
    <a:masterClrMapping/>
  </p:clrMapOvr>
  <p:hf hdr="0" ftr="0" dt="0"/>
</p:sldLayout>
</file>

<file path=ppt/slideLayouts/slideLayout505.xml><?xml version="1.0" encoding="utf-8"?>
<p:sldLayout xmlns:a="http://schemas.openxmlformats.org/drawingml/2006/main" xmlns:r="http://schemas.openxmlformats.org/officeDocument/2006/relationships" xmlns:p="http://schemas.openxmlformats.org/presentationml/2006/main" userDrawn="1">
  <p:cSld name="19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43311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91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71526244"/>
      </p:ext>
    </p:extLst>
  </p:cSld>
  <p:clrMapOvr>
    <a:masterClrMapping/>
  </p:clrMapOvr>
  <p:hf hdr="0" ftr="0" dt="0"/>
</p:sldLayout>
</file>

<file path=ppt/slideLayouts/slideLayout506.xml><?xml version="1.0" encoding="utf-8"?>
<p:sldLayout xmlns:a="http://schemas.openxmlformats.org/drawingml/2006/main" xmlns:r="http://schemas.openxmlformats.org/officeDocument/2006/relationships" xmlns:p="http://schemas.openxmlformats.org/presentationml/2006/main" userDrawn="1">
  <p:cSld name="19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77830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1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06152328"/>
      </p:ext>
    </p:extLst>
  </p:cSld>
  <p:clrMapOvr>
    <a:masterClrMapping/>
  </p:clrMapOvr>
</p:sldLayout>
</file>

<file path=ppt/slideLayouts/slideLayout507.xml><?xml version="1.0" encoding="utf-8"?>
<p:sldLayout xmlns:a="http://schemas.openxmlformats.org/drawingml/2006/main" xmlns:r="http://schemas.openxmlformats.org/officeDocument/2006/relationships" xmlns:p="http://schemas.openxmlformats.org/presentationml/2006/main" userDrawn="1">
  <p:cSld name="19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6616413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12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30810065"/>
      </p:ext>
    </p:extLst>
  </p:cSld>
  <p:clrMapOvr>
    <a:masterClrMapping/>
  </p:clrMapOvr>
  <p:hf hdr="0" ftr="0" dt="0"/>
</p:sldLayout>
</file>

<file path=ppt/slideLayouts/slideLayout508.xml><?xml version="1.0" encoding="utf-8"?>
<p:sldLayout xmlns:a="http://schemas.openxmlformats.org/drawingml/2006/main" xmlns:r="http://schemas.openxmlformats.org/officeDocument/2006/relationships" xmlns:p="http://schemas.openxmlformats.org/presentationml/2006/main" userDrawn="1">
  <p:cSld name="20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9852325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22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50510156"/>
      </p:ext>
    </p:extLst>
  </p:cSld>
  <p:clrMapOvr>
    <a:masterClrMapping/>
  </p:clrMapOvr>
  <p:hf hdr="0" ftr="0" dt="0"/>
</p:sldLayout>
</file>

<file path=ppt/slideLayouts/slideLayout509.xml><?xml version="1.0" encoding="utf-8"?>
<p:sldLayout xmlns:a="http://schemas.openxmlformats.org/drawingml/2006/main" xmlns:r="http://schemas.openxmlformats.org/officeDocument/2006/relationships" xmlns:p="http://schemas.openxmlformats.org/presentationml/2006/main" userDrawn="1">
  <p:cSld name="20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843646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32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3085133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444654937"/>
      </p:ext>
    </p:extLst>
  </p:cSld>
  <p:clrMapOvr>
    <a:masterClrMapping/>
  </p:clrMapOvr>
</p:sldLayout>
</file>

<file path=ppt/slideLayouts/slideLayout510.xml><?xml version="1.0" encoding="utf-8"?>
<p:sldLayout xmlns:a="http://schemas.openxmlformats.org/drawingml/2006/main" xmlns:r="http://schemas.openxmlformats.org/officeDocument/2006/relationships" xmlns:p="http://schemas.openxmlformats.org/presentationml/2006/main" userDrawn="1">
  <p:cSld name="20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823315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42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809245678"/>
      </p:ext>
    </p:extLst>
  </p:cSld>
  <p:clrMapOvr>
    <a:masterClrMapping/>
  </p:clrMapOvr>
  <p:hf hdr="0" ftr="0" dt="0"/>
</p:sldLayout>
</file>

<file path=ppt/slideLayouts/slideLayout511.xml><?xml version="1.0" encoding="utf-8"?>
<p:sldLayout xmlns:a="http://schemas.openxmlformats.org/drawingml/2006/main" xmlns:r="http://schemas.openxmlformats.org/officeDocument/2006/relationships" xmlns:p="http://schemas.openxmlformats.org/presentationml/2006/main" userDrawn="1">
  <p:cSld name="20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908413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53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5900157"/>
      </p:ext>
    </p:extLst>
  </p:cSld>
  <p:clrMapOvr>
    <a:masterClrMapping/>
  </p:clrMapOvr>
  <p:hf hdr="0" ftr="0" dt="0"/>
</p:sldLayout>
</file>

<file path=ppt/slideLayouts/slideLayout512.xml><?xml version="1.0" encoding="utf-8"?>
<p:sldLayout xmlns:a="http://schemas.openxmlformats.org/drawingml/2006/main" xmlns:r="http://schemas.openxmlformats.org/officeDocument/2006/relationships" xmlns:p="http://schemas.openxmlformats.org/presentationml/2006/main" userDrawn="1">
  <p:cSld name="20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73382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63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5715895"/>
      </p:ext>
    </p:extLst>
  </p:cSld>
  <p:clrMapOvr>
    <a:masterClrMapping/>
  </p:clrMapOvr>
</p:sldLayout>
</file>

<file path=ppt/slideLayouts/slideLayout513.xml><?xml version="1.0" encoding="utf-8"?>
<p:sldLayout xmlns:a="http://schemas.openxmlformats.org/drawingml/2006/main" xmlns:r="http://schemas.openxmlformats.org/officeDocument/2006/relationships" xmlns:p="http://schemas.openxmlformats.org/presentationml/2006/main" userDrawn="1">
  <p:cSld name="Intro Slide 2">
    <p:spTree>
      <p:nvGrpSpPr>
        <p:cNvPr id="1" name=""/>
        <p:cNvGrpSpPr/>
        <p:nvPr/>
      </p:nvGrpSpPr>
      <p:grpSpPr>
        <a:xfrm>
          <a:off x="0" y="0"/>
          <a:ext cx="0" cy="0"/>
          <a:chOff x="0" y="0"/>
          <a:chExt cx="0" cy="0"/>
        </a:xfrm>
      </p:grpSpPr>
      <p:pic>
        <p:nvPicPr>
          <p:cNvPr id="59" name="Picture 58"/>
          <p:cNvPicPr>
            <a:picLocks noChangeAspect="1"/>
          </p:cNvPicPr>
          <p:nvPr userDrawn="1"/>
        </p:nvPicPr>
        <p:blipFill>
          <a:blip r:embed="rId2"/>
          <a:stretch>
            <a:fillRect/>
          </a:stretch>
        </p:blipFill>
        <p:spPr>
          <a:xfrm>
            <a:off x="11190415" y="4501764"/>
            <a:ext cx="778055" cy="1411356"/>
          </a:xfrm>
          <a:prstGeom prst="rect">
            <a:avLst/>
          </a:prstGeom>
        </p:spPr>
      </p:pic>
      <p:pic>
        <p:nvPicPr>
          <p:cNvPr id="7" name="Picture 6"/>
          <p:cNvPicPr>
            <a:picLocks noChangeAspect="1"/>
          </p:cNvPicPr>
          <p:nvPr userDrawn="1"/>
        </p:nvPicPr>
        <p:blipFill>
          <a:blip r:embed="rId3"/>
          <a:stretch>
            <a:fillRect/>
          </a:stretch>
        </p:blipFill>
        <p:spPr>
          <a:xfrm>
            <a:off x="465082" y="723900"/>
            <a:ext cx="2781946" cy="791116"/>
          </a:xfrm>
          <a:prstGeom prst="rect">
            <a:avLst/>
          </a:prstGeom>
        </p:spPr>
      </p:pic>
      <p:sp>
        <p:nvSpPr>
          <p:cNvPr id="8" name="Title 30"/>
          <p:cNvSpPr>
            <a:spLocks noGrp="1"/>
          </p:cNvSpPr>
          <p:nvPr>
            <p:ph type="title" hasCustomPrompt="1"/>
          </p:nvPr>
        </p:nvSpPr>
        <p:spPr>
          <a:xfrm>
            <a:off x="465083" y="2627880"/>
            <a:ext cx="6710633" cy="577139"/>
          </a:xfrm>
          <a:prstGeom prst="rect">
            <a:avLst/>
          </a:prstGeom>
        </p:spPr>
        <p:txBody>
          <a:bodyPr/>
          <a:lstStyle>
            <a:lvl1pPr>
              <a:defRPr/>
            </a:lvl1pPr>
          </a:lstStyle>
          <a:p>
            <a:r>
              <a:rPr lang="en-US"/>
              <a:t>Click add title</a:t>
            </a:r>
          </a:p>
        </p:txBody>
      </p:sp>
      <p:sp>
        <p:nvSpPr>
          <p:cNvPr id="9" name="Text Placeholder 5"/>
          <p:cNvSpPr>
            <a:spLocks noGrp="1"/>
          </p:cNvSpPr>
          <p:nvPr>
            <p:ph type="body" sz="quarter" idx="17" hasCustomPrompt="1"/>
          </p:nvPr>
        </p:nvSpPr>
        <p:spPr>
          <a:xfrm>
            <a:off x="473598" y="3338313"/>
            <a:ext cx="5257800" cy="350205"/>
          </a:xfrm>
          <a:prstGeom prst="rect">
            <a:avLst/>
          </a:prstGeom>
        </p:spPr>
        <p:txBody>
          <a:bodyPr lIns="0" tIns="0" rIns="0" bIns="0">
            <a:normAutofit/>
          </a:bodyPr>
          <a:lstStyle>
            <a:lvl1pPr marL="0" indent="0">
              <a:lnSpc>
                <a:spcPct val="100000"/>
              </a:lnSpc>
              <a:buNone/>
              <a:defRPr sz="24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subtitle</a:t>
            </a:r>
          </a:p>
        </p:txBody>
      </p:sp>
      <p:sp>
        <p:nvSpPr>
          <p:cNvPr id="11" name="Text Placeholder 47"/>
          <p:cNvSpPr>
            <a:spLocks noGrp="1"/>
          </p:cNvSpPr>
          <p:nvPr>
            <p:ph type="body" sz="quarter" idx="11" hasCustomPrompt="1"/>
          </p:nvPr>
        </p:nvSpPr>
        <p:spPr>
          <a:xfrm>
            <a:off x="465082" y="5728357"/>
            <a:ext cx="5284788" cy="179320"/>
          </a:xfrm>
          <a:prstGeom prst="rect">
            <a:avLst/>
          </a:prstGeom>
        </p:spPr>
        <p:txBody>
          <a:bodyPr lIns="0" tIns="0" rIns="0" bIns="0">
            <a:noAutofit/>
          </a:bodyPr>
          <a:lstStyle>
            <a:lvl1pPr marL="0" indent="0">
              <a:lnSpc>
                <a:spcPct val="100000"/>
              </a:lnSpc>
              <a:buNone/>
              <a:defRPr sz="1800"/>
            </a:lvl1pPr>
            <a:lvl2pPr marL="457223" indent="0">
              <a:buNone/>
              <a:defRPr/>
            </a:lvl2pPr>
            <a:lvl3pPr marL="914446" indent="0">
              <a:buNone/>
              <a:defRPr/>
            </a:lvl3pPr>
            <a:lvl4pPr marL="1371669" indent="0">
              <a:buNone/>
              <a:defRPr/>
            </a:lvl4pPr>
            <a:lvl5pPr marL="1828891" indent="0">
              <a:buNone/>
              <a:defRPr/>
            </a:lvl5pPr>
          </a:lstStyle>
          <a:p>
            <a:pPr lvl="0"/>
            <a:r>
              <a:rPr lang="en-US"/>
              <a:t>Click to add date</a:t>
            </a:r>
          </a:p>
        </p:txBody>
      </p:sp>
      <p:pic>
        <p:nvPicPr>
          <p:cNvPr id="13" name="Picture 12"/>
          <p:cNvPicPr>
            <a:picLocks noChangeAspect="1"/>
          </p:cNvPicPr>
          <p:nvPr userDrawn="1"/>
        </p:nvPicPr>
        <p:blipFill>
          <a:blip r:embed="rId4"/>
          <a:stretch>
            <a:fillRect/>
          </a:stretch>
        </p:blipFill>
        <p:spPr>
          <a:xfrm>
            <a:off x="473599" y="6240760"/>
            <a:ext cx="1130293" cy="371934"/>
          </a:xfrm>
          <a:prstGeom prst="rect">
            <a:avLst/>
          </a:prstGeom>
        </p:spPr>
      </p:pic>
      <p:sp>
        <p:nvSpPr>
          <p:cNvPr id="14" name="Rectangle 13"/>
          <p:cNvSpPr/>
          <p:nvPr userDrawn="1"/>
        </p:nvSpPr>
        <p:spPr>
          <a:xfrm>
            <a:off x="-38100" y="6058693"/>
            <a:ext cx="12230100" cy="5935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Footer Placeholder 5"/>
          <p:cNvSpPr>
            <a:spLocks noGrp="1"/>
          </p:cNvSpPr>
          <p:nvPr>
            <p:ph type="ftr" sz="quarter" idx="3"/>
          </p:nvPr>
        </p:nvSpPr>
        <p:spPr>
          <a:xfrm>
            <a:off x="7601025" y="6261697"/>
            <a:ext cx="4114800" cy="365125"/>
          </a:xfrm>
          <a:prstGeom prst="rect">
            <a:avLst/>
          </a:prstGeom>
        </p:spPr>
        <p:txBody>
          <a:bodyPr vert="horz" lIns="91440" tIns="45720" rIns="91440" bIns="45720" rtlCol="0" anchor="ctr"/>
          <a:lstStyle>
            <a:lvl1pPr algn="ctr">
              <a:defRPr sz="1200" baseline="0">
                <a:solidFill>
                  <a:schemeClr val="tx1">
                    <a:tint val="75000"/>
                  </a:schemeClr>
                </a:solidFill>
                <a:latin typeface="Montserrat" charset="0"/>
              </a:defRPr>
            </a:lvl1pPr>
          </a:lstStyle>
          <a:p>
            <a:r>
              <a:rPr lang="en-US"/>
              <a:t>© Copyright 2021 by California Medical Association</a:t>
            </a:r>
          </a:p>
        </p:txBody>
      </p:sp>
      <p:sp>
        <p:nvSpPr>
          <p:cNvPr id="15" name="Slide Number Placeholder 8"/>
          <p:cNvSpPr>
            <a:spLocks noGrp="1"/>
          </p:cNvSpPr>
          <p:nvPr>
            <p:ph type="sldNum" sz="quarter" idx="4"/>
          </p:nvPr>
        </p:nvSpPr>
        <p:spPr>
          <a:xfrm>
            <a:off x="9330690" y="6261697"/>
            <a:ext cx="2743200" cy="365125"/>
          </a:xfrm>
          <a:prstGeom prst="rect">
            <a:avLst/>
          </a:prstGeom>
        </p:spPr>
        <p:txBody>
          <a:bodyPr vert="horz" lIns="91440" tIns="45720" rIns="91440" bIns="45720" rtlCol="0" anchor="ctr"/>
          <a:lstStyle>
            <a:lvl1pPr algn="r">
              <a:defRPr sz="1200" baseline="0">
                <a:solidFill>
                  <a:schemeClr val="tx1">
                    <a:tint val="75000"/>
                  </a:schemeClr>
                </a:solidFill>
                <a:latin typeface="Montserrat" charset="0"/>
              </a:defRPr>
            </a:lvl1pPr>
          </a:lstStyle>
          <a:p>
            <a:fld id="{462947D2-DB38-B544-9561-A22ED783005A}" type="slidenum">
              <a:rPr lang="en-US" smtClean="0"/>
              <a:pPr/>
              <a:t>‹#›</a:t>
            </a:fld>
            <a:endParaRPr lang="en-US"/>
          </a:p>
        </p:txBody>
      </p:sp>
    </p:spTree>
    <p:extLst>
      <p:ext uri="{BB962C8B-B14F-4D97-AF65-F5344CB8AC3E}">
        <p14:creationId xmlns:p14="http://schemas.microsoft.com/office/powerpoint/2010/main" val="930436869"/>
      </p:ext>
    </p:extLst>
  </p:cSld>
  <p:clrMapOvr>
    <a:masterClrMapping/>
  </p:clrMapOvr>
  <p:extLst>
    <p:ext uri="{DCECCB84-F9BA-43D5-87BE-67443E8EF086}">
      <p15:sldGuideLst xmlns:p15="http://schemas.microsoft.com/office/powerpoint/2012/main">
        <p15:guide id="1" pos="432">
          <p15:clr>
            <a:srgbClr val="FBAE40"/>
          </p15:clr>
        </p15:guide>
        <p15:guide id="2" pos="11088">
          <p15:clr>
            <a:srgbClr val="FBAE40"/>
          </p15:clr>
        </p15:guide>
        <p15:guide id="4" orient="horz" pos="2052">
          <p15:clr>
            <a:srgbClr val="FBAE40"/>
          </p15:clr>
        </p15:guide>
        <p15:guide id="5" orient="horz" pos="5796">
          <p15:clr>
            <a:srgbClr val="FBAE40"/>
          </p15:clr>
        </p15:guide>
        <p15:guide id="6" orient="horz" pos="5976">
          <p15:clr>
            <a:srgbClr val="FBAE40"/>
          </p15:clr>
        </p15:guide>
        <p15:guide id="7" orient="horz" pos="684">
          <p15:clr>
            <a:srgbClr val="FBAE40"/>
          </p15:clr>
        </p15:guide>
        <p15:guide id="8" orient="horz" pos="3456">
          <p15:clr>
            <a:srgbClr val="FBAE40"/>
          </p15:clr>
        </p15:guide>
        <p15:guide id="9" pos="6876">
          <p15:clr>
            <a:srgbClr val="FBAE40"/>
          </p15:clr>
        </p15:guide>
        <p15:guide id="10" orient="horz" pos="6300">
          <p15:clr>
            <a:srgbClr val="FBAE40"/>
          </p15:clr>
        </p15:guide>
      </p15:sldGuideLst>
    </p:ext>
  </p:extLst>
</p:sldLayout>
</file>

<file path=ppt/slideLayouts/slideLayout514.xml><?xml version="1.0" encoding="utf-8"?>
<p:sldLayout xmlns:a="http://schemas.openxmlformats.org/drawingml/2006/main" xmlns:r="http://schemas.openxmlformats.org/officeDocument/2006/relationships" xmlns:p="http://schemas.openxmlformats.org/presentationml/2006/main" userDrawn="1">
  <p:cSld name="3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216820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83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449889701"/>
      </p:ext>
    </p:extLst>
  </p:cSld>
  <p:clrMapOvr>
    <a:masterClrMapping/>
  </p:clrMapOvr>
  <p:hf hdr="0" ftr="0" dt="0"/>
</p:sldLayout>
</file>

<file path=ppt/slideLayouts/slideLayout515.xml><?xml version="1.0" encoding="utf-8"?>
<p:sldLayout xmlns:a="http://schemas.openxmlformats.org/drawingml/2006/main" xmlns:r="http://schemas.openxmlformats.org/officeDocument/2006/relationships" xmlns:p="http://schemas.openxmlformats.org/presentationml/2006/main" userDrawn="1">
  <p:cSld name="3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45531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294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19992152"/>
      </p:ext>
    </p:extLst>
  </p:cSld>
  <p:clrMapOvr>
    <a:masterClrMapping/>
  </p:clrMapOvr>
  <p:hf hdr="0" ftr="0" dt="0"/>
</p:sldLayout>
</file>

<file path=ppt/slideLayouts/slideLayout516.xml><?xml version="1.0" encoding="utf-8"?>
<p:sldLayout xmlns:a="http://schemas.openxmlformats.org/drawingml/2006/main" xmlns:r="http://schemas.openxmlformats.org/officeDocument/2006/relationships" xmlns:p="http://schemas.openxmlformats.org/presentationml/2006/main" userDrawn="1">
  <p:cSld name="3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5762284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304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267438177"/>
      </p:ext>
    </p:extLst>
  </p:cSld>
  <p:clrMapOvr>
    <a:masterClrMapping/>
  </p:clrMapOvr>
  <p:hf hdr="0" ftr="0" dt="0"/>
</p:sldLayout>
</file>

<file path=ppt/slideLayouts/slideLayout517.xml><?xml version="1.0" encoding="utf-8"?>
<p:sldLayout xmlns:a="http://schemas.openxmlformats.org/drawingml/2006/main" xmlns:r="http://schemas.openxmlformats.org/officeDocument/2006/relationships" xmlns:p="http://schemas.openxmlformats.org/presentationml/2006/main" userDrawn="1">
  <p:cSld name="3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7890926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314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08276117"/>
      </p:ext>
    </p:extLst>
  </p:cSld>
  <p:clrMapOvr>
    <a:masterClrMapping/>
  </p:clrMapOvr>
</p:sldLayout>
</file>

<file path=ppt/slideLayouts/slideLayout518.xml><?xml version="1.0" encoding="utf-8"?>
<p:sldLayout xmlns:a="http://schemas.openxmlformats.org/drawingml/2006/main" xmlns:r="http://schemas.openxmlformats.org/officeDocument/2006/relationships" xmlns:p="http://schemas.openxmlformats.org/presentationml/2006/main" userDrawn="1">
  <p:cSld name="3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25175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4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07259632"/>
      </p:ext>
    </p:extLst>
  </p:cSld>
  <p:clrMapOvr>
    <a:masterClrMapping/>
  </p:clrMapOvr>
  <p:hf hdr="0" ftr="0" dt="0"/>
</p:sldLayout>
</file>

<file path=ppt/slideLayouts/slideLayout519.xml><?xml version="1.0" encoding="utf-8"?>
<p:sldLayout xmlns:a="http://schemas.openxmlformats.org/drawingml/2006/main" xmlns:r="http://schemas.openxmlformats.org/officeDocument/2006/relationships" xmlns:p="http://schemas.openxmlformats.org/presentationml/2006/main" userDrawn="1">
  <p:cSld name="3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685291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35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82104077"/>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822505862"/>
      </p:ext>
    </p:extLst>
  </p:cSld>
  <p:clrMapOvr>
    <a:masterClrMapping/>
  </p:clrMapOvr>
</p:sldLayout>
</file>

<file path=ppt/slideLayouts/slideLayout520.xml><?xml version="1.0" encoding="utf-8"?>
<p:sldLayout xmlns:a="http://schemas.openxmlformats.org/drawingml/2006/main" xmlns:r="http://schemas.openxmlformats.org/officeDocument/2006/relationships" xmlns:p="http://schemas.openxmlformats.org/presentationml/2006/main" userDrawn="1">
  <p:cSld name="3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71780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45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8703977"/>
      </p:ext>
    </p:extLst>
  </p:cSld>
  <p:clrMapOvr>
    <a:masterClrMapping/>
  </p:clrMapOvr>
</p:sldLayout>
</file>

<file path=ppt/slideLayouts/slideLayout521.xml><?xml version="1.0" encoding="utf-8"?>
<p:sldLayout xmlns:a="http://schemas.openxmlformats.org/drawingml/2006/main" xmlns:r="http://schemas.openxmlformats.org/officeDocument/2006/relationships" xmlns:p="http://schemas.openxmlformats.org/presentationml/2006/main" userDrawn="1">
  <p:cSld name="3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6238911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355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347345177"/>
      </p:ext>
    </p:extLst>
  </p:cSld>
  <p:clrMapOvr>
    <a:masterClrMapping/>
  </p:clrMapOvr>
  <p:hf hdr="0" ftr="0" dt="0"/>
</p:sldLayout>
</file>

<file path=ppt/slideLayouts/slideLayout522.xml><?xml version="1.0" encoding="utf-8"?>
<p:sldLayout xmlns:a="http://schemas.openxmlformats.org/drawingml/2006/main" xmlns:r="http://schemas.openxmlformats.org/officeDocument/2006/relationships" xmlns:p="http://schemas.openxmlformats.org/presentationml/2006/main" userDrawn="1">
  <p:cSld name="3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1403914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365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9627145"/>
      </p:ext>
    </p:extLst>
  </p:cSld>
  <p:clrMapOvr>
    <a:masterClrMapping/>
  </p:clrMapOvr>
  <p:hf hdr="0" ftr="0" dt="0"/>
</p:sldLayout>
</file>

<file path=ppt/slideLayouts/slideLayout523.xml><?xml version="1.0" encoding="utf-8"?>
<p:sldLayout xmlns:a="http://schemas.openxmlformats.org/drawingml/2006/main" xmlns:r="http://schemas.openxmlformats.org/officeDocument/2006/relationships" xmlns:p="http://schemas.openxmlformats.org/presentationml/2006/main" userDrawn="1">
  <p:cSld name="4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51110370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376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75334371"/>
      </p:ext>
    </p:extLst>
  </p:cSld>
  <p:clrMapOvr>
    <a:masterClrMapping/>
  </p:clrMapOvr>
</p:sldLayout>
</file>

<file path=ppt/slideLayouts/slideLayout524.xml><?xml version="1.0" encoding="utf-8"?>
<p:sldLayout xmlns:a="http://schemas.openxmlformats.org/drawingml/2006/main" xmlns:r="http://schemas.openxmlformats.org/officeDocument/2006/relationships" xmlns:p="http://schemas.openxmlformats.org/presentationml/2006/main" userDrawn="1">
  <p:cSld name="4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562453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86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67301840"/>
      </p:ext>
    </p:extLst>
  </p:cSld>
  <p:clrMapOvr>
    <a:masterClrMapping/>
  </p:clrMapOvr>
  <p:hf hdr="0" ftr="0" dt="0"/>
</p:sldLayout>
</file>

<file path=ppt/slideLayouts/slideLayout525.xml><?xml version="1.0" encoding="utf-8"?>
<p:sldLayout xmlns:a="http://schemas.openxmlformats.org/drawingml/2006/main" xmlns:r="http://schemas.openxmlformats.org/officeDocument/2006/relationships" xmlns:p="http://schemas.openxmlformats.org/presentationml/2006/main" userDrawn="1">
  <p:cSld name="4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54895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96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090539972"/>
      </p:ext>
    </p:extLst>
  </p:cSld>
  <p:clrMapOvr>
    <a:masterClrMapping/>
  </p:clrMapOvr>
  <p:hf hdr="0" ftr="0" dt="0"/>
</p:sldLayout>
</file>

<file path=ppt/slideLayouts/slideLayout526.xml><?xml version="1.0" encoding="utf-8"?>
<p:sldLayout xmlns:a="http://schemas.openxmlformats.org/drawingml/2006/main" xmlns:r="http://schemas.openxmlformats.org/officeDocument/2006/relationships" xmlns:p="http://schemas.openxmlformats.org/presentationml/2006/main" userDrawn="1">
  <p:cSld name="4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08412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06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36655442"/>
      </p:ext>
    </p:extLst>
  </p:cSld>
  <p:clrMapOvr>
    <a:masterClrMapping/>
  </p:clrMapOvr>
</p:sldLayout>
</file>

<file path=ppt/slideLayouts/slideLayout527.xml><?xml version="1.0" encoding="utf-8"?>
<p:sldLayout xmlns:a="http://schemas.openxmlformats.org/drawingml/2006/main" xmlns:r="http://schemas.openxmlformats.org/officeDocument/2006/relationships" xmlns:p="http://schemas.openxmlformats.org/presentationml/2006/main" userDrawn="1">
  <p:cSld name="2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616881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16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22574303"/>
      </p:ext>
    </p:extLst>
  </p:cSld>
  <p:clrMapOvr>
    <a:masterClrMapping/>
  </p:clrMapOvr>
  <p:hf hdr="0" ftr="0" dt="0"/>
</p:sldLayout>
</file>

<file path=ppt/slideLayouts/slideLayout528.xml><?xml version="1.0" encoding="utf-8"?>
<p:sldLayout xmlns:a="http://schemas.openxmlformats.org/drawingml/2006/main" xmlns:r="http://schemas.openxmlformats.org/officeDocument/2006/relationships" xmlns:p="http://schemas.openxmlformats.org/presentationml/2006/main" userDrawn="1">
  <p:cSld name="2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12392365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427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54985575"/>
      </p:ext>
    </p:extLst>
  </p:cSld>
  <p:clrMapOvr>
    <a:masterClrMapping/>
  </p:clrMapOvr>
  <p:hf hdr="0" ftr="0" dt="0"/>
</p:sldLayout>
</file>

<file path=ppt/slideLayouts/slideLayout529.xml><?xml version="1.0" encoding="utf-8"?>
<p:sldLayout xmlns:a="http://schemas.openxmlformats.org/drawingml/2006/main" xmlns:r="http://schemas.openxmlformats.org/officeDocument/2006/relationships" xmlns:p="http://schemas.openxmlformats.org/presentationml/2006/main" userDrawn="1">
  <p:cSld name="2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112748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437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39923378"/>
      </p:ext>
    </p:extLst>
  </p:cSld>
  <p:clrMapOvr>
    <a:masterClrMapping/>
  </p:clrMapOvr>
  <p:hf hdr="0" ftr="0" dt="0"/>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a:xfrm>
            <a:off x="266700" y="128221"/>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5" name="Straight Connector 4">
            <a:extLst>
              <a:ext uri="{FF2B5EF4-FFF2-40B4-BE49-F238E27FC236}">
                <a16:creationId xmlns:a16="http://schemas.microsoft.com/office/drawing/2014/main" id="{EC39AF53-CA04-4074-AAC7-E099C7E37FF2}"/>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2505862"/>
      </p:ext>
    </p:extLst>
  </p:cSld>
  <p:clrMapOvr>
    <a:masterClrMapping/>
  </p:clrMapOvr>
</p:sldLayout>
</file>

<file path=ppt/slideLayouts/slideLayout530.xml><?xml version="1.0" encoding="utf-8"?>
<p:sldLayout xmlns:a="http://schemas.openxmlformats.org/drawingml/2006/main" xmlns:r="http://schemas.openxmlformats.org/officeDocument/2006/relationships" xmlns:p="http://schemas.openxmlformats.org/presentationml/2006/main" userDrawn="1">
  <p:cSld name="2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1228745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447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6008391"/>
      </p:ext>
    </p:extLst>
  </p:cSld>
  <p:clrMapOvr>
    <a:masterClrMapping/>
  </p:clrMapOvr>
</p:sldLayout>
</file>

<file path=ppt/slideLayouts/slideLayout531.xml><?xml version="1.0" encoding="utf-8"?>
<p:sldLayout xmlns:a="http://schemas.openxmlformats.org/drawingml/2006/main" xmlns:r="http://schemas.openxmlformats.org/officeDocument/2006/relationships" xmlns:p="http://schemas.openxmlformats.org/presentationml/2006/main" userDrawn="1">
  <p:cSld name="2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9807368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57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13755963"/>
      </p:ext>
    </p:extLst>
  </p:cSld>
  <p:clrMapOvr>
    <a:masterClrMapping/>
  </p:clrMapOvr>
  <p:hf hdr="0" ftr="0" dt="0"/>
</p:sldLayout>
</file>

<file path=ppt/slideLayouts/slideLayout532.xml><?xml version="1.0" encoding="utf-8"?>
<p:sldLayout xmlns:a="http://schemas.openxmlformats.org/drawingml/2006/main" xmlns:r="http://schemas.openxmlformats.org/officeDocument/2006/relationships" xmlns:p="http://schemas.openxmlformats.org/presentationml/2006/main" userDrawn="1">
  <p:cSld name="2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422086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68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85876818"/>
      </p:ext>
    </p:extLst>
  </p:cSld>
  <p:clrMapOvr>
    <a:masterClrMapping/>
  </p:clrMapOvr>
  <p:hf hdr="0" ftr="0" dt="0"/>
</p:sldLayout>
</file>

<file path=ppt/slideLayouts/slideLayout533.xml><?xml version="1.0" encoding="utf-8"?>
<p:sldLayout xmlns:a="http://schemas.openxmlformats.org/drawingml/2006/main" xmlns:r="http://schemas.openxmlformats.org/officeDocument/2006/relationships" xmlns:p="http://schemas.openxmlformats.org/presentationml/2006/main" userDrawn="1">
  <p:cSld name="2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25356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78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77580621"/>
      </p:ext>
    </p:extLst>
  </p:cSld>
  <p:clrMapOvr>
    <a:masterClrMapping/>
  </p:clrMapOvr>
</p:sldLayout>
</file>

<file path=ppt/slideLayouts/slideLayout534.xml><?xml version="1.0" encoding="utf-8"?>
<p:sldLayout xmlns:a="http://schemas.openxmlformats.org/drawingml/2006/main" xmlns:r="http://schemas.openxmlformats.org/officeDocument/2006/relationships" xmlns:p="http://schemas.openxmlformats.org/presentationml/2006/main" userDrawn="1">
  <p:cSld name="3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5167686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488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83868991"/>
      </p:ext>
    </p:extLst>
  </p:cSld>
  <p:clrMapOvr>
    <a:masterClrMapping/>
  </p:clrMapOvr>
  <p:hf hdr="0" ftr="0" dt="0"/>
</p:sldLayout>
</file>

<file path=ppt/slideLayouts/slideLayout535.xml><?xml version="1.0" encoding="utf-8"?>
<p:sldLayout xmlns:a="http://schemas.openxmlformats.org/drawingml/2006/main" xmlns:r="http://schemas.openxmlformats.org/officeDocument/2006/relationships" xmlns:p="http://schemas.openxmlformats.org/presentationml/2006/main" userDrawn="1">
  <p:cSld name="3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4083914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498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720279640"/>
      </p:ext>
    </p:extLst>
  </p:cSld>
  <p:clrMapOvr>
    <a:masterClrMapping/>
  </p:clrMapOvr>
  <p:hf hdr="0" ftr="0" dt="0"/>
</p:sldLayout>
</file>

<file path=ppt/slideLayouts/slideLayout536.xml><?xml version="1.0" encoding="utf-8"?>
<p:sldLayout xmlns:a="http://schemas.openxmlformats.org/drawingml/2006/main" xmlns:r="http://schemas.openxmlformats.org/officeDocument/2006/relationships" xmlns:p="http://schemas.openxmlformats.org/presentationml/2006/main" userDrawn="1">
  <p:cSld name="3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9229793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509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15034256"/>
      </p:ext>
    </p:extLst>
  </p:cSld>
  <p:clrMapOvr>
    <a:masterClrMapping/>
  </p:clrMapOvr>
</p:sldLayout>
</file>

<file path=ppt/slideLayouts/slideLayout537.xml><?xml version="1.0" encoding="utf-8"?>
<p:sldLayout xmlns:a="http://schemas.openxmlformats.org/drawingml/2006/main" xmlns:r="http://schemas.openxmlformats.org/officeDocument/2006/relationships" xmlns:p="http://schemas.openxmlformats.org/presentationml/2006/main" userDrawn="1">
  <p:cSld name="3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277676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19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03810477"/>
      </p:ext>
    </p:extLst>
  </p:cSld>
  <p:clrMapOvr>
    <a:masterClrMapping/>
  </p:clrMapOvr>
  <p:hf hdr="0" ftr="0" dt="0"/>
</p:sldLayout>
</file>

<file path=ppt/slideLayouts/slideLayout538.xml><?xml version="1.0" encoding="utf-8"?>
<p:sldLayout xmlns:a="http://schemas.openxmlformats.org/drawingml/2006/main" xmlns:r="http://schemas.openxmlformats.org/officeDocument/2006/relationships" xmlns:p="http://schemas.openxmlformats.org/presentationml/2006/main" userDrawn="1">
  <p:cSld name="3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48987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18569105"/>
      </p:ext>
    </p:extLst>
  </p:cSld>
  <p:clrMapOvr>
    <a:masterClrMapping/>
  </p:clrMapOvr>
  <p:hf hdr="0" ftr="0" dt="0"/>
</p:sldLayout>
</file>

<file path=ppt/slideLayouts/slideLayout539.xml><?xml version="1.0" encoding="utf-8"?>
<p:sldLayout xmlns:a="http://schemas.openxmlformats.org/drawingml/2006/main" xmlns:r="http://schemas.openxmlformats.org/officeDocument/2006/relationships" xmlns:p="http://schemas.openxmlformats.org/presentationml/2006/main" userDrawn="1">
  <p:cSld name="3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61011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39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2455359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1" y="1709740"/>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9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395931411"/>
      </p:ext>
    </p:extLst>
  </p:cSld>
  <p:clrMapOvr>
    <a:masterClrMapping/>
  </p:clrMapOvr>
</p:sldLayout>
</file>

<file path=ppt/slideLayouts/slideLayout540.xml><?xml version="1.0" encoding="utf-8"?>
<p:sldLayout xmlns:a="http://schemas.openxmlformats.org/drawingml/2006/main" xmlns:r="http://schemas.openxmlformats.org/officeDocument/2006/relationships" xmlns:p="http://schemas.openxmlformats.org/presentationml/2006/main" userDrawn="1">
  <p:cSld name="9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32049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50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38547450"/>
      </p:ext>
    </p:extLst>
  </p:cSld>
  <p:clrMapOvr>
    <a:masterClrMapping/>
  </p:clrMapOvr>
  <p:hf hdr="0" ftr="0" dt="0"/>
</p:sldLayout>
</file>

<file path=ppt/slideLayouts/slideLayout541.xml><?xml version="1.0" encoding="utf-8"?>
<p:sldLayout xmlns:a="http://schemas.openxmlformats.org/drawingml/2006/main" xmlns:r="http://schemas.openxmlformats.org/officeDocument/2006/relationships" xmlns:p="http://schemas.openxmlformats.org/presentationml/2006/main" userDrawn="1">
  <p:cSld name="9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731942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560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55711182"/>
      </p:ext>
    </p:extLst>
  </p:cSld>
  <p:clrMapOvr>
    <a:masterClrMapping/>
  </p:clrMapOvr>
  <p:hf hdr="0" ftr="0" dt="0"/>
</p:sldLayout>
</file>

<file path=ppt/slideLayouts/slideLayout542.xml><?xml version="1.0" encoding="utf-8"?>
<p:sldLayout xmlns:a="http://schemas.openxmlformats.org/drawingml/2006/main" xmlns:r="http://schemas.openxmlformats.org/officeDocument/2006/relationships" xmlns:p="http://schemas.openxmlformats.org/presentationml/2006/main" userDrawn="1">
  <p:cSld name="9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699550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570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62575199"/>
      </p:ext>
    </p:extLst>
  </p:cSld>
  <p:clrMapOvr>
    <a:masterClrMapping/>
  </p:clrMapOvr>
  <p:hf hdr="0" ftr="0" dt="0"/>
</p:sldLayout>
</file>

<file path=ppt/slideLayouts/slideLayout543.xml><?xml version="1.0" encoding="utf-8"?>
<p:sldLayout xmlns:a="http://schemas.openxmlformats.org/drawingml/2006/main" xmlns:r="http://schemas.openxmlformats.org/officeDocument/2006/relationships" xmlns:p="http://schemas.openxmlformats.org/presentationml/2006/main" userDrawn="1">
  <p:cSld name="9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1984309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580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138516750"/>
      </p:ext>
    </p:extLst>
  </p:cSld>
  <p:clrMapOvr>
    <a:masterClrMapping/>
  </p:clrMapOvr>
</p:sldLayout>
</file>

<file path=ppt/slideLayouts/slideLayout544.xml><?xml version="1.0" encoding="utf-8"?>
<p:sldLayout xmlns:a="http://schemas.openxmlformats.org/drawingml/2006/main" xmlns:r="http://schemas.openxmlformats.org/officeDocument/2006/relationships" xmlns:p="http://schemas.openxmlformats.org/presentationml/2006/main" userDrawn="1">
  <p:cSld name="9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4242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91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75581788"/>
      </p:ext>
    </p:extLst>
  </p:cSld>
  <p:clrMapOvr>
    <a:masterClrMapping/>
  </p:clrMapOvr>
  <p:hf hdr="0" ftr="0" dt="0"/>
</p:sldLayout>
</file>

<file path=ppt/slideLayouts/slideLayout545.xml><?xml version="1.0" encoding="utf-8"?>
<p:sldLayout xmlns:a="http://schemas.openxmlformats.org/drawingml/2006/main" xmlns:r="http://schemas.openxmlformats.org/officeDocument/2006/relationships" xmlns:p="http://schemas.openxmlformats.org/presentationml/2006/main" userDrawn="1">
  <p:cSld name="9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187399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01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052176480"/>
      </p:ext>
    </p:extLst>
  </p:cSld>
  <p:clrMapOvr>
    <a:masterClrMapping/>
  </p:clrMapOvr>
  <p:hf hdr="0" ftr="0" dt="0"/>
</p:sldLayout>
</file>

<file path=ppt/slideLayouts/slideLayout546.xml><?xml version="1.0" encoding="utf-8"?>
<p:sldLayout xmlns:a="http://schemas.openxmlformats.org/drawingml/2006/main" xmlns:r="http://schemas.openxmlformats.org/officeDocument/2006/relationships" xmlns:p="http://schemas.openxmlformats.org/presentationml/2006/main" userDrawn="1">
  <p:cSld name="9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36878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11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344209004"/>
      </p:ext>
    </p:extLst>
  </p:cSld>
  <p:clrMapOvr>
    <a:masterClrMapping/>
  </p:clrMapOvr>
</p:sldLayout>
</file>

<file path=ppt/slideLayouts/slideLayout547.xml><?xml version="1.0" encoding="utf-8"?>
<p:sldLayout xmlns:a="http://schemas.openxmlformats.org/drawingml/2006/main" xmlns:r="http://schemas.openxmlformats.org/officeDocument/2006/relationships" xmlns:p="http://schemas.openxmlformats.org/presentationml/2006/main" userDrawn="1">
  <p:cSld name="9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3811973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621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878491450"/>
      </p:ext>
    </p:extLst>
  </p:cSld>
  <p:clrMapOvr>
    <a:masterClrMapping/>
  </p:clrMapOvr>
  <p:hf hdr="0" ftr="0" dt="0"/>
</p:sldLayout>
</file>

<file path=ppt/slideLayouts/slideLayout548.xml><?xml version="1.0" encoding="utf-8"?>
<p:sldLayout xmlns:a="http://schemas.openxmlformats.org/drawingml/2006/main" xmlns:r="http://schemas.openxmlformats.org/officeDocument/2006/relationships" xmlns:p="http://schemas.openxmlformats.org/presentationml/2006/main" userDrawn="1">
  <p:cSld name="9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6059085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632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12290880"/>
      </p:ext>
    </p:extLst>
  </p:cSld>
  <p:clrMapOvr>
    <a:masterClrMapping/>
  </p:clrMapOvr>
  <p:hf hdr="0" ftr="0" dt="0"/>
</p:sldLayout>
</file>

<file path=ppt/slideLayouts/slideLayout549.xml><?xml version="1.0" encoding="utf-8"?>
<p:sldLayout xmlns:a="http://schemas.openxmlformats.org/drawingml/2006/main" xmlns:r="http://schemas.openxmlformats.org/officeDocument/2006/relationships" xmlns:p="http://schemas.openxmlformats.org/presentationml/2006/main" userDrawn="1">
  <p:cSld name="10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3090931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642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0463997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0195524"/>
      </p:ext>
    </p:extLst>
  </p:cSld>
  <p:clrMapOvr>
    <a:masterClrMapping/>
  </p:clrMapOvr>
</p:sldLayout>
</file>

<file path=ppt/slideLayouts/slideLayout550.xml><?xml version="1.0" encoding="utf-8"?>
<p:sldLayout xmlns:a="http://schemas.openxmlformats.org/drawingml/2006/main" xmlns:r="http://schemas.openxmlformats.org/officeDocument/2006/relationships" xmlns:p="http://schemas.openxmlformats.org/presentationml/2006/main" userDrawn="1">
  <p:cSld name="10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444152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52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47646749"/>
      </p:ext>
    </p:extLst>
  </p:cSld>
  <p:clrMapOvr>
    <a:masterClrMapping/>
  </p:clrMapOvr>
  <p:hf hdr="0" ftr="0" dt="0"/>
</p:sldLayout>
</file>

<file path=ppt/slideLayouts/slideLayout551.xml><?xml version="1.0" encoding="utf-8"?>
<p:sldLayout xmlns:a="http://schemas.openxmlformats.org/drawingml/2006/main" xmlns:r="http://schemas.openxmlformats.org/officeDocument/2006/relationships" xmlns:p="http://schemas.openxmlformats.org/presentationml/2006/main" userDrawn="1">
  <p:cSld name="10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7102800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62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93460142"/>
      </p:ext>
    </p:extLst>
  </p:cSld>
  <p:clrMapOvr>
    <a:masterClrMapping/>
  </p:clrMapOvr>
  <p:hf hdr="0" ftr="0" dt="0"/>
</p:sldLayout>
</file>

<file path=ppt/slideLayouts/slideLayout552.xml><?xml version="1.0" encoding="utf-8"?>
<p:sldLayout xmlns:a="http://schemas.openxmlformats.org/drawingml/2006/main" xmlns:r="http://schemas.openxmlformats.org/officeDocument/2006/relationships" xmlns:p="http://schemas.openxmlformats.org/presentationml/2006/main" userDrawn="1">
  <p:cSld name="10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334999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72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59999579"/>
      </p:ext>
    </p:extLst>
  </p:cSld>
  <p:clrMapOvr>
    <a:masterClrMapping/>
  </p:clrMapOvr>
</p:sldLayout>
</file>

<file path=ppt/slideLayouts/slideLayout553.xml><?xml version="1.0" encoding="utf-8"?>
<p:sldLayout xmlns:a="http://schemas.openxmlformats.org/drawingml/2006/main" xmlns:r="http://schemas.openxmlformats.org/officeDocument/2006/relationships" xmlns:p="http://schemas.openxmlformats.org/presentationml/2006/main" userDrawn="1">
  <p:cSld name="10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135451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83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78986648"/>
      </p:ext>
    </p:extLst>
  </p:cSld>
  <p:clrMapOvr>
    <a:masterClrMapping/>
  </p:clrMapOvr>
  <p:hf hdr="0" ftr="0" dt="0"/>
</p:sldLayout>
</file>

<file path=ppt/slideLayouts/slideLayout554.xml><?xml version="1.0" encoding="utf-8"?>
<p:sldLayout xmlns:a="http://schemas.openxmlformats.org/drawingml/2006/main" xmlns:r="http://schemas.openxmlformats.org/officeDocument/2006/relationships" xmlns:p="http://schemas.openxmlformats.org/presentationml/2006/main" userDrawn="1">
  <p:cSld name="10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1462552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693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75658850"/>
      </p:ext>
    </p:extLst>
  </p:cSld>
  <p:clrMapOvr>
    <a:masterClrMapping/>
  </p:clrMapOvr>
  <p:hf hdr="0" ftr="0" dt="0"/>
</p:sldLayout>
</file>

<file path=ppt/slideLayouts/slideLayout555.xml><?xml version="1.0" encoding="utf-8"?>
<p:sldLayout xmlns:a="http://schemas.openxmlformats.org/drawingml/2006/main" xmlns:r="http://schemas.openxmlformats.org/officeDocument/2006/relationships" xmlns:p="http://schemas.openxmlformats.org/presentationml/2006/main" userDrawn="1">
  <p:cSld name="10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05378340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703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77937143"/>
      </p:ext>
    </p:extLst>
  </p:cSld>
  <p:clrMapOvr>
    <a:masterClrMapping/>
  </p:clrMapOvr>
  <p:hf hdr="0" ftr="0" dt="0"/>
</p:sldLayout>
</file>

<file path=ppt/slideLayouts/slideLayout556.xml><?xml version="1.0" encoding="utf-8"?>
<p:sldLayout xmlns:a="http://schemas.openxmlformats.org/drawingml/2006/main" xmlns:r="http://schemas.openxmlformats.org/officeDocument/2006/relationships" xmlns:p="http://schemas.openxmlformats.org/presentationml/2006/main" userDrawn="1">
  <p:cSld name="10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2574827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713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04723181"/>
      </p:ext>
    </p:extLst>
  </p:cSld>
  <p:clrMapOvr>
    <a:masterClrMapping/>
  </p:clrMapOvr>
</p:sldLayout>
</file>

<file path=ppt/slideLayouts/slideLayout557.xml><?xml version="1.0" encoding="utf-8"?>
<p:sldLayout xmlns:a="http://schemas.openxmlformats.org/drawingml/2006/main" xmlns:r="http://schemas.openxmlformats.org/officeDocument/2006/relationships" xmlns:p="http://schemas.openxmlformats.org/presentationml/2006/main" userDrawn="1">
  <p:cSld name="10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68574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24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62939825"/>
      </p:ext>
    </p:extLst>
  </p:cSld>
  <p:clrMapOvr>
    <a:masterClrMapping/>
  </p:clrMapOvr>
  <p:hf hdr="0" ftr="0" dt="0"/>
</p:sldLayout>
</file>

<file path=ppt/slideLayouts/slideLayout558.xml><?xml version="1.0" encoding="utf-8"?>
<p:sldLayout xmlns:a="http://schemas.openxmlformats.org/drawingml/2006/main" xmlns:r="http://schemas.openxmlformats.org/officeDocument/2006/relationships" xmlns:p="http://schemas.openxmlformats.org/presentationml/2006/main" userDrawn="1">
  <p:cSld name="10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468208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00581643"/>
      </p:ext>
    </p:extLst>
  </p:cSld>
  <p:clrMapOvr>
    <a:masterClrMapping/>
  </p:clrMapOvr>
  <p:hf hdr="0" ftr="0" dt="0"/>
</p:sldLayout>
</file>

<file path=ppt/slideLayouts/slideLayout559.xml><?xml version="1.0" encoding="utf-8"?>
<p:sldLayout xmlns:a="http://schemas.openxmlformats.org/drawingml/2006/main" xmlns:r="http://schemas.openxmlformats.org/officeDocument/2006/relationships" xmlns:p="http://schemas.openxmlformats.org/presentationml/2006/main" userDrawn="1">
  <p:cSld name="11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13248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44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00131523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693963241"/>
      </p:ext>
    </p:extLst>
  </p:cSld>
  <p:clrMapOvr>
    <a:masterClrMapping/>
  </p:clrMapOvr>
</p:sldLayout>
</file>

<file path=ppt/slideLayouts/slideLayout560.xml><?xml version="1.0" encoding="utf-8"?>
<p:sldLayout xmlns:a="http://schemas.openxmlformats.org/drawingml/2006/main" xmlns:r="http://schemas.openxmlformats.org/officeDocument/2006/relationships" xmlns:p="http://schemas.openxmlformats.org/presentationml/2006/main" userDrawn="1">
  <p:cSld name="11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8702293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754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02091248"/>
      </p:ext>
    </p:extLst>
  </p:cSld>
  <p:clrMapOvr>
    <a:masterClrMapping/>
  </p:clrMapOvr>
  <p:hf hdr="0" ftr="0" dt="0"/>
</p:sldLayout>
</file>

<file path=ppt/slideLayouts/slideLayout561.xml><?xml version="1.0" encoding="utf-8"?>
<p:sldLayout xmlns:a="http://schemas.openxmlformats.org/drawingml/2006/main" xmlns:r="http://schemas.openxmlformats.org/officeDocument/2006/relationships" xmlns:p="http://schemas.openxmlformats.org/presentationml/2006/main" userDrawn="1">
  <p:cSld name="11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9195518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765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84050428"/>
      </p:ext>
    </p:extLst>
  </p:cSld>
  <p:clrMapOvr>
    <a:masterClrMapping/>
  </p:clrMapOvr>
  <p:hf hdr="0" ftr="0" dt="0"/>
</p:sldLayout>
</file>

<file path=ppt/slideLayouts/slideLayout562.xml><?xml version="1.0" encoding="utf-8"?>
<p:sldLayout xmlns:a="http://schemas.openxmlformats.org/drawingml/2006/main" xmlns:r="http://schemas.openxmlformats.org/officeDocument/2006/relationships" xmlns:p="http://schemas.openxmlformats.org/presentationml/2006/main" userDrawn="1">
  <p:cSld name="11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5898938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775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16354318"/>
      </p:ext>
    </p:extLst>
  </p:cSld>
  <p:clrMapOvr>
    <a:masterClrMapping/>
  </p:clrMapOvr>
</p:sldLayout>
</file>

<file path=ppt/slideLayouts/slideLayout563.xml><?xml version="1.0" encoding="utf-8"?>
<p:sldLayout xmlns:a="http://schemas.openxmlformats.org/drawingml/2006/main" xmlns:r="http://schemas.openxmlformats.org/officeDocument/2006/relationships" xmlns:p="http://schemas.openxmlformats.org/presentationml/2006/main" userDrawn="1">
  <p:cSld name="1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78056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85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32176888"/>
      </p:ext>
    </p:extLst>
  </p:cSld>
  <p:clrMapOvr>
    <a:masterClrMapping/>
  </p:clrMapOvr>
  <p:hf hdr="0" ftr="0" dt="0"/>
</p:sldLayout>
</file>

<file path=ppt/slideLayouts/slideLayout564.xml><?xml version="1.0" encoding="utf-8"?>
<p:sldLayout xmlns:a="http://schemas.openxmlformats.org/drawingml/2006/main" xmlns:r="http://schemas.openxmlformats.org/officeDocument/2006/relationships" xmlns:p="http://schemas.openxmlformats.org/presentationml/2006/main" userDrawn="1">
  <p:cSld name="11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772800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95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3794635"/>
      </p:ext>
    </p:extLst>
  </p:cSld>
  <p:clrMapOvr>
    <a:masterClrMapping/>
  </p:clrMapOvr>
  <p:hf hdr="0" ftr="0" dt="0"/>
</p:sldLayout>
</file>

<file path=ppt/slideLayouts/slideLayout565.xml><?xml version="1.0" encoding="utf-8"?>
<p:sldLayout xmlns:a="http://schemas.openxmlformats.org/drawingml/2006/main" xmlns:r="http://schemas.openxmlformats.org/officeDocument/2006/relationships" xmlns:p="http://schemas.openxmlformats.org/presentationml/2006/main" userDrawn="1">
  <p:cSld name="11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23574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06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731247045"/>
      </p:ext>
    </p:extLst>
  </p:cSld>
  <p:clrMapOvr>
    <a:masterClrMapping/>
  </p:clrMapOvr>
</p:sldLayout>
</file>

<file path=ppt/slideLayouts/slideLayout566.xml><?xml version="1.0" encoding="utf-8"?>
<p:sldLayout xmlns:a="http://schemas.openxmlformats.org/drawingml/2006/main" xmlns:r="http://schemas.openxmlformats.org/officeDocument/2006/relationships" xmlns:p="http://schemas.openxmlformats.org/presentationml/2006/main" userDrawn="1">
  <p:cSld name="11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862085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16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69878327"/>
      </p:ext>
    </p:extLst>
  </p:cSld>
  <p:clrMapOvr>
    <a:masterClrMapping/>
  </p:clrMapOvr>
  <p:hf hdr="0" ftr="0" dt="0"/>
</p:sldLayout>
</file>

<file path=ppt/slideLayouts/slideLayout567.xml><?xml version="1.0" encoding="utf-8"?>
<p:sldLayout xmlns:a="http://schemas.openxmlformats.org/drawingml/2006/main" xmlns:r="http://schemas.openxmlformats.org/officeDocument/2006/relationships" xmlns:p="http://schemas.openxmlformats.org/presentationml/2006/main" userDrawn="1">
  <p:cSld name="11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141970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826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05624743"/>
      </p:ext>
    </p:extLst>
  </p:cSld>
  <p:clrMapOvr>
    <a:masterClrMapping/>
  </p:clrMapOvr>
  <p:hf hdr="0" ftr="0" dt="0"/>
</p:sldLayout>
</file>

<file path=ppt/slideLayouts/slideLayout568.xml><?xml version="1.0" encoding="utf-8"?>
<p:sldLayout xmlns:a="http://schemas.openxmlformats.org/drawingml/2006/main" xmlns:r="http://schemas.openxmlformats.org/officeDocument/2006/relationships" xmlns:p="http://schemas.openxmlformats.org/presentationml/2006/main" userDrawn="1">
  <p:cSld name="11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8179760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836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73282938"/>
      </p:ext>
    </p:extLst>
  </p:cSld>
  <p:clrMapOvr>
    <a:masterClrMapping/>
  </p:clrMapOvr>
  <p:hf hdr="0" ftr="0" dt="0"/>
</p:sldLayout>
</file>

<file path=ppt/slideLayouts/slideLayout569.xml><?xml version="1.0" encoding="utf-8"?>
<p:sldLayout xmlns:a="http://schemas.openxmlformats.org/drawingml/2006/main" xmlns:r="http://schemas.openxmlformats.org/officeDocument/2006/relationships" xmlns:p="http://schemas.openxmlformats.org/presentationml/2006/main" userDrawn="1">
  <p:cSld name="12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17017149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847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7009498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9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1"/>
            <a:ext cx="2743200" cy="365125"/>
          </a:xfrm>
          <a:prstGeom prst="rect">
            <a:avLst/>
          </a:prstGeom>
        </p:spPr>
        <p:txBody>
          <a:bodyPr/>
          <a:lstStyle/>
          <a:p>
            <a:fld id="{9ACF6334-0FED-E148-B922-A5F4FB226326}" type="datetime1">
              <a:rPr lang="en-US" smtClean="0"/>
              <a:t>9/17/2021</a:t>
            </a:fld>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198990759"/>
      </p:ext>
    </p:extLst>
  </p:cSld>
  <p:clrMapOvr>
    <a:masterClrMapping/>
  </p:clrMapOvr>
</p:sldLayout>
</file>

<file path=ppt/slideLayouts/slideLayout570.xml><?xml version="1.0" encoding="utf-8"?>
<p:sldLayout xmlns:a="http://schemas.openxmlformats.org/drawingml/2006/main" xmlns:r="http://schemas.openxmlformats.org/officeDocument/2006/relationships" xmlns:p="http://schemas.openxmlformats.org/presentationml/2006/main" userDrawn="1">
  <p:cSld name="12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66331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57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42715855"/>
      </p:ext>
    </p:extLst>
  </p:cSld>
  <p:clrMapOvr>
    <a:masterClrMapping/>
  </p:clrMapOvr>
  <p:hf hdr="0" ftr="0" dt="0"/>
</p:sldLayout>
</file>

<file path=ppt/slideLayouts/slideLayout571.xml><?xml version="1.0" encoding="utf-8"?>
<p:sldLayout xmlns:a="http://schemas.openxmlformats.org/drawingml/2006/main" xmlns:r="http://schemas.openxmlformats.org/officeDocument/2006/relationships" xmlns:p="http://schemas.openxmlformats.org/presentationml/2006/main" userDrawn="1">
  <p:cSld name="12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15843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67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64990882"/>
      </p:ext>
    </p:extLst>
  </p:cSld>
  <p:clrMapOvr>
    <a:masterClrMapping/>
  </p:clrMapOvr>
  <p:hf hdr="0" ftr="0" dt="0"/>
</p:sldLayout>
</file>

<file path=ppt/slideLayouts/slideLayout572.xml><?xml version="1.0" encoding="utf-8"?>
<p:sldLayout xmlns:a="http://schemas.openxmlformats.org/drawingml/2006/main" xmlns:r="http://schemas.openxmlformats.org/officeDocument/2006/relationships" xmlns:p="http://schemas.openxmlformats.org/presentationml/2006/main" userDrawn="1">
  <p:cSld name="12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028833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77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7014983"/>
      </p:ext>
    </p:extLst>
  </p:cSld>
  <p:clrMapOvr>
    <a:masterClrMapping/>
  </p:clrMapOvr>
</p:sldLayout>
</file>

<file path=ppt/slideLayouts/slideLayout573.xml><?xml version="1.0" encoding="utf-8"?>
<p:sldLayout xmlns:a="http://schemas.openxmlformats.org/drawingml/2006/main" xmlns:r="http://schemas.openxmlformats.org/officeDocument/2006/relationships" xmlns:p="http://schemas.openxmlformats.org/presentationml/2006/main" userDrawn="1">
  <p:cSld name="20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42464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888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045584076"/>
      </p:ext>
    </p:extLst>
  </p:cSld>
  <p:clrMapOvr>
    <a:masterClrMapping/>
  </p:clrMapOvr>
  <p:hf hdr="0" ftr="0" dt="0"/>
</p:sldLayout>
</file>

<file path=ppt/slideLayouts/slideLayout574.xml><?xml version="1.0" encoding="utf-8"?>
<p:sldLayout xmlns:a="http://schemas.openxmlformats.org/drawingml/2006/main" xmlns:r="http://schemas.openxmlformats.org/officeDocument/2006/relationships" xmlns:p="http://schemas.openxmlformats.org/presentationml/2006/main" userDrawn="1">
  <p:cSld name="20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8018612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898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74480038"/>
      </p:ext>
    </p:extLst>
  </p:cSld>
  <p:clrMapOvr>
    <a:masterClrMapping/>
  </p:clrMapOvr>
  <p:hf hdr="0" ftr="0" dt="0"/>
</p:sldLayout>
</file>

<file path=ppt/slideLayouts/slideLayout575.xml><?xml version="1.0" encoding="utf-8"?>
<p:sldLayout xmlns:a="http://schemas.openxmlformats.org/drawingml/2006/main" xmlns:r="http://schemas.openxmlformats.org/officeDocument/2006/relationships" xmlns:p="http://schemas.openxmlformats.org/presentationml/2006/main" userDrawn="1">
  <p:cSld name="20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959681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08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86681849"/>
      </p:ext>
    </p:extLst>
  </p:cSld>
  <p:clrMapOvr>
    <a:masterClrMapping/>
  </p:clrMapOvr>
  <p:hf hdr="0" ftr="0" dt="0"/>
</p:sldLayout>
</file>

<file path=ppt/slideLayouts/slideLayout576.xml><?xml version="1.0" encoding="utf-8"?>
<p:sldLayout xmlns:a="http://schemas.openxmlformats.org/drawingml/2006/main" xmlns:r="http://schemas.openxmlformats.org/officeDocument/2006/relationships" xmlns:p="http://schemas.openxmlformats.org/presentationml/2006/main" userDrawn="1">
  <p:cSld name="20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6175765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18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91041208"/>
      </p:ext>
    </p:extLst>
  </p:cSld>
  <p:clrMapOvr>
    <a:masterClrMapping/>
  </p:clrMapOvr>
</p:sldLayout>
</file>

<file path=ppt/slideLayouts/slideLayout577.xml><?xml version="1.0" encoding="utf-8"?>
<p:sldLayout xmlns:a="http://schemas.openxmlformats.org/drawingml/2006/main" xmlns:r="http://schemas.openxmlformats.org/officeDocument/2006/relationships" xmlns:p="http://schemas.openxmlformats.org/presentationml/2006/main" userDrawn="1">
  <p:cSld name="20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726269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28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99190329"/>
      </p:ext>
    </p:extLst>
  </p:cSld>
  <p:clrMapOvr>
    <a:masterClrMapping/>
  </p:clrMapOvr>
  <p:hf hdr="0" ftr="0" dt="0"/>
</p:sldLayout>
</file>

<file path=ppt/slideLayouts/slideLayout578.xml><?xml version="1.0" encoding="utf-8"?>
<p:sldLayout xmlns:a="http://schemas.openxmlformats.org/drawingml/2006/main" xmlns:r="http://schemas.openxmlformats.org/officeDocument/2006/relationships" xmlns:p="http://schemas.openxmlformats.org/presentationml/2006/main" userDrawn="1">
  <p:cSld name="21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244045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08198442"/>
      </p:ext>
    </p:extLst>
  </p:cSld>
  <p:clrMapOvr>
    <a:masterClrMapping/>
  </p:clrMapOvr>
  <p:hf hdr="0" ftr="0" dt="0"/>
</p:sldLayout>
</file>

<file path=ppt/slideLayouts/slideLayout579.xml><?xml version="1.0" encoding="utf-8"?>
<p:sldLayout xmlns:a="http://schemas.openxmlformats.org/drawingml/2006/main" xmlns:r="http://schemas.openxmlformats.org/officeDocument/2006/relationships" xmlns:p="http://schemas.openxmlformats.org/presentationml/2006/main" userDrawn="1">
  <p:cSld name="21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59119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49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08430488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0"/>
            <a:ext cx="2743200" cy="365125"/>
          </a:xfrm>
          <a:prstGeom prst="rect">
            <a:avLst/>
          </a:prstGeom>
        </p:spPr>
        <p:txBody>
          <a:bodyPr/>
          <a:lstStyle/>
          <a:p>
            <a:fld id="{9ACF6334-0FED-E148-B922-A5F4FB226326}" type="datetime1">
              <a:rPr lang="en-US" smtClean="0"/>
              <a:t>9/17/2021</a:t>
            </a:fld>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411916693"/>
      </p:ext>
    </p:extLst>
  </p:cSld>
  <p:clrMapOvr>
    <a:masterClrMapping/>
  </p:clrMapOvr>
</p:sldLayout>
</file>

<file path=ppt/slideLayouts/slideLayout580.xml><?xml version="1.0" encoding="utf-8"?>
<p:sldLayout xmlns:a="http://schemas.openxmlformats.org/drawingml/2006/main" xmlns:r="http://schemas.openxmlformats.org/officeDocument/2006/relationships" xmlns:p="http://schemas.openxmlformats.org/presentationml/2006/main" userDrawn="1">
  <p:cSld name="21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5980824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59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82720592"/>
      </p:ext>
    </p:extLst>
  </p:cSld>
  <p:clrMapOvr>
    <a:masterClrMapping/>
  </p:clrMapOvr>
  <p:hf hdr="0" ftr="0" dt="0"/>
</p:sldLayout>
</file>

<file path=ppt/slideLayouts/slideLayout581.xml><?xml version="1.0" encoding="utf-8"?>
<p:sldLayout xmlns:a="http://schemas.openxmlformats.org/drawingml/2006/main" xmlns:r="http://schemas.openxmlformats.org/officeDocument/2006/relationships" xmlns:p="http://schemas.openxmlformats.org/presentationml/2006/main" userDrawn="1">
  <p:cSld name="21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388105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69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38411576"/>
      </p:ext>
    </p:extLst>
  </p:cSld>
  <p:clrMapOvr>
    <a:masterClrMapping/>
  </p:clrMapOvr>
  <p:hf hdr="0" ftr="0" dt="0"/>
</p:sldLayout>
</file>

<file path=ppt/slideLayouts/slideLayout582.xml><?xml version="1.0" encoding="utf-8"?>
<p:sldLayout xmlns:a="http://schemas.openxmlformats.org/drawingml/2006/main" xmlns:r="http://schemas.openxmlformats.org/officeDocument/2006/relationships" xmlns:p="http://schemas.openxmlformats.org/presentationml/2006/main" userDrawn="1">
  <p:cSld name="21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57254"/>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5980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183024848"/>
      </p:ext>
    </p:extLst>
  </p:cSld>
  <p:clrMapOvr>
    <a:masterClrMapping/>
  </p:clrMapOvr>
</p:sldLayout>
</file>

<file path=ppt/slideLayouts/slideLayout583.xml><?xml version="1.0" encoding="utf-8"?>
<p:sldLayout xmlns:a="http://schemas.openxmlformats.org/drawingml/2006/main" xmlns:r="http://schemas.openxmlformats.org/officeDocument/2006/relationships" xmlns:p="http://schemas.openxmlformats.org/presentationml/2006/main" userDrawn="1">
  <p:cSld name="21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4663843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90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913261119"/>
      </p:ext>
    </p:extLst>
  </p:cSld>
  <p:clrMapOvr>
    <a:masterClrMapping/>
  </p:clrMapOvr>
  <p:hf hdr="0" ftr="0" dt="0"/>
</p:sldLayout>
</file>

<file path=ppt/slideLayouts/slideLayout584.xml><?xml version="1.0" encoding="utf-8"?>
<p:sldLayout xmlns:a="http://schemas.openxmlformats.org/drawingml/2006/main" xmlns:r="http://schemas.openxmlformats.org/officeDocument/2006/relationships" xmlns:p="http://schemas.openxmlformats.org/presentationml/2006/main" userDrawn="1">
  <p:cSld name="21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42198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00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899061611"/>
      </p:ext>
    </p:extLst>
  </p:cSld>
  <p:clrMapOvr>
    <a:masterClrMapping/>
  </p:clrMapOvr>
  <p:hf hdr="0" ftr="0" dt="0"/>
</p:sldLayout>
</file>

<file path=ppt/slideLayouts/slideLayout585.xml><?xml version="1.0" encoding="utf-8"?>
<p:sldLayout xmlns:a="http://schemas.openxmlformats.org/drawingml/2006/main" xmlns:r="http://schemas.openxmlformats.org/officeDocument/2006/relationships" xmlns:p="http://schemas.openxmlformats.org/presentationml/2006/main" userDrawn="1">
  <p:cSld name="21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340077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10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26134218"/>
      </p:ext>
    </p:extLst>
  </p:cSld>
  <p:clrMapOvr>
    <a:masterClrMapping/>
  </p:clrMapOvr>
</p:sldLayout>
</file>

<file path=ppt/slideLayouts/slideLayout586.xml><?xml version="1.0" encoding="utf-8"?>
<p:sldLayout xmlns:a="http://schemas.openxmlformats.org/drawingml/2006/main" xmlns:r="http://schemas.openxmlformats.org/officeDocument/2006/relationships" xmlns:p="http://schemas.openxmlformats.org/presentationml/2006/main" userDrawn="1">
  <p:cSld name="21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7264628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21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20031044"/>
      </p:ext>
    </p:extLst>
  </p:cSld>
  <p:clrMapOvr>
    <a:masterClrMapping/>
  </p:clrMapOvr>
  <p:hf hdr="0" ftr="0" dt="0"/>
</p:sldLayout>
</file>

<file path=ppt/slideLayouts/slideLayout587.xml><?xml version="1.0" encoding="utf-8"?>
<p:sldLayout xmlns:a="http://schemas.openxmlformats.org/drawingml/2006/main" xmlns:r="http://schemas.openxmlformats.org/officeDocument/2006/relationships" xmlns:p="http://schemas.openxmlformats.org/presentationml/2006/main" userDrawn="1">
  <p:cSld name="21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3383763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031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40424533"/>
      </p:ext>
    </p:extLst>
  </p:cSld>
  <p:clrMapOvr>
    <a:masterClrMapping/>
  </p:clrMapOvr>
  <p:hf hdr="0" ftr="0" dt="0"/>
</p:sldLayout>
</file>

<file path=ppt/slideLayouts/slideLayout588.xml><?xml version="1.0" encoding="utf-8"?>
<p:sldLayout xmlns:a="http://schemas.openxmlformats.org/drawingml/2006/main" xmlns:r="http://schemas.openxmlformats.org/officeDocument/2006/relationships" xmlns:p="http://schemas.openxmlformats.org/presentationml/2006/main" userDrawn="1">
  <p:cSld name="22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6047928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041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02214950"/>
      </p:ext>
    </p:extLst>
  </p:cSld>
  <p:clrMapOvr>
    <a:masterClrMapping/>
  </p:clrMapOvr>
  <p:hf hdr="0" ftr="0" dt="0"/>
</p:sldLayout>
</file>

<file path=ppt/slideLayouts/slideLayout589.xml><?xml version="1.0" encoding="utf-8"?>
<p:sldLayout xmlns:a="http://schemas.openxmlformats.org/drawingml/2006/main" xmlns:r="http://schemas.openxmlformats.org/officeDocument/2006/relationships" xmlns:p="http://schemas.openxmlformats.org/presentationml/2006/main" userDrawn="1">
  <p:cSld name="22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9471136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051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647233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CECDE-FCE7-534F-AC43-E1530EB02C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ED7A24F4-DAB9-8249-8C03-1E73358ADE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010173111"/>
      </p:ext>
    </p:extLst>
  </p:cSld>
  <p:clrMapOvr>
    <a:masterClrMapping/>
  </p:clrMapOvr>
</p:sldLayout>
</file>

<file path=ppt/slideLayouts/slideLayout590.xml><?xml version="1.0" encoding="utf-8"?>
<p:sldLayout xmlns:a="http://schemas.openxmlformats.org/drawingml/2006/main" xmlns:r="http://schemas.openxmlformats.org/officeDocument/2006/relationships" xmlns:p="http://schemas.openxmlformats.org/presentationml/2006/main" userDrawn="1">
  <p:cSld name="22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9001156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62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08158244"/>
      </p:ext>
    </p:extLst>
  </p:cSld>
  <p:clrMapOvr>
    <a:masterClrMapping/>
  </p:clrMapOvr>
  <p:hf hdr="0" ftr="0" dt="0"/>
</p:sldLayout>
</file>

<file path=ppt/slideLayouts/slideLayout591.xml><?xml version="1.0" encoding="utf-8"?>
<p:sldLayout xmlns:a="http://schemas.openxmlformats.org/drawingml/2006/main" xmlns:r="http://schemas.openxmlformats.org/officeDocument/2006/relationships" xmlns:p="http://schemas.openxmlformats.org/presentationml/2006/main" userDrawn="1">
  <p:cSld name="22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366858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72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602071957"/>
      </p:ext>
    </p:extLst>
  </p:cSld>
  <p:clrMapOvr>
    <a:masterClrMapping/>
  </p:clrMapOvr>
  <p:hf hdr="0" ftr="0" dt="0"/>
</p:sldLayout>
</file>

<file path=ppt/slideLayouts/slideLayout592.xml><?xml version="1.0" encoding="utf-8"?>
<p:sldLayout xmlns:a="http://schemas.openxmlformats.org/drawingml/2006/main" xmlns:r="http://schemas.openxmlformats.org/officeDocument/2006/relationships" xmlns:p="http://schemas.openxmlformats.org/presentationml/2006/main" userDrawn="1">
  <p:cSld name="22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370744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82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551329778"/>
      </p:ext>
    </p:extLst>
  </p:cSld>
  <p:clrMapOvr>
    <a:masterClrMapping/>
  </p:clrMapOvr>
</p:sldLayout>
</file>

<file path=ppt/slideLayouts/slideLayout593.xml><?xml version="1.0" encoding="utf-8"?>
<p:sldLayout xmlns:a="http://schemas.openxmlformats.org/drawingml/2006/main" xmlns:r="http://schemas.openxmlformats.org/officeDocument/2006/relationships" xmlns:p="http://schemas.openxmlformats.org/presentationml/2006/main" userDrawn="1">
  <p:cSld name="22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51465937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092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410205487"/>
      </p:ext>
    </p:extLst>
  </p:cSld>
  <p:clrMapOvr>
    <a:masterClrMapping/>
  </p:clrMapOvr>
  <p:hf hdr="0" ftr="0" dt="0"/>
</p:sldLayout>
</file>

<file path=ppt/slideLayouts/slideLayout594.xml><?xml version="1.0" encoding="utf-8"?>
<p:sldLayout xmlns:a="http://schemas.openxmlformats.org/drawingml/2006/main" xmlns:r="http://schemas.openxmlformats.org/officeDocument/2006/relationships" xmlns:p="http://schemas.openxmlformats.org/presentationml/2006/main" userDrawn="1">
  <p:cSld name="22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0285117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03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986255565"/>
      </p:ext>
    </p:extLst>
  </p:cSld>
  <p:clrMapOvr>
    <a:masterClrMapping/>
  </p:clrMapOvr>
  <p:hf hdr="0" ftr="0" dt="0"/>
</p:sldLayout>
</file>

<file path=ppt/slideLayouts/slideLayout595.xml><?xml version="1.0" encoding="utf-8"?>
<p:sldLayout xmlns:a="http://schemas.openxmlformats.org/drawingml/2006/main" xmlns:r="http://schemas.openxmlformats.org/officeDocument/2006/relationships" xmlns:p="http://schemas.openxmlformats.org/presentationml/2006/main" userDrawn="1">
  <p:cSld name="22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557039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13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52174214"/>
      </p:ext>
    </p:extLst>
  </p:cSld>
  <p:clrMapOvr>
    <a:masterClrMapping/>
  </p:clrMapOvr>
</p:sldLayout>
</file>

<file path=ppt/slideLayouts/slideLayout596.xml><?xml version="1.0" encoding="utf-8"?>
<p:sldLayout xmlns:a="http://schemas.openxmlformats.org/drawingml/2006/main" xmlns:r="http://schemas.openxmlformats.org/officeDocument/2006/relationships" xmlns:p="http://schemas.openxmlformats.org/presentationml/2006/main" userDrawn="1">
  <p:cSld name="22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78140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23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9395458"/>
      </p:ext>
    </p:extLst>
  </p:cSld>
  <p:clrMapOvr>
    <a:masterClrMapping/>
  </p:clrMapOvr>
  <p:hf hdr="0" ftr="0" dt="0"/>
</p:sldLayout>
</file>

<file path=ppt/slideLayouts/slideLayout597.xml><?xml version="1.0" encoding="utf-8"?>
<p:sldLayout xmlns:a="http://schemas.openxmlformats.org/drawingml/2006/main" xmlns:r="http://schemas.openxmlformats.org/officeDocument/2006/relationships" xmlns:p="http://schemas.openxmlformats.org/presentationml/2006/main" userDrawn="1">
  <p:cSld name="22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43569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33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64447716"/>
      </p:ext>
    </p:extLst>
  </p:cSld>
  <p:clrMapOvr>
    <a:masterClrMapping/>
  </p:clrMapOvr>
  <p:hf hdr="0" ftr="0" dt="0"/>
</p:sldLayout>
</file>

<file path=ppt/slideLayouts/slideLayout598.xml><?xml version="1.0" encoding="utf-8"?>
<p:sldLayout xmlns:a="http://schemas.openxmlformats.org/drawingml/2006/main" xmlns:r="http://schemas.openxmlformats.org/officeDocument/2006/relationships" xmlns:p="http://schemas.openxmlformats.org/presentationml/2006/main" userDrawn="1">
  <p:cSld name="23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334146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39929381"/>
      </p:ext>
    </p:extLst>
  </p:cSld>
  <p:clrMapOvr>
    <a:masterClrMapping/>
  </p:clrMapOvr>
</p:sldLayout>
</file>

<file path=ppt/slideLayouts/slideLayout599.xml><?xml version="1.0" encoding="utf-8"?>
<p:sldLayout xmlns:a="http://schemas.openxmlformats.org/drawingml/2006/main" xmlns:r="http://schemas.openxmlformats.org/officeDocument/2006/relationships" xmlns:p="http://schemas.openxmlformats.org/presentationml/2006/main" userDrawn="1">
  <p:cSld name="23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000832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4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891163265"/>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9E1E07-2D86-9146-8262-BBE227AD39B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8C61BEE-9192-B049-92EA-24F0868EDCC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3CFFBC8-2F24-D842-8E88-5B17A02CD85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A55889A-EEA5-BC41-9304-D5AD32431D8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5A9207F-1DE9-484C-9364-50C607AFAEA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D866384-B320-3945-81F3-9F6006305CE2}"/>
              </a:ext>
            </a:extLst>
          </p:cNvPr>
          <p:cNvSpPr>
            <a:spLocks noGrp="1"/>
          </p:cNvSpPr>
          <p:nvPr>
            <p:ph type="dt" sz="half" idx="10"/>
          </p:nvPr>
        </p:nvSpPr>
        <p:spPr>
          <a:xfrm>
            <a:off x="838200" y="6356350"/>
            <a:ext cx="2743200" cy="365125"/>
          </a:xfrm>
          <a:prstGeom prst="rect">
            <a:avLst/>
          </a:prstGeom>
        </p:spPr>
        <p:txBody>
          <a:bodyPr/>
          <a:lstStyle/>
          <a:p>
            <a:fld id="{9ACF6334-0FED-E148-B922-A5F4FB226326}" type="datetime1">
              <a:rPr lang="en-US" smtClean="0"/>
              <a:t>9/17/2021</a:t>
            </a:fld>
            <a:endParaRPr lang="en-US"/>
          </a:p>
        </p:txBody>
      </p:sp>
      <p:sp>
        <p:nvSpPr>
          <p:cNvPr id="8" name="Footer Placeholder 7">
            <a:extLst>
              <a:ext uri="{FF2B5EF4-FFF2-40B4-BE49-F238E27FC236}">
                <a16:creationId xmlns:a16="http://schemas.microsoft.com/office/drawing/2014/main" id="{6D2B23E7-0C3C-6A4E-9005-81661053C0F4}"/>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9" name="Slide Number Placeholder 8">
            <a:extLst>
              <a:ext uri="{FF2B5EF4-FFF2-40B4-BE49-F238E27FC236}">
                <a16:creationId xmlns:a16="http://schemas.microsoft.com/office/drawing/2014/main" id="{4F21B4F3-4661-9945-862E-EFEFD03F180B}"/>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3062744"/>
      </p:ext>
    </p:extLst>
  </p:cSld>
  <p:clrMapOvr>
    <a:masterClrMapping/>
  </p:clrMapOvr>
  <p:hf hdr="0" ftr="0" dt="0"/>
</p:sldLayout>
</file>

<file path=ppt/slideLayouts/slideLayout6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B7CA9D-7EC3-D044-B931-F9D71D71C3A9}"/>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617027952"/>
      </p:ext>
    </p:extLst>
  </p:cSld>
  <p:clrMapOvr>
    <a:masterClrMapping/>
  </p:clrMapOvr>
</p:sldLayout>
</file>

<file path=ppt/slideLayouts/slideLayout600.xml><?xml version="1.0" encoding="utf-8"?>
<p:sldLayout xmlns:a="http://schemas.openxmlformats.org/drawingml/2006/main" xmlns:r="http://schemas.openxmlformats.org/officeDocument/2006/relationships" xmlns:p="http://schemas.openxmlformats.org/presentationml/2006/main" userDrawn="1">
  <p:cSld name="23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2882202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64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892188586"/>
      </p:ext>
    </p:extLst>
  </p:cSld>
  <p:clrMapOvr>
    <a:masterClrMapping/>
  </p:clrMapOvr>
  <p:hf hdr="0" ftr="0" dt="0"/>
</p:sldLayout>
</file>

<file path=ppt/slideLayouts/slideLayout601.xml><?xml version="1.0" encoding="utf-8"?>
<p:sldLayout xmlns:a="http://schemas.openxmlformats.org/drawingml/2006/main" xmlns:r="http://schemas.openxmlformats.org/officeDocument/2006/relationships" xmlns:p="http://schemas.openxmlformats.org/presentationml/2006/main" userDrawn="1">
  <p:cSld name="23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8325663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74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33165499"/>
      </p:ext>
    </p:extLst>
  </p:cSld>
  <p:clrMapOvr>
    <a:masterClrMapping/>
  </p:clrMapOvr>
  <p:hf hdr="0" ftr="0" dt="0"/>
</p:sldLayout>
</file>

<file path=ppt/slideLayouts/slideLayout602.xml><?xml version="1.0" encoding="utf-8"?>
<p:sldLayout xmlns:a="http://schemas.openxmlformats.org/drawingml/2006/main" xmlns:r="http://schemas.openxmlformats.org/officeDocument/2006/relationships" xmlns:p="http://schemas.openxmlformats.org/presentationml/2006/main" userDrawn="1">
  <p:cSld name="23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6965757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184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541764488"/>
      </p:ext>
    </p:extLst>
  </p:cSld>
  <p:clrMapOvr>
    <a:masterClrMapping/>
  </p:clrMapOvr>
</p:sldLayout>
</file>

<file path=ppt/slideLayouts/slideLayout603.xml><?xml version="1.0" encoding="utf-8"?>
<p:sldLayout xmlns:a="http://schemas.openxmlformats.org/drawingml/2006/main" xmlns:r="http://schemas.openxmlformats.org/officeDocument/2006/relationships" xmlns:p="http://schemas.openxmlformats.org/presentationml/2006/main" userDrawn="1">
  <p:cSld name="235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1464902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95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00376808"/>
      </p:ext>
    </p:extLst>
  </p:cSld>
  <p:clrMapOvr>
    <a:masterClrMapping/>
  </p:clrMapOvr>
  <p:hf hdr="0" ftr="0" dt="0"/>
</p:sldLayout>
</file>

<file path=ppt/slideLayouts/slideLayout604.xml><?xml version="1.0" encoding="utf-8"?>
<p:sldLayout xmlns:a="http://schemas.openxmlformats.org/drawingml/2006/main" xmlns:r="http://schemas.openxmlformats.org/officeDocument/2006/relationships" xmlns:p="http://schemas.openxmlformats.org/presentationml/2006/main" userDrawn="1">
  <p:cSld name="23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156292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05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81787476"/>
      </p:ext>
    </p:extLst>
  </p:cSld>
  <p:clrMapOvr>
    <a:masterClrMapping/>
  </p:clrMapOvr>
  <p:hf hdr="0" ftr="0" dt="0"/>
</p:sldLayout>
</file>

<file path=ppt/slideLayouts/slideLayout605.xml><?xml version="1.0" encoding="utf-8"?>
<p:sldLayout xmlns:a="http://schemas.openxmlformats.org/drawingml/2006/main" xmlns:r="http://schemas.openxmlformats.org/officeDocument/2006/relationships" xmlns:p="http://schemas.openxmlformats.org/presentationml/2006/main" userDrawn="1">
  <p:cSld name="23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66192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15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420884480"/>
      </p:ext>
    </p:extLst>
  </p:cSld>
  <p:clrMapOvr>
    <a:masterClrMapping/>
  </p:clrMapOvr>
</p:sldLayout>
</file>

<file path=ppt/slideLayouts/slideLayout606.xml><?xml version="1.0" encoding="utf-8"?>
<p:sldLayout xmlns:a="http://schemas.openxmlformats.org/drawingml/2006/main" xmlns:r="http://schemas.openxmlformats.org/officeDocument/2006/relationships" xmlns:p="http://schemas.openxmlformats.org/presentationml/2006/main" userDrawn="1">
  <p:cSld name="23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3500669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225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697816934"/>
      </p:ext>
    </p:extLst>
  </p:cSld>
  <p:clrMapOvr>
    <a:masterClrMapping/>
  </p:clrMapOvr>
  <p:hf hdr="0" ftr="0" dt="0"/>
</p:sldLayout>
</file>

<file path=ppt/slideLayouts/slideLayout607.xml><?xml version="1.0" encoding="utf-8"?>
<p:sldLayout xmlns:a="http://schemas.openxmlformats.org/drawingml/2006/main" xmlns:r="http://schemas.openxmlformats.org/officeDocument/2006/relationships" xmlns:p="http://schemas.openxmlformats.org/presentationml/2006/main" userDrawn="1">
  <p:cSld name="23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5793756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236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24850166"/>
      </p:ext>
    </p:extLst>
  </p:cSld>
  <p:clrMapOvr>
    <a:masterClrMapping/>
  </p:clrMapOvr>
  <p:hf hdr="0" ftr="0" dt="0"/>
</p:sldLayout>
</file>

<file path=ppt/slideLayouts/slideLayout608.xml><?xml version="1.0" encoding="utf-8"?>
<p:sldLayout xmlns:a="http://schemas.openxmlformats.org/drawingml/2006/main" xmlns:r="http://schemas.openxmlformats.org/officeDocument/2006/relationships" xmlns:p="http://schemas.openxmlformats.org/presentationml/2006/main" userDrawn="1">
  <p:cSld name="24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5482578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6246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66597986"/>
      </p:ext>
    </p:extLst>
  </p:cSld>
  <p:clrMapOvr>
    <a:masterClrMapping/>
  </p:clrMapOvr>
</p:sldLayout>
</file>

<file path=ppt/slideLayouts/slideLayout609.xml><?xml version="1.0" encoding="utf-8"?>
<p:sldLayout xmlns:a="http://schemas.openxmlformats.org/drawingml/2006/main" xmlns:r="http://schemas.openxmlformats.org/officeDocument/2006/relationships" xmlns:p="http://schemas.openxmlformats.org/presentationml/2006/main" userDrawn="1">
  <p:cSld name="24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296430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56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665091756"/>
      </p:ext>
    </p:extLst>
  </p:cSld>
  <p:clrMapOvr>
    <a:masterClrMapping/>
  </p:clrMapOvr>
  <p:hf hdr="0" ftr="0" dt="0"/>
</p:sldLayout>
</file>

<file path=ppt/slideLayouts/slideLayout6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a:xfrm>
            <a:off x="284285" y="4188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6" name="Straight Connector 5">
            <a:extLst>
              <a:ext uri="{FF2B5EF4-FFF2-40B4-BE49-F238E27FC236}">
                <a16:creationId xmlns:a16="http://schemas.microsoft.com/office/drawing/2014/main" id="{96C4EB56-E458-4221-8879-48677BEE7740}"/>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93963241"/>
      </p:ext>
    </p:extLst>
  </p:cSld>
  <p:clrMapOvr>
    <a:masterClrMapping/>
  </p:clrMapOvr>
</p:sldLayout>
</file>

<file path=ppt/slideLayouts/slideLayout610.xml><?xml version="1.0" encoding="utf-8"?>
<p:sldLayout xmlns:a="http://schemas.openxmlformats.org/drawingml/2006/main" xmlns:r="http://schemas.openxmlformats.org/officeDocument/2006/relationships" xmlns:p="http://schemas.openxmlformats.org/presentationml/2006/main" userDrawn="1">
  <p:cSld name="24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84146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66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70856122"/>
      </p:ext>
    </p:extLst>
  </p:cSld>
  <p:clrMapOvr>
    <a:masterClrMapping/>
  </p:clrMapOvr>
  <p:hf hdr="0" ftr="0" dt="0"/>
</p:sldLayout>
</file>

<file path=ppt/slideLayouts/slideLayout611.xml><?xml version="1.0" encoding="utf-8"?>
<p:sldLayout xmlns:a="http://schemas.openxmlformats.org/drawingml/2006/main" xmlns:r="http://schemas.openxmlformats.org/officeDocument/2006/relationships" xmlns:p="http://schemas.openxmlformats.org/presentationml/2006/main" userDrawn="1">
  <p:cSld name="243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628023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77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871905338"/>
      </p:ext>
    </p:extLst>
  </p:cSld>
  <p:clrMapOvr>
    <a:masterClrMapping/>
  </p:clrMapOvr>
</p:sldLayout>
</file>

<file path=ppt/slideLayouts/slideLayout6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E2804D-0B8E-5A46-BBB5-264EB4C8979F}"/>
              </a:ext>
            </a:extLst>
          </p:cNvPr>
          <p:cNvSpPr>
            <a:spLocks noGrp="1"/>
          </p:cNvSpPr>
          <p:nvPr>
            <p:ph type="title"/>
          </p:nvPr>
        </p:nvSpPr>
        <p:spPr>
          <a:xfrm>
            <a:off x="275493" y="0"/>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CB33D32F-E177-9446-B09D-D533B9555434}"/>
              </a:ext>
            </a:extLst>
          </p:cNvPr>
          <p:cNvSpPr>
            <a:spLocks noGrp="1"/>
          </p:cNvSpPr>
          <p:nvPr>
            <p:ph idx="1"/>
          </p:nvPr>
        </p:nvSpPr>
        <p:spPr>
          <a:xfrm>
            <a:off x="512885" y="1403595"/>
            <a:ext cx="10515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22635A01-1FDF-C045-A5F1-1C9E52D47860}"/>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5" name="Straight Connector 4">
            <a:extLst>
              <a:ext uri="{FF2B5EF4-FFF2-40B4-BE49-F238E27FC236}">
                <a16:creationId xmlns:a16="http://schemas.microsoft.com/office/drawing/2014/main" id="{F39D4280-EECF-47B5-8BC4-86C321A3E7F2}"/>
              </a:ext>
            </a:extLst>
          </p:cNvPr>
          <p:cNvCxnSpPr/>
          <p:nvPr userDrawn="1"/>
        </p:nvCxnSpPr>
        <p:spPr>
          <a:xfrm>
            <a:off x="2930" y="1037492"/>
            <a:ext cx="12192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51741761"/>
      </p:ext>
    </p:extLst>
  </p:cSld>
  <p:clrMapOvr>
    <a:masterClrMapping/>
  </p:clrMapOvr>
</p:sldLayout>
</file>

<file path=ppt/slideLayouts/slideLayout6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D0FF07-4F2A-0B42-B453-F42FE8A15AA0}"/>
              </a:ext>
            </a:extLst>
          </p:cNvPr>
          <p:cNvSpPr>
            <a:spLocks noGrp="1"/>
          </p:cNvSpPr>
          <p:nvPr>
            <p:ph type="title"/>
          </p:nvPr>
        </p:nvSpPr>
        <p:spPr>
          <a:xfrm>
            <a:off x="444988" y="136525"/>
            <a:ext cx="10515600" cy="2852737"/>
          </a:xfrm>
        </p:spPr>
        <p:txBody>
          <a:bodyPr anchor="b"/>
          <a:lstStyle>
            <a:lvl1pPr algn="l">
              <a:defRPr sz="6000"/>
            </a:lvl1pPr>
          </a:lstStyle>
          <a:p>
            <a:r>
              <a:rPr lang="en-US"/>
              <a:t>Click to edit Master title style</a:t>
            </a:r>
          </a:p>
        </p:txBody>
      </p:sp>
      <p:sp>
        <p:nvSpPr>
          <p:cNvPr id="3" name="Text Placeholder 2">
            <a:extLst>
              <a:ext uri="{FF2B5EF4-FFF2-40B4-BE49-F238E27FC236}">
                <a16:creationId xmlns:a16="http://schemas.microsoft.com/office/drawing/2014/main" id="{78CD10E5-EEE1-7E4F-B05A-30F86A60752D}"/>
              </a:ext>
            </a:extLst>
          </p:cNvPr>
          <p:cNvSpPr>
            <a:spLocks noGrp="1"/>
          </p:cNvSpPr>
          <p:nvPr>
            <p:ph type="body" idx="1"/>
          </p:nvPr>
        </p:nvSpPr>
        <p:spPr>
          <a:xfrm>
            <a:off x="444988" y="3172618"/>
            <a:ext cx="10515600" cy="1500187"/>
          </a:xfrm>
        </p:spPr>
        <p:txBody>
          <a:bodyPr/>
          <a:lstStyle>
            <a:lvl1pPr marL="0" indent="0">
              <a:lnSpc>
                <a:spcPct val="100000"/>
              </a:lnSpc>
              <a:buNone/>
              <a:defRPr sz="2400">
                <a:solidFill>
                  <a:srgbClr val="1587B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6" name="Slide Number Placeholder 5">
            <a:extLst>
              <a:ext uri="{FF2B5EF4-FFF2-40B4-BE49-F238E27FC236}">
                <a16:creationId xmlns:a16="http://schemas.microsoft.com/office/drawing/2014/main" id="{14A63028-21A7-044E-9175-3531DABC99C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699217700"/>
      </p:ext>
    </p:extLst>
  </p:cSld>
  <p:clrMapOvr>
    <a:masterClrMapping/>
  </p:clrMapOvr>
</p:sldLayout>
</file>

<file path=ppt/slideLayouts/slideLayout6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C14F7A-5B74-9A41-AA59-B852674EE39B}"/>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E6C62645-85F0-744D-A02C-73E555FC5BD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6" name="Slide Number Placeholder 5">
            <a:extLst>
              <a:ext uri="{FF2B5EF4-FFF2-40B4-BE49-F238E27FC236}">
                <a16:creationId xmlns:a16="http://schemas.microsoft.com/office/drawing/2014/main" id="{9B1264A1-0A78-954E-8643-9F03808F5F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94105005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500"/>
            </a:lvl2pPr>
            <a:lvl3pPr marL="914377" indent="0">
              <a:buNone/>
              <a:defRPr sz="1200"/>
            </a:lvl3pPr>
            <a:lvl4pPr marL="1371566" indent="0">
              <a:buNone/>
              <a:defRPr sz="1100"/>
            </a:lvl4pPr>
            <a:lvl5pPr marL="1828754" indent="0">
              <a:buNone/>
              <a:defRPr sz="1100"/>
            </a:lvl5pPr>
            <a:lvl6pPr marL="2285943" indent="0">
              <a:buNone/>
              <a:defRPr sz="1100"/>
            </a:lvl6pPr>
            <a:lvl7pPr marL="2743131" indent="0">
              <a:buNone/>
              <a:defRPr sz="1100"/>
            </a:lvl7pPr>
            <a:lvl8pPr marL="3200320" indent="0">
              <a:buNone/>
              <a:defRPr sz="1100"/>
            </a:lvl8pPr>
            <a:lvl9pPr marL="3657509"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1"/>
            <a:ext cx="2743200" cy="365125"/>
          </a:xfrm>
          <a:prstGeom prst="rect">
            <a:avLst/>
          </a:prstGeom>
        </p:spPr>
        <p:txBody>
          <a:bodyPr/>
          <a:lstStyle/>
          <a:p>
            <a:fld id="{3BBCC8C8-1ECD-EF4A-9F16-75DEC265C8FE}" type="datetime1">
              <a:rPr lang="en-US" smtClean="0"/>
              <a:t>9/17/2021</a:t>
            </a:fld>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7554261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E6F007-C95E-DE44-AAAC-9C02CCBAC33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45DDA5A-0749-694B-8ED1-6F6A04EBF4E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B21FDEE-5973-1347-B406-DD64F211319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4A3B08F-67FA-284B-AD61-AC7D2F474035}"/>
              </a:ext>
            </a:extLst>
          </p:cNvPr>
          <p:cNvSpPr>
            <a:spLocks noGrp="1"/>
          </p:cNvSpPr>
          <p:nvPr>
            <p:ph type="dt" sz="half" idx="10"/>
          </p:nvPr>
        </p:nvSpPr>
        <p:spPr>
          <a:xfrm>
            <a:off x="838200" y="6356350"/>
            <a:ext cx="2743200" cy="365125"/>
          </a:xfrm>
          <a:prstGeom prst="rect">
            <a:avLst/>
          </a:prstGeom>
        </p:spPr>
        <p:txBody>
          <a:bodyPr/>
          <a:lstStyle/>
          <a:p>
            <a:fld id="{3BBCC8C8-1ECD-EF4A-9F16-75DEC265C8FE}" type="datetime1">
              <a:rPr lang="en-US" smtClean="0"/>
              <a:t>9/17/2021</a:t>
            </a:fld>
            <a:endParaRPr lang="en-US"/>
          </a:p>
        </p:txBody>
      </p:sp>
      <p:sp>
        <p:nvSpPr>
          <p:cNvPr id="6" name="Footer Placeholder 5">
            <a:extLst>
              <a:ext uri="{FF2B5EF4-FFF2-40B4-BE49-F238E27FC236}">
                <a16:creationId xmlns:a16="http://schemas.microsoft.com/office/drawing/2014/main" id="{CA3BAE94-E742-A84F-8E4F-EE41EBC50C2C}"/>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30F3E94A-3C90-5249-92B9-C94EAD775A14}"/>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215393388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37BBBD-263B-4609-8659-AA7931BA851E}" type="datetime1">
              <a:rPr lang="en-US" smtClean="0"/>
              <a:t>9/17/2021</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ADDFCB01-FDF3-4364-91DB-3C8C9E14990C}" type="slidenum">
              <a:rPr lang="en-US" smtClean="0"/>
              <a:t>‹#›</a:t>
            </a:fld>
            <a:endParaRPr lang="en-US"/>
          </a:p>
        </p:txBody>
      </p:sp>
    </p:spTree>
    <p:extLst>
      <p:ext uri="{BB962C8B-B14F-4D97-AF65-F5344CB8AC3E}">
        <p14:creationId xmlns:p14="http://schemas.microsoft.com/office/powerpoint/2010/main" val="384074103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500"/>
            </a:lvl2pPr>
            <a:lvl3pPr marL="914377" indent="0">
              <a:buNone/>
              <a:defRPr sz="1200"/>
            </a:lvl3pPr>
            <a:lvl4pPr marL="1371566" indent="0">
              <a:buNone/>
              <a:defRPr sz="1100"/>
            </a:lvl4pPr>
            <a:lvl5pPr marL="1828754" indent="0">
              <a:buNone/>
              <a:defRPr sz="1100"/>
            </a:lvl5pPr>
            <a:lvl6pPr marL="2285943" indent="0">
              <a:buNone/>
              <a:defRPr sz="1100"/>
            </a:lvl6pPr>
            <a:lvl7pPr marL="2743131" indent="0">
              <a:buNone/>
              <a:defRPr sz="1100"/>
            </a:lvl7pPr>
            <a:lvl8pPr marL="3200320" indent="0">
              <a:buNone/>
              <a:defRPr sz="1100"/>
            </a:lvl8pPr>
            <a:lvl9pPr marL="3657509" indent="0">
              <a:buNone/>
              <a:defRPr sz="11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1"/>
            <a:ext cx="2743200" cy="365125"/>
          </a:xfrm>
          <a:prstGeom prst="rect">
            <a:avLst/>
          </a:prstGeom>
        </p:spPr>
        <p:txBody>
          <a:bodyPr/>
          <a:lstStyle/>
          <a:p>
            <a:fld id="{DF53905B-B1AC-2E43-B14E-3D95FF59C01A}" type="datetime1">
              <a:rPr lang="en-US" smtClean="0"/>
              <a:t>9/17/2021</a:t>
            </a:fld>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1"/>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0048651"/>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FC8C00-7D95-4B44-9DCF-5CECE8E678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E94677F-8610-3E41-ACC2-7EC80E2673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9295B546-B7DB-2141-9EC2-7ABFCB1A182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D338C05-5262-834D-B542-B3CDE03C45D8}"/>
              </a:ext>
            </a:extLst>
          </p:cNvPr>
          <p:cNvSpPr>
            <a:spLocks noGrp="1"/>
          </p:cNvSpPr>
          <p:nvPr>
            <p:ph type="dt" sz="half" idx="10"/>
          </p:nvPr>
        </p:nvSpPr>
        <p:spPr>
          <a:xfrm>
            <a:off x="838200" y="6356350"/>
            <a:ext cx="2743200" cy="365125"/>
          </a:xfrm>
          <a:prstGeom prst="rect">
            <a:avLst/>
          </a:prstGeom>
        </p:spPr>
        <p:txBody>
          <a:bodyPr/>
          <a:lstStyle/>
          <a:p>
            <a:fld id="{DF53905B-B1AC-2E43-B14E-3D95FF59C01A}" type="datetime1">
              <a:rPr lang="en-US" smtClean="0"/>
              <a:t>9/17/2021</a:t>
            </a:fld>
            <a:endParaRPr lang="en-US"/>
          </a:p>
        </p:txBody>
      </p:sp>
      <p:sp>
        <p:nvSpPr>
          <p:cNvPr id="6" name="Footer Placeholder 5">
            <a:extLst>
              <a:ext uri="{FF2B5EF4-FFF2-40B4-BE49-F238E27FC236}">
                <a16:creationId xmlns:a16="http://schemas.microsoft.com/office/drawing/2014/main" id="{BEFDA398-23D2-DC43-9A76-2B82976737CD}"/>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7" name="Slide Number Placeholder 6">
            <a:extLst>
              <a:ext uri="{FF2B5EF4-FFF2-40B4-BE49-F238E27FC236}">
                <a16:creationId xmlns:a16="http://schemas.microsoft.com/office/drawing/2014/main" id="{794CF7BD-EAC8-FB4F-8ED0-294DEAD1D2F2}"/>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42505053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274421-928D-DD4B-AC23-3FC6623062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1D1927F-C337-DD41-8734-333E75947305}"/>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645DC0-0E3C-614A-875A-ED8E584ABB16}"/>
              </a:ext>
            </a:extLst>
          </p:cNvPr>
          <p:cNvSpPr>
            <a:spLocks noGrp="1"/>
          </p:cNvSpPr>
          <p:nvPr>
            <p:ph type="dt" sz="half" idx="10"/>
          </p:nvPr>
        </p:nvSpPr>
        <p:spPr>
          <a:xfrm>
            <a:off x="838200" y="6356350"/>
            <a:ext cx="2743200" cy="365125"/>
          </a:xfrm>
          <a:prstGeom prst="rect">
            <a:avLst/>
          </a:prstGeom>
        </p:spPr>
        <p:txBody>
          <a:bodyPr/>
          <a:lstStyle/>
          <a:p>
            <a:fld id="{26F7F99C-93F6-0647-A3CD-6ABFD02CB3F9}" type="datetime1">
              <a:rPr lang="en-US" smtClean="0"/>
              <a:t>9/17/2021</a:t>
            </a:fld>
            <a:endParaRPr lang="en-US"/>
          </a:p>
        </p:txBody>
      </p:sp>
      <p:sp>
        <p:nvSpPr>
          <p:cNvPr id="5" name="Footer Placeholder 4">
            <a:extLst>
              <a:ext uri="{FF2B5EF4-FFF2-40B4-BE49-F238E27FC236}">
                <a16:creationId xmlns:a16="http://schemas.microsoft.com/office/drawing/2014/main" id="{D755D6BC-CE41-BF4B-BC25-2D56E4676BE9}"/>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81427A2E-C1AD-2C47-A08F-A20C90EF33A0}"/>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379208084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D36A663D-EC99-4A40-AA7A-FA6C2D991BA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DECB103-FE98-2943-B31A-2E66F89430B6}"/>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C3B0E2-5FCB-D444-8926-735935563EBE}"/>
              </a:ext>
            </a:extLst>
          </p:cNvPr>
          <p:cNvSpPr>
            <a:spLocks noGrp="1"/>
          </p:cNvSpPr>
          <p:nvPr>
            <p:ph type="dt" sz="half" idx="10"/>
          </p:nvPr>
        </p:nvSpPr>
        <p:spPr>
          <a:xfrm>
            <a:off x="838200" y="6356350"/>
            <a:ext cx="2743200" cy="365125"/>
          </a:xfrm>
          <a:prstGeom prst="rect">
            <a:avLst/>
          </a:prstGeom>
        </p:spPr>
        <p:txBody>
          <a:bodyPr/>
          <a:lstStyle/>
          <a:p>
            <a:fld id="{AEC2BE19-7675-4F45-98F8-E75FCBAE0386}" type="datetime1">
              <a:rPr lang="en-US" smtClean="0"/>
              <a:t>9/17/2021</a:t>
            </a:fld>
            <a:endParaRPr lang="en-US"/>
          </a:p>
        </p:txBody>
      </p:sp>
      <p:sp>
        <p:nvSpPr>
          <p:cNvPr id="5" name="Footer Placeholder 4">
            <a:extLst>
              <a:ext uri="{FF2B5EF4-FFF2-40B4-BE49-F238E27FC236}">
                <a16:creationId xmlns:a16="http://schemas.microsoft.com/office/drawing/2014/main" id="{71D06484-E089-4E49-A34C-2DD65BE950F1}"/>
              </a:ext>
            </a:extLst>
          </p:cNvPr>
          <p:cNvSpPr>
            <a:spLocks noGrp="1"/>
          </p:cNvSpPr>
          <p:nvPr>
            <p:ph type="ftr" sz="quarter" idx="11"/>
          </p:nvPr>
        </p:nvSpPr>
        <p:spPr>
          <a:xfrm>
            <a:off x="4038600" y="6356350"/>
            <a:ext cx="4114800" cy="365125"/>
          </a:xfrm>
          <a:prstGeom prst="rect">
            <a:avLst/>
          </a:prstGeom>
        </p:spPr>
        <p:txBody>
          <a:bodyPr/>
          <a:lstStyle/>
          <a:p>
            <a:endParaRPr lang="en-US"/>
          </a:p>
        </p:txBody>
      </p:sp>
      <p:sp>
        <p:nvSpPr>
          <p:cNvPr id="6" name="Slide Number Placeholder 5">
            <a:extLst>
              <a:ext uri="{FF2B5EF4-FFF2-40B4-BE49-F238E27FC236}">
                <a16:creationId xmlns:a16="http://schemas.microsoft.com/office/drawing/2014/main" id="{A1C85AEC-7D68-FC48-8935-07938F8A43D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536403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5"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40301387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86CECDE-FCE7-534F-AC43-E1530EB02C6C}"/>
              </a:ext>
            </a:extLst>
          </p:cNvPr>
          <p:cNvSpPr>
            <a:spLocks noGrp="1"/>
          </p:cNvSpPr>
          <p:nvPr>
            <p:ph type="title"/>
          </p:nvPr>
        </p:nvSpPr>
        <p:spPr/>
        <p:txBody>
          <a:bodyPr/>
          <a:lstStyle/>
          <a:p>
            <a:r>
              <a:rPr lang="en-US"/>
              <a:t>Click to edit Master title style</a:t>
            </a:r>
          </a:p>
        </p:txBody>
      </p:sp>
      <p:sp>
        <p:nvSpPr>
          <p:cNvPr id="5" name="Slide Number Placeholder 4">
            <a:extLst>
              <a:ext uri="{FF2B5EF4-FFF2-40B4-BE49-F238E27FC236}">
                <a16:creationId xmlns:a16="http://schemas.microsoft.com/office/drawing/2014/main" id="{ED7A24F4-DAB9-8249-8C03-1E73358ADE13}"/>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1094259277"/>
      </p:ext>
    </p:extLst>
  </p:cSld>
  <p:clrMapOvr>
    <a:masterClrMapping/>
  </p:clrMapOvr>
  <p:hf hdr="0" ftr="0" dt="0"/>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29"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userDrawn="1">
  <p:cSld name="3-lin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648A5D5-75B9-4F02-A4CB-B3C65A9BF2CE}"/>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4753" name="think-cell Slide" r:id="rId9" imgW="592" imgH="591" progId="TCLayout.ActiveDocument.1">
                  <p:embed/>
                </p:oleObj>
              </mc:Choice>
              <mc:Fallback>
                <p:oleObj name="think-cell Slide" r:id="rId9" imgW="592" imgH="591" progId="TCLayout.ActiveDocument.1">
                  <p:embed/>
                  <p:pic>
                    <p:nvPicPr>
                      <p:cNvPr id="3" name="Object 2" hidden="1">
                        <a:extLst>
                          <a:ext uri="{FF2B5EF4-FFF2-40B4-BE49-F238E27FC236}">
                            <a16:creationId xmlns:a16="http://schemas.microsoft.com/office/drawing/2014/main" id="{C648A5D5-75B9-4F02-A4CB-B3C65A9BF2CE}"/>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8AAF75-30DC-408A-933A-149F2D14D18F}"/>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23" name="Rectangle 22">
            <a:extLst>
              <a:ext uri="{FF2B5EF4-FFF2-40B4-BE49-F238E27FC236}">
                <a16:creationId xmlns:a16="http://schemas.microsoft.com/office/drawing/2014/main" id="{BC276FAF-4909-4DA7-BEF0-8FEB7F2DE4C3}"/>
              </a:ext>
            </a:extLst>
          </p:cNvPr>
          <p:cNvSpPr/>
          <p:nvPr userDrawn="1"/>
        </p:nvSpPr>
        <p:spPr bwMode="ltGray">
          <a:xfrm>
            <a:off x="0" y="3176"/>
            <a:ext cx="12192000" cy="695323"/>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4" name="Chord 23">
            <a:extLst>
              <a:ext uri="{FF2B5EF4-FFF2-40B4-BE49-F238E27FC236}">
                <a16:creationId xmlns:a16="http://schemas.microsoft.com/office/drawing/2014/main" id="{F4EEDA85-664E-4407-B1D6-FF29270AF4C9}"/>
              </a:ext>
            </a:extLst>
          </p:cNvPr>
          <p:cNvSpPr/>
          <p:nvPr userDrawn="1"/>
        </p:nvSpPr>
        <p:spPr bwMode="ltGray">
          <a:xfrm rot="6798351">
            <a:off x="198718" y="72459"/>
            <a:ext cx="1385808" cy="1385808"/>
          </a:xfrm>
          <a:prstGeom prst="chord">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25" name="Picture 13" descr="Governor Newsom Launches “Vaccinate All 58” Campaign based on Safety and  Equity as First Vaccines Arrive to California | California Governor">
            <a:extLst>
              <a:ext uri="{FF2B5EF4-FFF2-40B4-BE49-F238E27FC236}">
                <a16:creationId xmlns:a16="http://schemas.microsoft.com/office/drawing/2014/main" id="{1AF276B4-2EDF-421C-A220-A2A910E75B85}"/>
              </a:ext>
            </a:extLst>
          </p:cNvPr>
          <p:cNvPicPr>
            <a:picLocks noChangeAspect="1" noChangeArrowheads="1"/>
          </p:cNvPicPr>
          <p:nvPr userDrawn="1"/>
        </p:nvPicPr>
        <p:blipFill rotWithShape="1">
          <a:blip r:embed="rId11" cstate="print">
            <a:clrChange>
              <a:clrFrom>
                <a:srgbClr val="FFFFFF"/>
              </a:clrFrom>
              <a:clrTo>
                <a:srgbClr val="FFFFFF">
                  <a:alpha val="0"/>
                </a:srgbClr>
              </a:clrTo>
            </a:clrChange>
            <a:extLst>
              <a:ext uri="{28A0092B-C50C-407E-A947-70E740481C1C}">
                <a14:useLocalDpi xmlns:a14="http://schemas.microsoft.com/office/drawing/2010/main" val="0"/>
              </a:ext>
            </a:extLst>
          </a:blip>
          <a:srcRect l="26565" t="6982" r="26939" b="6655"/>
          <a:stretch/>
        </p:blipFill>
        <p:spPr bwMode="ltGray">
          <a:xfrm>
            <a:off x="527879" y="166833"/>
            <a:ext cx="823498" cy="690286"/>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22B3A369-2B67-4C11-87DF-8ACDAE7B4C8C}"/>
              </a:ext>
            </a:extLst>
          </p:cNvPr>
          <p:cNvSpPr/>
          <p:nvPr userDrawn="1"/>
        </p:nvSpPr>
        <p:spPr bwMode="ltGray">
          <a:xfrm>
            <a:off x="0" y="6176963"/>
            <a:ext cx="12192000" cy="68103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2. Slide Title">
            <a:extLst>
              <a:ext uri="{FF2B5EF4-FFF2-40B4-BE49-F238E27FC236}">
                <a16:creationId xmlns:a16="http://schemas.microsoft.com/office/drawing/2014/main" id="{6C3D89FC-A4B9-4683-B64F-B0644150274F}"/>
              </a:ext>
            </a:extLst>
          </p:cNvPr>
          <p:cNvSpPr>
            <a:spLocks noGrp="1"/>
          </p:cNvSpPr>
          <p:nvPr userDrawn="1">
            <p:ph type="title"/>
            <p:custDataLst>
              <p:tags r:id="rId4"/>
            </p:custDataLst>
          </p:nvPr>
        </p:nvSpPr>
        <p:spPr>
          <a:xfrm>
            <a:off x="1781720" y="214073"/>
            <a:ext cx="9856306" cy="307777"/>
          </a:xfrm>
        </p:spPr>
        <p:txBody>
          <a:bodyPr wrap="square">
            <a:spAutoFit/>
          </a:bodyPr>
          <a:lstStyle>
            <a:lvl1pPr>
              <a:defRPr>
                <a:solidFill>
                  <a:schemeClr val="bg1"/>
                </a:solidFill>
              </a:defRPr>
            </a:lvl1pPr>
          </a:lstStyle>
          <a:p>
            <a:r>
              <a:rPr lang="en-US"/>
              <a:t>Click to edit Master title style</a:t>
            </a:r>
          </a:p>
        </p:txBody>
      </p:sp>
      <p:sp>
        <p:nvSpPr>
          <p:cNvPr id="8" name="1. On-page tracker">
            <a:extLst>
              <a:ext uri="{FF2B5EF4-FFF2-40B4-BE49-F238E27FC236}">
                <a16:creationId xmlns:a16="http://schemas.microsoft.com/office/drawing/2014/main" id="{931AA88E-24E2-4493-A340-98EE8666A3B2}"/>
              </a:ext>
            </a:extLst>
          </p:cNvPr>
          <p:cNvSpPr>
            <a:spLocks noGrp="1"/>
          </p:cNvSpPr>
          <p:nvPr userDrawn="1">
            <p:ph type="body" sz="quarter" idx="10" hasCustomPrompt="1"/>
            <p:custDataLst>
              <p:tags r:id="rId5"/>
            </p:custDataLst>
          </p:nvPr>
        </p:nvSpPr>
        <p:spPr bwMode="ltGray">
          <a:xfrm>
            <a:off x="1781720" y="-22477"/>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pic>
        <p:nvPicPr>
          <p:cNvPr id="19" name="Picture 18">
            <a:extLst>
              <a:ext uri="{FF2B5EF4-FFF2-40B4-BE49-F238E27FC236}">
                <a16:creationId xmlns:a16="http://schemas.microsoft.com/office/drawing/2014/main" id="{EE1D56FE-9D83-48AA-97FE-8C7C4DA1B3DD}"/>
              </a:ext>
            </a:extLst>
          </p:cNvPr>
          <p:cNvPicPr>
            <a:picLocks noChangeAspect="1"/>
          </p:cNvPicPr>
          <p:nvPr userDrawn="1"/>
        </p:nvPicPr>
        <p:blipFill>
          <a:blip r:embed="rId12"/>
          <a:stretch>
            <a:fillRect/>
          </a:stretch>
        </p:blipFill>
        <p:spPr bwMode="ltGray">
          <a:xfrm>
            <a:off x="553972" y="6336547"/>
            <a:ext cx="2927350" cy="380882"/>
          </a:xfrm>
          <a:prstGeom prst="rect">
            <a:avLst/>
          </a:prstGeom>
        </p:spPr>
      </p:pic>
      <p:sp>
        <p:nvSpPr>
          <p:cNvPr id="21" name="Slide Number">
            <a:extLst>
              <a:ext uri="{FF2B5EF4-FFF2-40B4-BE49-F238E27FC236}">
                <a16:creationId xmlns:a16="http://schemas.microsoft.com/office/drawing/2014/main" id="{17E100FF-9E1B-4EF6-B890-49CDC302E6AD}"/>
              </a:ext>
            </a:extLst>
          </p:cNvPr>
          <p:cNvSpPr>
            <a:spLocks noChangeArrowheads="1"/>
          </p:cNvSpPr>
          <p:nvPr userDrawn="1">
            <p:custDataLst>
              <p:tags r:id="rId6"/>
            </p:custDataLst>
          </p:nvPr>
        </p:nvSpPr>
        <p:spPr bwMode="ltGray">
          <a:xfrm>
            <a:off x="11312525" y="6486281"/>
            <a:ext cx="325501" cy="138499"/>
          </a:xfrm>
          <a:prstGeom prst="rect">
            <a:avLst/>
          </a:prstGeom>
          <a:noFill/>
          <a:ln w="9525" algn="ctr">
            <a:noFill/>
            <a:miter lim="800000"/>
            <a:headEnd/>
            <a:tailEnd/>
          </a:ln>
          <a:effectLst/>
        </p:spPr>
        <p:txBody>
          <a:bodyPr wrap="square" lIns="0" tIns="0" rIns="0" bIns="0" anchor="b">
            <a:spAutoFit/>
          </a:bodyPr>
          <a:lstStyle/>
          <a:p>
            <a:pPr algn="r" defTabSz="610744" fontAlgn="auto">
              <a:spcBef>
                <a:spcPts val="0"/>
              </a:spcBef>
              <a:spcAft>
                <a:spcPts val="0"/>
              </a:spcAft>
              <a:defRPr/>
            </a:pPr>
            <a:fld id="{4ABDCABE-3F10-B64C-92F1-862014417034}" type="slidenum">
              <a:rPr lang="en-US" sz="900" b="0" smtClean="0">
                <a:solidFill>
                  <a:schemeClr val="bg1"/>
                </a:solidFill>
                <a:latin typeface="+mn-lt"/>
                <a:ea typeface="+mn-ea"/>
                <a:cs typeface="Arial" panose="020B0604020202020204" pitchFamily="34" charset="0"/>
              </a:rPr>
              <a:pPr algn="r" defTabSz="610744" fontAlgn="auto">
                <a:spcBef>
                  <a:spcPts val="0"/>
                </a:spcBef>
                <a:spcAft>
                  <a:spcPts val="0"/>
                </a:spcAft>
                <a:defRPr/>
              </a:pPr>
              <a:t>‹#›</a:t>
            </a:fld>
            <a:endParaRPr lang="en-US" sz="900" b="0">
              <a:solidFill>
                <a:schemeClr val="bg1"/>
              </a:solidFill>
              <a:latin typeface="+mn-lt"/>
              <a:ea typeface="+mn-ea"/>
              <a:cs typeface="Arial" panose="020B0604020202020204" pitchFamily="34" charset="0"/>
            </a:endParaRPr>
          </a:p>
        </p:txBody>
      </p:sp>
      <p:sp>
        <p:nvSpPr>
          <p:cNvPr id="22" name="5. Source" hidden="1">
            <a:extLst>
              <a:ext uri="{FF2B5EF4-FFF2-40B4-BE49-F238E27FC236}">
                <a16:creationId xmlns:a16="http://schemas.microsoft.com/office/drawing/2014/main" id="{FDE85F95-69B7-47EF-A8A0-883E78ADACBF}"/>
              </a:ext>
            </a:extLst>
          </p:cNvPr>
          <p:cNvSpPr txBox="1"/>
          <p:nvPr userDrawn="1">
            <p:custDataLst>
              <p:tags r:id="rId7"/>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4" name="Slide Number Placeholder 3">
            <a:extLst>
              <a:ext uri="{FF2B5EF4-FFF2-40B4-BE49-F238E27FC236}">
                <a16:creationId xmlns:a16="http://schemas.microsoft.com/office/drawing/2014/main" id="{EB3B2093-B11F-4E64-A39A-389999C82EA6}"/>
              </a:ext>
            </a:extLst>
          </p:cNvPr>
          <p:cNvSpPr txBox="1">
            <a:spLocks/>
          </p:cNvSpPr>
          <p:nvPr userDrawn="1"/>
        </p:nvSpPr>
        <p:spPr bwMode="ltGray">
          <a:xfrm>
            <a:off x="5850849" y="6467166"/>
            <a:ext cx="5289718" cy="184666"/>
          </a:xfrm>
          <a:prstGeom prst="rect">
            <a:avLst/>
          </a:prstGeom>
        </p:spPr>
        <p:txBody>
          <a:bodyPr wrap="none" lIns="0" tIns="0" rIns="0" bIns="0" anchor="ctr">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1200" baseline="0">
                <a:solidFill>
                  <a:schemeClr val="bg1"/>
                </a:solidFill>
                <a:latin typeface="+mn-lt"/>
              </a:rPr>
              <a:t>Information contained in this file is confidential, preliminary, and pre-decisional</a:t>
            </a:r>
            <a:endParaRPr lang="en-US" sz="1200" baseline="0">
              <a:solidFill>
                <a:schemeClr val="bg1"/>
              </a:solidFill>
              <a:latin typeface="Arial" panose="020B0604020202020204"/>
            </a:endParaRPr>
          </a:p>
        </p:txBody>
      </p:sp>
    </p:spTree>
    <p:extLst>
      <p:ext uri="{BB962C8B-B14F-4D97-AF65-F5344CB8AC3E}">
        <p14:creationId xmlns:p14="http://schemas.microsoft.com/office/powerpoint/2010/main" val="77188540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50072835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57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46145663"/>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931253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1589841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74172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78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1867389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233303621"/>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884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87687332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7276260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7987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3051285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008977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466526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7556119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52318432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0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046403968"/>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294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3084254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DFB7CA9D-7EC3-D044-B931-F9D71D71C3A9}"/>
              </a:ext>
            </a:extLst>
          </p:cNvPr>
          <p:cNvSpPr>
            <a:spLocks noGrp="1"/>
          </p:cNvSpPr>
          <p:nvPr>
            <p:ph type="sldNum" sz="quarter" idx="12"/>
          </p:nvPr>
        </p:nvSpPr>
        <p:spPr/>
        <p:txBody>
          <a:bodyPr/>
          <a:lstStyle/>
          <a:p>
            <a:fld id="{13D703BF-151A-0D40-8508-CABBAD09F9A9}" type="slidenum">
              <a:rPr lang="en-US" smtClean="0"/>
              <a:t>‹#›</a:t>
            </a:fld>
            <a:endParaRPr lang="en-US"/>
          </a:p>
        </p:txBody>
      </p:sp>
    </p:spTree>
    <p:extLst>
      <p:ext uri="{BB962C8B-B14F-4D97-AF65-F5344CB8AC3E}">
        <p14:creationId xmlns:p14="http://schemas.microsoft.com/office/powerpoint/2010/main" val="810443761"/>
      </p:ext>
    </p:extLst>
  </p:cSld>
  <p:clrMapOvr>
    <a:masterClrMapping/>
  </p:clrMapOvr>
  <p:hf hdr="0" ftr="0" dt="0"/>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1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503689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6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895979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6983643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212746298"/>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185308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0496690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1396759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337059272"/>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806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71964176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3841672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8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842491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89172425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011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49128118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79209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113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22019288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933429709"/>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216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9528328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836489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8754291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Obj" preserve="1">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6C81B-0884-EB42-AC5A-56A01DD596E3}"/>
              </a:ext>
            </a:extLst>
          </p:cNvPr>
          <p:cNvSpPr>
            <a:spLocks noGrp="1"/>
          </p:cNvSpPr>
          <p:nvPr>
            <p:ph type="title"/>
          </p:nvPr>
        </p:nvSpPr>
        <p:spPr>
          <a:xfrm>
            <a:off x="284285" y="41885"/>
            <a:ext cx="1051560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9322211-CF1D-4B4A-BBF6-0C66F7C0B29F}"/>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335A14A-1690-DD43-8D25-6D3A19EEE34A}"/>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00F728B2-D776-4A46-97C7-E60D1BD1CB6C}"/>
              </a:ext>
            </a:extLst>
          </p:cNvPr>
          <p:cNvSpPr>
            <a:spLocks noGrp="1"/>
          </p:cNvSpPr>
          <p:nvPr>
            <p:ph type="sldNum" sz="quarter" idx="12"/>
          </p:nvPr>
        </p:nvSpPr>
        <p:spPr/>
        <p:txBody>
          <a:bodyPr/>
          <a:lstStyle/>
          <a:p>
            <a:fld id="{13D703BF-151A-0D40-8508-CABBAD09F9A9}" type="slidenum">
              <a:rPr lang="en-US" smtClean="0"/>
              <a:t>‹#›</a:t>
            </a:fld>
            <a:endParaRPr lang="en-US"/>
          </a:p>
        </p:txBody>
      </p:sp>
      <p:cxnSp>
        <p:nvCxnSpPr>
          <p:cNvPr id="6" name="Straight Connector 5">
            <a:extLst>
              <a:ext uri="{FF2B5EF4-FFF2-40B4-BE49-F238E27FC236}">
                <a16:creationId xmlns:a16="http://schemas.microsoft.com/office/drawing/2014/main" id="{96C4EB56-E458-4221-8879-48677BEE7740}"/>
              </a:ext>
            </a:extLst>
          </p:cNvPr>
          <p:cNvCxnSpPr>
            <a:cxnSpLocks/>
          </p:cNvCxnSpPr>
          <p:nvPr userDrawn="1"/>
        </p:nvCxnSpPr>
        <p:spPr>
          <a:xfrm>
            <a:off x="0" y="1327638"/>
            <a:ext cx="12192000" cy="0"/>
          </a:xfrm>
          <a:prstGeom prst="line">
            <a:avLst/>
          </a:prstGeom>
          <a:ln>
            <a:solidFill>
              <a:srgbClr val="20479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64340518"/>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69689691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420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51111241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41743397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62902793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6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295008660"/>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625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405080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7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2928108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29075143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8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247286431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9830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08584396"/>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9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36390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29"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9630108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59916386"/>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0353"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41948834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2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803059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7"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379387430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1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1027071465"/>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02401"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1" y="1"/>
            <a:ext cx="158751" cy="158751"/>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1" y="229463"/>
            <a:ext cx="10123953" cy="276999"/>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6"/>
            <a:ext cx="11082528" cy="263149"/>
          </a:xfrm>
          <a:prstGeom prst="rect">
            <a:avLst/>
          </a:prstGeom>
        </p:spPr>
        <p:txBody>
          <a:bodyPr vert="horz" wrap="square" lIns="0" tIns="0" rIns="0" bIns="0" rtlCol="0">
            <a:spAutoFit/>
          </a:bodyPr>
          <a:lstStyle>
            <a:lvl1pPr>
              <a:defRPr lang="en-US" sz="19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6" y="6011075"/>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1"/>
            <a:ext cx="3843339" cy="110800"/>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275549281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4_Default">
    <p:spTree>
      <p:nvGrpSpPr>
        <p:cNvPr id="1" name=""/>
        <p:cNvGrpSpPr/>
        <p:nvPr/>
      </p:nvGrpSpPr>
      <p:grpSpPr>
        <a:xfrm>
          <a:off x="0" y="0"/>
          <a:ext cx="0" cy="0"/>
          <a:chOff x="0" y="0"/>
          <a:chExt cx="0" cy="0"/>
        </a:xfrm>
      </p:grpSpPr>
      <p:graphicFrame>
        <p:nvGraphicFramePr>
          <p:cNvPr id="3" name="Object 6" hidden="1">
            <a:extLst>
              <a:ext uri="{FF2B5EF4-FFF2-40B4-BE49-F238E27FC236}">
                <a16:creationId xmlns:a16="http://schemas.microsoft.com/office/drawing/2014/main" id="{D8EFF8A2-0FB9-4B25-8B8D-492353274983}"/>
              </a:ext>
            </a:extLst>
          </p:cNvPr>
          <p:cNvGraphicFramePr>
            <a:graphicFrameLocks noChangeAspect="1"/>
          </p:cNvGraphicFramePr>
          <p:nvPr userDrawn="1">
            <p:custDataLst>
              <p:tags r:id="rId2"/>
            </p:custDataLst>
            <p:extLst>
              <p:ext uri="{D42A27DB-BD31-4B8C-83A1-F6EECF244321}">
                <p14:modId xmlns:p14="http://schemas.microsoft.com/office/powerpoint/2010/main" val="36359253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5" name="think-cell Slide" r:id="rId9" imgW="413" imgH="416" progId="TCLayout.ActiveDocument.1">
                  <p:embed/>
                </p:oleObj>
              </mc:Choice>
              <mc:Fallback>
                <p:oleObj name="think-cell Slide" r:id="rId9" imgW="413" imgH="416" progId="TCLayout.ActiveDocument.1">
                  <p:embed/>
                  <p:pic>
                    <p:nvPicPr>
                      <p:cNvPr id="3" name="Object 6" hidden="1">
                        <a:extLst>
                          <a:ext uri="{FF2B5EF4-FFF2-40B4-BE49-F238E27FC236}">
                            <a16:creationId xmlns:a16="http://schemas.microsoft.com/office/drawing/2014/main" id="{D8EFF8A2-0FB9-4B25-8B8D-492353274983}"/>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5" name="Rectangle 1" hidden="1">
            <a:extLst>
              <a:ext uri="{FF2B5EF4-FFF2-40B4-BE49-F238E27FC236}">
                <a16:creationId xmlns:a16="http://schemas.microsoft.com/office/drawing/2014/main" id="{FCC3A0E6-E630-4C26-B008-93BA0B5B1109}"/>
              </a:ext>
            </a:extLst>
          </p:cNvPr>
          <p:cNvSpPr/>
          <p:nvPr userDrawn="1">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spcBef>
                <a:spcPts val="300"/>
              </a:spcBef>
              <a:spcAft>
                <a:spcPts val="300"/>
              </a:spcAft>
            </a:pPr>
            <a:endParaRPr lang="en-US" sz="2000" b="1" i="0" baseline="0" err="1">
              <a:solidFill>
                <a:schemeClr val="bg1"/>
              </a:solidFill>
              <a:latin typeface="Arial" panose="020B0604020202020204" pitchFamily="34" charset="0"/>
              <a:ea typeface="+mj-ea"/>
              <a:cs typeface="+mj-cs"/>
              <a:sym typeface="Arial" panose="020B0604020202020204" pitchFamily="34" charset="0"/>
            </a:endParaRPr>
          </a:p>
        </p:txBody>
      </p:sp>
      <p:sp>
        <p:nvSpPr>
          <p:cNvPr id="15" name="2. Slide Title">
            <a:extLst>
              <a:ext uri="{FF2B5EF4-FFF2-40B4-BE49-F238E27FC236}">
                <a16:creationId xmlns:a16="http://schemas.microsoft.com/office/drawing/2014/main" id="{699FD2C4-82B5-475E-9235-DB128978B618}"/>
              </a:ext>
            </a:extLst>
          </p:cNvPr>
          <p:cNvSpPr>
            <a:spLocks noGrp="1"/>
          </p:cNvSpPr>
          <p:nvPr>
            <p:ph type="title"/>
            <p:custDataLst>
              <p:tags r:id="rId4"/>
            </p:custDataLst>
          </p:nvPr>
        </p:nvSpPr>
        <p:spPr>
          <a:xfrm>
            <a:off x="1781720" y="214073"/>
            <a:ext cx="10123953" cy="307777"/>
          </a:xfrm>
        </p:spPr>
        <p:txBody>
          <a:bodyPr vert="horz" wrap="square" lIns="0" tIns="0" rIns="0" bIns="0" rtlCol="0" anchor="ctr" anchorCtr="0">
            <a:spAutoFit/>
          </a:bodyPr>
          <a:lstStyle>
            <a:lvl1pPr>
              <a:defRPr lang="en-US" sz="2000" baseline="0" dirty="0"/>
            </a:lvl1pPr>
          </a:lstStyle>
          <a:p>
            <a:pPr lvl="0"/>
            <a:r>
              <a:rPr lang="en-US"/>
              <a:t>Click to edit Master title style</a:t>
            </a:r>
          </a:p>
        </p:txBody>
      </p:sp>
      <p:sp>
        <p:nvSpPr>
          <p:cNvPr id="14" name="3. Subtitle">
            <a:extLst>
              <a:ext uri="{FF2B5EF4-FFF2-40B4-BE49-F238E27FC236}">
                <a16:creationId xmlns:a16="http://schemas.microsoft.com/office/drawing/2014/main" id="{D4D36123-678D-4B6C-A648-186F85BE34AE}"/>
              </a:ext>
            </a:extLst>
          </p:cNvPr>
          <p:cNvSpPr>
            <a:spLocks noGrp="1"/>
          </p:cNvSpPr>
          <p:nvPr>
            <p:ph type="subTitle" idx="1"/>
            <p:custDataLst>
              <p:tags r:id="rId5"/>
            </p:custDataLst>
          </p:nvPr>
        </p:nvSpPr>
        <p:spPr>
          <a:xfrm>
            <a:off x="554736" y="884725"/>
            <a:ext cx="11082528" cy="276999"/>
          </a:xfrm>
          <a:prstGeom prst="rect">
            <a:avLst/>
          </a:prstGeom>
        </p:spPr>
        <p:txBody>
          <a:bodyPr vert="horz" wrap="square" lIns="0" tIns="0" rIns="0" bIns="0" rtlCol="0">
            <a:spAutoFit/>
          </a:bodyPr>
          <a:lstStyle>
            <a:lvl1pPr>
              <a:defRPr lang="en-US" sz="1800" b="0" dirty="0"/>
            </a:lvl1pPr>
          </a:lstStyle>
          <a:p>
            <a:pPr lvl="0">
              <a:buNone/>
            </a:pPr>
            <a:r>
              <a:rPr lang="en-US"/>
              <a:t>Click to edit Master subtitle style</a:t>
            </a:r>
          </a:p>
        </p:txBody>
      </p:sp>
      <p:sp>
        <p:nvSpPr>
          <p:cNvPr id="8" name="5. Source" hidden="1">
            <a:extLst>
              <a:ext uri="{FF2B5EF4-FFF2-40B4-BE49-F238E27FC236}">
                <a16:creationId xmlns:a16="http://schemas.microsoft.com/office/drawing/2014/main" id="{9238B1D6-2095-4826-AA45-9A4E6F7D1A16}"/>
              </a:ext>
            </a:extLst>
          </p:cNvPr>
          <p:cNvSpPr txBox="1"/>
          <p:nvPr userDrawn="1">
            <p:custDataLst>
              <p:tags r:id="rId6"/>
            </p:custDataLst>
          </p:nvPr>
        </p:nvSpPr>
        <p:spPr>
          <a:xfrm>
            <a:off x="554735" y="6011074"/>
            <a:ext cx="7277861"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a:r>
              <a:rPr lang="en-US"/>
              <a:t>Source: …</a:t>
            </a:r>
          </a:p>
        </p:txBody>
      </p:sp>
      <p:sp>
        <p:nvSpPr>
          <p:cNvPr id="11" name="1. On-page tracker">
            <a:extLst>
              <a:ext uri="{FF2B5EF4-FFF2-40B4-BE49-F238E27FC236}">
                <a16:creationId xmlns:a16="http://schemas.microsoft.com/office/drawing/2014/main" id="{C30AC055-11D5-4540-94E4-C3B7BE6EFD7D}"/>
              </a:ext>
            </a:extLst>
          </p:cNvPr>
          <p:cNvSpPr>
            <a:spLocks noGrp="1"/>
          </p:cNvSpPr>
          <p:nvPr>
            <p:ph type="body" sz="quarter" idx="10" hasCustomPrompt="1"/>
            <p:custDataLst>
              <p:tags r:id="rId7"/>
            </p:custDataLst>
          </p:nvPr>
        </p:nvSpPr>
        <p:spPr>
          <a:xfrm>
            <a:off x="1781720" y="0"/>
            <a:ext cx="3843338" cy="123111"/>
          </a:xfrm>
          <a:prstGeom prst="rect">
            <a:avLst/>
          </a:prstGeom>
          <a:ln w="6350">
            <a:noFill/>
            <a:miter lim="800000"/>
          </a:ln>
        </p:spPr>
        <p:txBody>
          <a:bodyPr vert="horz" wrap="square" lIns="0" tIns="0" rIns="0" bIns="0" rtlCol="0">
            <a:spAutoFit/>
          </a:bodyPr>
          <a:lstStyle>
            <a:lvl1pPr>
              <a:defRPr lang="en-US" sz="800" b="0" dirty="0">
                <a:solidFill>
                  <a:schemeClr val="bg1"/>
                </a:solidFill>
                <a:cs typeface="+mn-cs"/>
              </a:defRPr>
            </a:lvl1pPr>
          </a:lstStyle>
          <a:p>
            <a:pPr lvl="0">
              <a:buNone/>
            </a:pPr>
            <a:r>
              <a:rPr lang="en-US"/>
              <a:t>Add tracker</a:t>
            </a:r>
          </a:p>
        </p:txBody>
      </p:sp>
    </p:spTree>
    <p:extLst>
      <p:ext uri="{BB962C8B-B14F-4D97-AF65-F5344CB8AC3E}">
        <p14:creationId xmlns:p14="http://schemas.microsoft.com/office/powerpoint/2010/main" val="118919633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17" Type="http://schemas.openxmlformats.org/officeDocument/2006/relationships/slideLayout" Target="../slideLayouts/slideLayout166.xml"/><Relationship Id="rId21" Type="http://schemas.openxmlformats.org/officeDocument/2006/relationships/slideLayout" Target="../slideLayouts/slideLayout70.xml"/><Relationship Id="rId324" Type="http://schemas.openxmlformats.org/officeDocument/2006/relationships/slideLayout" Target="../slideLayouts/slideLayout373.xml"/><Relationship Id="rId531" Type="http://schemas.openxmlformats.org/officeDocument/2006/relationships/slideLayout" Target="../slideLayouts/slideLayout580.xml"/><Relationship Id="rId170" Type="http://schemas.openxmlformats.org/officeDocument/2006/relationships/slideLayout" Target="../slideLayouts/slideLayout219.xml"/><Relationship Id="rId268" Type="http://schemas.openxmlformats.org/officeDocument/2006/relationships/slideLayout" Target="../slideLayouts/slideLayout317.xml"/><Relationship Id="rId475" Type="http://schemas.openxmlformats.org/officeDocument/2006/relationships/slideLayout" Target="../slideLayouts/slideLayout524.xml"/><Relationship Id="rId32" Type="http://schemas.openxmlformats.org/officeDocument/2006/relationships/slideLayout" Target="../slideLayouts/slideLayout81.xml"/><Relationship Id="rId128" Type="http://schemas.openxmlformats.org/officeDocument/2006/relationships/slideLayout" Target="../slideLayouts/slideLayout177.xml"/><Relationship Id="rId335" Type="http://schemas.openxmlformats.org/officeDocument/2006/relationships/slideLayout" Target="../slideLayouts/slideLayout384.xml"/><Relationship Id="rId542" Type="http://schemas.openxmlformats.org/officeDocument/2006/relationships/slideLayout" Target="../slideLayouts/slideLayout591.xml"/><Relationship Id="rId181" Type="http://schemas.openxmlformats.org/officeDocument/2006/relationships/slideLayout" Target="../slideLayouts/slideLayout230.xml"/><Relationship Id="rId402" Type="http://schemas.openxmlformats.org/officeDocument/2006/relationships/slideLayout" Target="../slideLayouts/slideLayout451.xml"/><Relationship Id="rId279" Type="http://schemas.openxmlformats.org/officeDocument/2006/relationships/slideLayout" Target="../slideLayouts/slideLayout328.xml"/><Relationship Id="rId486" Type="http://schemas.openxmlformats.org/officeDocument/2006/relationships/slideLayout" Target="../slideLayouts/slideLayout535.xml"/><Relationship Id="rId43" Type="http://schemas.openxmlformats.org/officeDocument/2006/relationships/slideLayout" Target="../slideLayouts/slideLayout92.xml"/><Relationship Id="rId139" Type="http://schemas.openxmlformats.org/officeDocument/2006/relationships/slideLayout" Target="../slideLayouts/slideLayout188.xml"/><Relationship Id="rId346" Type="http://schemas.openxmlformats.org/officeDocument/2006/relationships/slideLayout" Target="../slideLayouts/slideLayout395.xml"/><Relationship Id="rId553" Type="http://schemas.openxmlformats.org/officeDocument/2006/relationships/slideLayout" Target="../slideLayouts/slideLayout602.xml"/><Relationship Id="rId192" Type="http://schemas.openxmlformats.org/officeDocument/2006/relationships/slideLayout" Target="../slideLayouts/slideLayout241.xml"/><Relationship Id="rId206" Type="http://schemas.openxmlformats.org/officeDocument/2006/relationships/slideLayout" Target="../slideLayouts/slideLayout255.xml"/><Relationship Id="rId413" Type="http://schemas.openxmlformats.org/officeDocument/2006/relationships/slideLayout" Target="../slideLayouts/slideLayout462.xml"/><Relationship Id="rId497" Type="http://schemas.openxmlformats.org/officeDocument/2006/relationships/slideLayout" Target="../slideLayouts/slideLayout546.xml"/><Relationship Id="rId357" Type="http://schemas.openxmlformats.org/officeDocument/2006/relationships/slideLayout" Target="../slideLayouts/slideLayout406.xml"/><Relationship Id="rId54" Type="http://schemas.openxmlformats.org/officeDocument/2006/relationships/slideLayout" Target="../slideLayouts/slideLayout103.xml"/><Relationship Id="rId217" Type="http://schemas.openxmlformats.org/officeDocument/2006/relationships/slideLayout" Target="../slideLayouts/slideLayout266.xml"/><Relationship Id="rId564" Type="http://schemas.openxmlformats.org/officeDocument/2006/relationships/image" Target="../media/image1.emf"/><Relationship Id="rId424" Type="http://schemas.openxmlformats.org/officeDocument/2006/relationships/slideLayout" Target="../slideLayouts/slideLayout473.xml"/><Relationship Id="rId23" Type="http://schemas.openxmlformats.org/officeDocument/2006/relationships/slideLayout" Target="../slideLayouts/slideLayout72.xml"/><Relationship Id="rId119" Type="http://schemas.openxmlformats.org/officeDocument/2006/relationships/slideLayout" Target="../slideLayouts/slideLayout168.xml"/><Relationship Id="rId270" Type="http://schemas.openxmlformats.org/officeDocument/2006/relationships/slideLayout" Target="../slideLayouts/slideLayout319.xml"/><Relationship Id="rId326" Type="http://schemas.openxmlformats.org/officeDocument/2006/relationships/slideLayout" Target="../slideLayouts/slideLayout375.xml"/><Relationship Id="rId533" Type="http://schemas.openxmlformats.org/officeDocument/2006/relationships/slideLayout" Target="../slideLayouts/slideLayout582.xml"/><Relationship Id="rId65" Type="http://schemas.openxmlformats.org/officeDocument/2006/relationships/slideLayout" Target="../slideLayouts/slideLayout114.xml"/><Relationship Id="rId130" Type="http://schemas.openxmlformats.org/officeDocument/2006/relationships/slideLayout" Target="../slideLayouts/slideLayout179.xml"/><Relationship Id="rId368" Type="http://schemas.openxmlformats.org/officeDocument/2006/relationships/slideLayout" Target="../slideLayouts/slideLayout417.xml"/><Relationship Id="rId172" Type="http://schemas.openxmlformats.org/officeDocument/2006/relationships/slideLayout" Target="../slideLayouts/slideLayout221.xml"/><Relationship Id="rId228" Type="http://schemas.openxmlformats.org/officeDocument/2006/relationships/slideLayout" Target="../slideLayouts/slideLayout277.xml"/><Relationship Id="rId435" Type="http://schemas.openxmlformats.org/officeDocument/2006/relationships/slideLayout" Target="../slideLayouts/slideLayout484.xml"/><Relationship Id="rId477" Type="http://schemas.openxmlformats.org/officeDocument/2006/relationships/slideLayout" Target="../slideLayouts/slideLayout526.xml"/><Relationship Id="rId281" Type="http://schemas.openxmlformats.org/officeDocument/2006/relationships/slideLayout" Target="../slideLayouts/slideLayout330.xml"/><Relationship Id="rId337" Type="http://schemas.openxmlformats.org/officeDocument/2006/relationships/slideLayout" Target="../slideLayouts/slideLayout386.xml"/><Relationship Id="rId502" Type="http://schemas.openxmlformats.org/officeDocument/2006/relationships/slideLayout" Target="../slideLayouts/slideLayout551.xml"/><Relationship Id="rId34" Type="http://schemas.openxmlformats.org/officeDocument/2006/relationships/slideLayout" Target="../slideLayouts/slideLayout83.xml"/><Relationship Id="rId76" Type="http://schemas.openxmlformats.org/officeDocument/2006/relationships/slideLayout" Target="../slideLayouts/slideLayout125.xml"/><Relationship Id="rId141" Type="http://schemas.openxmlformats.org/officeDocument/2006/relationships/slideLayout" Target="../slideLayouts/slideLayout190.xml"/><Relationship Id="rId379" Type="http://schemas.openxmlformats.org/officeDocument/2006/relationships/slideLayout" Target="../slideLayouts/slideLayout428.xml"/><Relationship Id="rId544" Type="http://schemas.openxmlformats.org/officeDocument/2006/relationships/slideLayout" Target="../slideLayouts/slideLayout593.xml"/><Relationship Id="rId7" Type="http://schemas.openxmlformats.org/officeDocument/2006/relationships/slideLayout" Target="../slideLayouts/slideLayout56.xml"/><Relationship Id="rId183" Type="http://schemas.openxmlformats.org/officeDocument/2006/relationships/slideLayout" Target="../slideLayouts/slideLayout232.xml"/><Relationship Id="rId239" Type="http://schemas.openxmlformats.org/officeDocument/2006/relationships/slideLayout" Target="../slideLayouts/slideLayout288.xml"/><Relationship Id="rId390" Type="http://schemas.openxmlformats.org/officeDocument/2006/relationships/slideLayout" Target="../slideLayouts/slideLayout439.xml"/><Relationship Id="rId404" Type="http://schemas.openxmlformats.org/officeDocument/2006/relationships/slideLayout" Target="../slideLayouts/slideLayout453.xml"/><Relationship Id="rId446" Type="http://schemas.openxmlformats.org/officeDocument/2006/relationships/slideLayout" Target="../slideLayouts/slideLayout495.xml"/><Relationship Id="rId250" Type="http://schemas.openxmlformats.org/officeDocument/2006/relationships/slideLayout" Target="../slideLayouts/slideLayout299.xml"/><Relationship Id="rId292" Type="http://schemas.openxmlformats.org/officeDocument/2006/relationships/slideLayout" Target="../slideLayouts/slideLayout341.xml"/><Relationship Id="rId306" Type="http://schemas.openxmlformats.org/officeDocument/2006/relationships/slideLayout" Target="../slideLayouts/slideLayout355.xml"/><Relationship Id="rId488" Type="http://schemas.openxmlformats.org/officeDocument/2006/relationships/slideLayout" Target="../slideLayouts/slideLayout537.xml"/><Relationship Id="rId45" Type="http://schemas.openxmlformats.org/officeDocument/2006/relationships/slideLayout" Target="../slideLayouts/slideLayout94.xml"/><Relationship Id="rId87" Type="http://schemas.openxmlformats.org/officeDocument/2006/relationships/slideLayout" Target="../slideLayouts/slideLayout136.xml"/><Relationship Id="rId110" Type="http://schemas.openxmlformats.org/officeDocument/2006/relationships/slideLayout" Target="../slideLayouts/slideLayout159.xml"/><Relationship Id="rId348" Type="http://schemas.openxmlformats.org/officeDocument/2006/relationships/slideLayout" Target="../slideLayouts/slideLayout397.xml"/><Relationship Id="rId513" Type="http://schemas.openxmlformats.org/officeDocument/2006/relationships/slideLayout" Target="../slideLayouts/slideLayout562.xml"/><Relationship Id="rId555" Type="http://schemas.openxmlformats.org/officeDocument/2006/relationships/slideLayout" Target="../slideLayouts/slideLayout604.xml"/><Relationship Id="rId152" Type="http://schemas.openxmlformats.org/officeDocument/2006/relationships/slideLayout" Target="../slideLayouts/slideLayout201.xml"/><Relationship Id="rId194" Type="http://schemas.openxmlformats.org/officeDocument/2006/relationships/slideLayout" Target="../slideLayouts/slideLayout243.xml"/><Relationship Id="rId208" Type="http://schemas.openxmlformats.org/officeDocument/2006/relationships/slideLayout" Target="../slideLayouts/slideLayout257.xml"/><Relationship Id="rId415" Type="http://schemas.openxmlformats.org/officeDocument/2006/relationships/slideLayout" Target="../slideLayouts/slideLayout464.xml"/><Relationship Id="rId457" Type="http://schemas.openxmlformats.org/officeDocument/2006/relationships/slideLayout" Target="../slideLayouts/slideLayout506.xml"/><Relationship Id="rId261" Type="http://schemas.openxmlformats.org/officeDocument/2006/relationships/slideLayout" Target="../slideLayouts/slideLayout310.xml"/><Relationship Id="rId499" Type="http://schemas.openxmlformats.org/officeDocument/2006/relationships/slideLayout" Target="../slideLayouts/slideLayout548.xml"/><Relationship Id="rId14" Type="http://schemas.openxmlformats.org/officeDocument/2006/relationships/slideLayout" Target="../slideLayouts/slideLayout63.xml"/><Relationship Id="rId56" Type="http://schemas.openxmlformats.org/officeDocument/2006/relationships/slideLayout" Target="../slideLayouts/slideLayout105.xml"/><Relationship Id="rId317" Type="http://schemas.openxmlformats.org/officeDocument/2006/relationships/slideLayout" Target="../slideLayouts/slideLayout366.xml"/><Relationship Id="rId359" Type="http://schemas.openxmlformats.org/officeDocument/2006/relationships/slideLayout" Target="../slideLayouts/slideLayout408.xml"/><Relationship Id="rId524" Type="http://schemas.openxmlformats.org/officeDocument/2006/relationships/slideLayout" Target="../slideLayouts/slideLayout573.xml"/><Relationship Id="rId98" Type="http://schemas.openxmlformats.org/officeDocument/2006/relationships/slideLayout" Target="../slideLayouts/slideLayout147.xml"/><Relationship Id="rId121" Type="http://schemas.openxmlformats.org/officeDocument/2006/relationships/slideLayout" Target="../slideLayouts/slideLayout170.xml"/><Relationship Id="rId163" Type="http://schemas.openxmlformats.org/officeDocument/2006/relationships/slideLayout" Target="../slideLayouts/slideLayout212.xml"/><Relationship Id="rId219" Type="http://schemas.openxmlformats.org/officeDocument/2006/relationships/slideLayout" Target="../slideLayouts/slideLayout268.xml"/><Relationship Id="rId370" Type="http://schemas.openxmlformats.org/officeDocument/2006/relationships/slideLayout" Target="../slideLayouts/slideLayout419.xml"/><Relationship Id="rId426" Type="http://schemas.openxmlformats.org/officeDocument/2006/relationships/slideLayout" Target="../slideLayouts/slideLayout475.xml"/><Relationship Id="rId230" Type="http://schemas.openxmlformats.org/officeDocument/2006/relationships/slideLayout" Target="../slideLayouts/slideLayout279.xml"/><Relationship Id="rId468" Type="http://schemas.openxmlformats.org/officeDocument/2006/relationships/slideLayout" Target="../slideLayouts/slideLayout517.xml"/><Relationship Id="rId25" Type="http://schemas.openxmlformats.org/officeDocument/2006/relationships/slideLayout" Target="../slideLayouts/slideLayout74.xml"/><Relationship Id="rId67" Type="http://schemas.openxmlformats.org/officeDocument/2006/relationships/slideLayout" Target="../slideLayouts/slideLayout116.xml"/><Relationship Id="rId272" Type="http://schemas.openxmlformats.org/officeDocument/2006/relationships/slideLayout" Target="../slideLayouts/slideLayout321.xml"/><Relationship Id="rId328" Type="http://schemas.openxmlformats.org/officeDocument/2006/relationships/slideLayout" Target="../slideLayouts/slideLayout377.xml"/><Relationship Id="rId535" Type="http://schemas.openxmlformats.org/officeDocument/2006/relationships/slideLayout" Target="../slideLayouts/slideLayout584.xml"/><Relationship Id="rId132" Type="http://schemas.openxmlformats.org/officeDocument/2006/relationships/slideLayout" Target="../slideLayouts/slideLayout181.xml"/><Relationship Id="rId174" Type="http://schemas.openxmlformats.org/officeDocument/2006/relationships/slideLayout" Target="../slideLayouts/slideLayout223.xml"/><Relationship Id="rId381" Type="http://schemas.openxmlformats.org/officeDocument/2006/relationships/slideLayout" Target="../slideLayouts/slideLayout430.xml"/><Relationship Id="rId241" Type="http://schemas.openxmlformats.org/officeDocument/2006/relationships/slideLayout" Target="../slideLayouts/slideLayout290.xml"/><Relationship Id="rId437" Type="http://schemas.openxmlformats.org/officeDocument/2006/relationships/slideLayout" Target="../slideLayouts/slideLayout486.xml"/><Relationship Id="rId479" Type="http://schemas.openxmlformats.org/officeDocument/2006/relationships/slideLayout" Target="../slideLayouts/slideLayout528.xml"/><Relationship Id="rId36" Type="http://schemas.openxmlformats.org/officeDocument/2006/relationships/slideLayout" Target="../slideLayouts/slideLayout85.xml"/><Relationship Id="rId283" Type="http://schemas.openxmlformats.org/officeDocument/2006/relationships/slideLayout" Target="../slideLayouts/slideLayout332.xml"/><Relationship Id="rId339" Type="http://schemas.openxmlformats.org/officeDocument/2006/relationships/slideLayout" Target="../slideLayouts/slideLayout388.xml"/><Relationship Id="rId490" Type="http://schemas.openxmlformats.org/officeDocument/2006/relationships/slideLayout" Target="../slideLayouts/slideLayout539.xml"/><Relationship Id="rId504" Type="http://schemas.openxmlformats.org/officeDocument/2006/relationships/slideLayout" Target="../slideLayouts/slideLayout553.xml"/><Relationship Id="rId546" Type="http://schemas.openxmlformats.org/officeDocument/2006/relationships/slideLayout" Target="../slideLayouts/slideLayout595.xml"/><Relationship Id="rId78" Type="http://schemas.openxmlformats.org/officeDocument/2006/relationships/slideLayout" Target="../slideLayouts/slideLayout127.xml"/><Relationship Id="rId101" Type="http://schemas.openxmlformats.org/officeDocument/2006/relationships/slideLayout" Target="../slideLayouts/slideLayout150.xml"/><Relationship Id="rId143" Type="http://schemas.openxmlformats.org/officeDocument/2006/relationships/slideLayout" Target="../slideLayouts/slideLayout192.xml"/><Relationship Id="rId185" Type="http://schemas.openxmlformats.org/officeDocument/2006/relationships/slideLayout" Target="../slideLayouts/slideLayout234.xml"/><Relationship Id="rId350" Type="http://schemas.openxmlformats.org/officeDocument/2006/relationships/slideLayout" Target="../slideLayouts/slideLayout399.xml"/><Relationship Id="rId406" Type="http://schemas.openxmlformats.org/officeDocument/2006/relationships/slideLayout" Target="../slideLayouts/slideLayout455.xml"/><Relationship Id="rId9" Type="http://schemas.openxmlformats.org/officeDocument/2006/relationships/slideLayout" Target="../slideLayouts/slideLayout58.xml"/><Relationship Id="rId210" Type="http://schemas.openxmlformats.org/officeDocument/2006/relationships/slideLayout" Target="../slideLayouts/slideLayout259.xml"/><Relationship Id="rId392" Type="http://schemas.openxmlformats.org/officeDocument/2006/relationships/slideLayout" Target="../slideLayouts/slideLayout441.xml"/><Relationship Id="rId448" Type="http://schemas.openxmlformats.org/officeDocument/2006/relationships/slideLayout" Target="../slideLayouts/slideLayout497.xml"/><Relationship Id="rId252" Type="http://schemas.openxmlformats.org/officeDocument/2006/relationships/slideLayout" Target="../slideLayouts/slideLayout301.xml"/><Relationship Id="rId294" Type="http://schemas.openxmlformats.org/officeDocument/2006/relationships/slideLayout" Target="../slideLayouts/slideLayout343.xml"/><Relationship Id="rId308" Type="http://schemas.openxmlformats.org/officeDocument/2006/relationships/slideLayout" Target="../slideLayouts/slideLayout357.xml"/><Relationship Id="rId515" Type="http://schemas.openxmlformats.org/officeDocument/2006/relationships/slideLayout" Target="../slideLayouts/slideLayout564.xml"/><Relationship Id="rId47" Type="http://schemas.openxmlformats.org/officeDocument/2006/relationships/slideLayout" Target="../slideLayouts/slideLayout96.xml"/><Relationship Id="rId89" Type="http://schemas.openxmlformats.org/officeDocument/2006/relationships/slideLayout" Target="../slideLayouts/slideLayout138.xml"/><Relationship Id="rId112" Type="http://schemas.openxmlformats.org/officeDocument/2006/relationships/slideLayout" Target="../slideLayouts/slideLayout161.xml"/><Relationship Id="rId154" Type="http://schemas.openxmlformats.org/officeDocument/2006/relationships/slideLayout" Target="../slideLayouts/slideLayout203.xml"/><Relationship Id="rId361" Type="http://schemas.openxmlformats.org/officeDocument/2006/relationships/slideLayout" Target="../slideLayouts/slideLayout410.xml"/><Relationship Id="rId557" Type="http://schemas.openxmlformats.org/officeDocument/2006/relationships/slideLayout" Target="../slideLayouts/slideLayout606.xml"/><Relationship Id="rId196" Type="http://schemas.openxmlformats.org/officeDocument/2006/relationships/slideLayout" Target="../slideLayouts/slideLayout245.xml"/><Relationship Id="rId417" Type="http://schemas.openxmlformats.org/officeDocument/2006/relationships/slideLayout" Target="../slideLayouts/slideLayout466.xml"/><Relationship Id="rId459" Type="http://schemas.openxmlformats.org/officeDocument/2006/relationships/slideLayout" Target="../slideLayouts/slideLayout508.xml"/><Relationship Id="rId16" Type="http://schemas.openxmlformats.org/officeDocument/2006/relationships/slideLayout" Target="../slideLayouts/slideLayout65.xml"/><Relationship Id="rId221" Type="http://schemas.openxmlformats.org/officeDocument/2006/relationships/slideLayout" Target="../slideLayouts/slideLayout270.xml"/><Relationship Id="rId263" Type="http://schemas.openxmlformats.org/officeDocument/2006/relationships/slideLayout" Target="../slideLayouts/slideLayout312.xml"/><Relationship Id="rId319" Type="http://schemas.openxmlformats.org/officeDocument/2006/relationships/slideLayout" Target="../slideLayouts/slideLayout368.xml"/><Relationship Id="rId470" Type="http://schemas.openxmlformats.org/officeDocument/2006/relationships/slideLayout" Target="../slideLayouts/slideLayout519.xml"/><Relationship Id="rId526" Type="http://schemas.openxmlformats.org/officeDocument/2006/relationships/slideLayout" Target="../slideLayouts/slideLayout575.xml"/><Relationship Id="rId58" Type="http://schemas.openxmlformats.org/officeDocument/2006/relationships/slideLayout" Target="../slideLayouts/slideLayout107.xml"/><Relationship Id="rId123" Type="http://schemas.openxmlformats.org/officeDocument/2006/relationships/slideLayout" Target="../slideLayouts/slideLayout172.xml"/><Relationship Id="rId330" Type="http://schemas.openxmlformats.org/officeDocument/2006/relationships/slideLayout" Target="../slideLayouts/slideLayout379.xml"/><Relationship Id="rId165" Type="http://schemas.openxmlformats.org/officeDocument/2006/relationships/slideLayout" Target="../slideLayouts/slideLayout214.xml"/><Relationship Id="rId372" Type="http://schemas.openxmlformats.org/officeDocument/2006/relationships/slideLayout" Target="../slideLayouts/slideLayout421.xml"/><Relationship Id="rId428" Type="http://schemas.openxmlformats.org/officeDocument/2006/relationships/slideLayout" Target="../slideLayouts/slideLayout477.xml"/><Relationship Id="rId232" Type="http://schemas.openxmlformats.org/officeDocument/2006/relationships/slideLayout" Target="../slideLayouts/slideLayout281.xml"/><Relationship Id="rId274" Type="http://schemas.openxmlformats.org/officeDocument/2006/relationships/slideLayout" Target="../slideLayouts/slideLayout323.xml"/><Relationship Id="rId481" Type="http://schemas.openxmlformats.org/officeDocument/2006/relationships/slideLayout" Target="../slideLayouts/slideLayout530.xml"/><Relationship Id="rId27" Type="http://schemas.openxmlformats.org/officeDocument/2006/relationships/slideLayout" Target="../slideLayouts/slideLayout76.xml"/><Relationship Id="rId69" Type="http://schemas.openxmlformats.org/officeDocument/2006/relationships/slideLayout" Target="../slideLayouts/slideLayout118.xml"/><Relationship Id="rId134" Type="http://schemas.openxmlformats.org/officeDocument/2006/relationships/slideLayout" Target="../slideLayouts/slideLayout183.xml"/><Relationship Id="rId537" Type="http://schemas.openxmlformats.org/officeDocument/2006/relationships/slideLayout" Target="../slideLayouts/slideLayout586.xml"/><Relationship Id="rId80" Type="http://schemas.openxmlformats.org/officeDocument/2006/relationships/slideLayout" Target="../slideLayouts/slideLayout129.xml"/><Relationship Id="rId176" Type="http://schemas.openxmlformats.org/officeDocument/2006/relationships/slideLayout" Target="../slideLayouts/slideLayout225.xml"/><Relationship Id="rId341" Type="http://schemas.openxmlformats.org/officeDocument/2006/relationships/slideLayout" Target="../slideLayouts/slideLayout390.xml"/><Relationship Id="rId383" Type="http://schemas.openxmlformats.org/officeDocument/2006/relationships/slideLayout" Target="../slideLayouts/slideLayout432.xml"/><Relationship Id="rId439" Type="http://schemas.openxmlformats.org/officeDocument/2006/relationships/slideLayout" Target="../slideLayouts/slideLayout488.xml"/><Relationship Id="rId201" Type="http://schemas.openxmlformats.org/officeDocument/2006/relationships/slideLayout" Target="../slideLayouts/slideLayout250.xml"/><Relationship Id="rId243" Type="http://schemas.openxmlformats.org/officeDocument/2006/relationships/slideLayout" Target="../slideLayouts/slideLayout292.xml"/><Relationship Id="rId285" Type="http://schemas.openxmlformats.org/officeDocument/2006/relationships/slideLayout" Target="../slideLayouts/slideLayout334.xml"/><Relationship Id="rId450" Type="http://schemas.openxmlformats.org/officeDocument/2006/relationships/slideLayout" Target="../slideLayouts/slideLayout499.xml"/><Relationship Id="rId506" Type="http://schemas.openxmlformats.org/officeDocument/2006/relationships/slideLayout" Target="../slideLayouts/slideLayout555.xml"/><Relationship Id="rId38" Type="http://schemas.openxmlformats.org/officeDocument/2006/relationships/slideLayout" Target="../slideLayouts/slideLayout87.xml"/><Relationship Id="rId103" Type="http://schemas.openxmlformats.org/officeDocument/2006/relationships/slideLayout" Target="../slideLayouts/slideLayout152.xml"/><Relationship Id="rId310" Type="http://schemas.openxmlformats.org/officeDocument/2006/relationships/slideLayout" Target="../slideLayouts/slideLayout359.xml"/><Relationship Id="rId492" Type="http://schemas.openxmlformats.org/officeDocument/2006/relationships/slideLayout" Target="../slideLayouts/slideLayout541.xml"/><Relationship Id="rId548" Type="http://schemas.openxmlformats.org/officeDocument/2006/relationships/slideLayout" Target="../slideLayouts/slideLayout597.xml"/><Relationship Id="rId91" Type="http://schemas.openxmlformats.org/officeDocument/2006/relationships/slideLayout" Target="../slideLayouts/slideLayout140.xml"/><Relationship Id="rId145" Type="http://schemas.openxmlformats.org/officeDocument/2006/relationships/slideLayout" Target="../slideLayouts/slideLayout194.xml"/><Relationship Id="rId187" Type="http://schemas.openxmlformats.org/officeDocument/2006/relationships/slideLayout" Target="../slideLayouts/slideLayout236.xml"/><Relationship Id="rId352" Type="http://schemas.openxmlformats.org/officeDocument/2006/relationships/slideLayout" Target="../slideLayouts/slideLayout401.xml"/><Relationship Id="rId394" Type="http://schemas.openxmlformats.org/officeDocument/2006/relationships/slideLayout" Target="../slideLayouts/slideLayout443.xml"/><Relationship Id="rId408" Type="http://schemas.openxmlformats.org/officeDocument/2006/relationships/slideLayout" Target="../slideLayouts/slideLayout457.xml"/><Relationship Id="rId212" Type="http://schemas.openxmlformats.org/officeDocument/2006/relationships/slideLayout" Target="../slideLayouts/slideLayout261.xml"/><Relationship Id="rId254" Type="http://schemas.openxmlformats.org/officeDocument/2006/relationships/slideLayout" Target="../slideLayouts/slideLayout303.xml"/><Relationship Id="rId49" Type="http://schemas.openxmlformats.org/officeDocument/2006/relationships/slideLayout" Target="../slideLayouts/slideLayout98.xml"/><Relationship Id="rId114" Type="http://schemas.openxmlformats.org/officeDocument/2006/relationships/slideLayout" Target="../slideLayouts/slideLayout163.xml"/><Relationship Id="rId296" Type="http://schemas.openxmlformats.org/officeDocument/2006/relationships/slideLayout" Target="../slideLayouts/slideLayout345.xml"/><Relationship Id="rId461" Type="http://schemas.openxmlformats.org/officeDocument/2006/relationships/slideLayout" Target="../slideLayouts/slideLayout510.xml"/><Relationship Id="rId517" Type="http://schemas.openxmlformats.org/officeDocument/2006/relationships/slideLayout" Target="../slideLayouts/slideLayout566.xml"/><Relationship Id="rId559" Type="http://schemas.openxmlformats.org/officeDocument/2006/relationships/slideLayout" Target="../slideLayouts/slideLayout608.xml"/><Relationship Id="rId60" Type="http://schemas.openxmlformats.org/officeDocument/2006/relationships/slideLayout" Target="../slideLayouts/slideLayout109.xml"/><Relationship Id="rId156" Type="http://schemas.openxmlformats.org/officeDocument/2006/relationships/slideLayout" Target="../slideLayouts/slideLayout205.xml"/><Relationship Id="rId198" Type="http://schemas.openxmlformats.org/officeDocument/2006/relationships/slideLayout" Target="../slideLayouts/slideLayout247.xml"/><Relationship Id="rId321" Type="http://schemas.openxmlformats.org/officeDocument/2006/relationships/slideLayout" Target="../slideLayouts/slideLayout370.xml"/><Relationship Id="rId363" Type="http://schemas.openxmlformats.org/officeDocument/2006/relationships/slideLayout" Target="../slideLayouts/slideLayout412.xml"/><Relationship Id="rId419" Type="http://schemas.openxmlformats.org/officeDocument/2006/relationships/slideLayout" Target="../slideLayouts/slideLayout468.xml"/><Relationship Id="rId223" Type="http://schemas.openxmlformats.org/officeDocument/2006/relationships/slideLayout" Target="../slideLayouts/slideLayout272.xml"/><Relationship Id="rId430" Type="http://schemas.openxmlformats.org/officeDocument/2006/relationships/slideLayout" Target="../slideLayouts/slideLayout479.xml"/><Relationship Id="rId18" Type="http://schemas.openxmlformats.org/officeDocument/2006/relationships/slideLayout" Target="../slideLayouts/slideLayout67.xml"/><Relationship Id="rId265" Type="http://schemas.openxmlformats.org/officeDocument/2006/relationships/slideLayout" Target="../slideLayouts/slideLayout314.xml"/><Relationship Id="rId472" Type="http://schemas.openxmlformats.org/officeDocument/2006/relationships/slideLayout" Target="../slideLayouts/slideLayout521.xml"/><Relationship Id="rId528" Type="http://schemas.openxmlformats.org/officeDocument/2006/relationships/slideLayout" Target="../slideLayouts/slideLayout577.xml"/><Relationship Id="rId125" Type="http://schemas.openxmlformats.org/officeDocument/2006/relationships/slideLayout" Target="../slideLayouts/slideLayout174.xml"/><Relationship Id="rId167" Type="http://schemas.openxmlformats.org/officeDocument/2006/relationships/slideLayout" Target="../slideLayouts/slideLayout216.xml"/><Relationship Id="rId332" Type="http://schemas.openxmlformats.org/officeDocument/2006/relationships/slideLayout" Target="../slideLayouts/slideLayout381.xml"/><Relationship Id="rId374" Type="http://schemas.openxmlformats.org/officeDocument/2006/relationships/slideLayout" Target="../slideLayouts/slideLayout423.xml"/><Relationship Id="rId71" Type="http://schemas.openxmlformats.org/officeDocument/2006/relationships/slideLayout" Target="../slideLayouts/slideLayout120.xml"/><Relationship Id="rId234" Type="http://schemas.openxmlformats.org/officeDocument/2006/relationships/slideLayout" Target="../slideLayouts/slideLayout283.xml"/><Relationship Id="rId2" Type="http://schemas.openxmlformats.org/officeDocument/2006/relationships/slideLayout" Target="../slideLayouts/slideLayout51.xml"/><Relationship Id="rId29" Type="http://schemas.openxmlformats.org/officeDocument/2006/relationships/slideLayout" Target="../slideLayouts/slideLayout78.xml"/><Relationship Id="rId276" Type="http://schemas.openxmlformats.org/officeDocument/2006/relationships/slideLayout" Target="../slideLayouts/slideLayout325.xml"/><Relationship Id="rId441" Type="http://schemas.openxmlformats.org/officeDocument/2006/relationships/slideLayout" Target="../slideLayouts/slideLayout490.xml"/><Relationship Id="rId483" Type="http://schemas.openxmlformats.org/officeDocument/2006/relationships/slideLayout" Target="../slideLayouts/slideLayout532.xml"/><Relationship Id="rId539" Type="http://schemas.openxmlformats.org/officeDocument/2006/relationships/slideLayout" Target="../slideLayouts/slideLayout588.xml"/><Relationship Id="rId40" Type="http://schemas.openxmlformats.org/officeDocument/2006/relationships/slideLayout" Target="../slideLayouts/slideLayout89.xml"/><Relationship Id="rId136" Type="http://schemas.openxmlformats.org/officeDocument/2006/relationships/slideLayout" Target="../slideLayouts/slideLayout185.xml"/><Relationship Id="rId178" Type="http://schemas.openxmlformats.org/officeDocument/2006/relationships/slideLayout" Target="../slideLayouts/slideLayout227.xml"/><Relationship Id="rId301" Type="http://schemas.openxmlformats.org/officeDocument/2006/relationships/slideLayout" Target="../slideLayouts/slideLayout350.xml"/><Relationship Id="rId343" Type="http://schemas.openxmlformats.org/officeDocument/2006/relationships/slideLayout" Target="../slideLayouts/slideLayout392.xml"/><Relationship Id="rId550" Type="http://schemas.openxmlformats.org/officeDocument/2006/relationships/slideLayout" Target="../slideLayouts/slideLayout599.xml"/><Relationship Id="rId82" Type="http://schemas.openxmlformats.org/officeDocument/2006/relationships/slideLayout" Target="../slideLayouts/slideLayout131.xml"/><Relationship Id="rId203" Type="http://schemas.openxmlformats.org/officeDocument/2006/relationships/slideLayout" Target="../slideLayouts/slideLayout252.xml"/><Relationship Id="rId385" Type="http://schemas.openxmlformats.org/officeDocument/2006/relationships/slideLayout" Target="../slideLayouts/slideLayout434.xml"/><Relationship Id="rId245" Type="http://schemas.openxmlformats.org/officeDocument/2006/relationships/slideLayout" Target="../slideLayouts/slideLayout294.xml"/><Relationship Id="rId287" Type="http://schemas.openxmlformats.org/officeDocument/2006/relationships/slideLayout" Target="../slideLayouts/slideLayout336.xml"/><Relationship Id="rId410" Type="http://schemas.openxmlformats.org/officeDocument/2006/relationships/slideLayout" Target="../slideLayouts/slideLayout459.xml"/><Relationship Id="rId452" Type="http://schemas.openxmlformats.org/officeDocument/2006/relationships/slideLayout" Target="../slideLayouts/slideLayout501.xml"/><Relationship Id="rId494" Type="http://schemas.openxmlformats.org/officeDocument/2006/relationships/slideLayout" Target="../slideLayouts/slideLayout543.xml"/><Relationship Id="rId508" Type="http://schemas.openxmlformats.org/officeDocument/2006/relationships/slideLayout" Target="../slideLayouts/slideLayout557.xml"/><Relationship Id="rId105" Type="http://schemas.openxmlformats.org/officeDocument/2006/relationships/slideLayout" Target="../slideLayouts/slideLayout154.xml"/><Relationship Id="rId147" Type="http://schemas.openxmlformats.org/officeDocument/2006/relationships/slideLayout" Target="../slideLayouts/slideLayout196.xml"/><Relationship Id="rId312" Type="http://schemas.openxmlformats.org/officeDocument/2006/relationships/slideLayout" Target="../slideLayouts/slideLayout361.xml"/><Relationship Id="rId354" Type="http://schemas.openxmlformats.org/officeDocument/2006/relationships/slideLayout" Target="../slideLayouts/slideLayout403.xml"/><Relationship Id="rId51" Type="http://schemas.openxmlformats.org/officeDocument/2006/relationships/slideLayout" Target="../slideLayouts/slideLayout100.xml"/><Relationship Id="rId93" Type="http://schemas.openxmlformats.org/officeDocument/2006/relationships/slideLayout" Target="../slideLayouts/slideLayout142.xml"/><Relationship Id="rId189" Type="http://schemas.openxmlformats.org/officeDocument/2006/relationships/slideLayout" Target="../slideLayouts/slideLayout238.xml"/><Relationship Id="rId396" Type="http://schemas.openxmlformats.org/officeDocument/2006/relationships/slideLayout" Target="../slideLayouts/slideLayout445.xml"/><Relationship Id="rId561" Type="http://schemas.openxmlformats.org/officeDocument/2006/relationships/slideLayout" Target="../slideLayouts/slideLayout610.xml"/><Relationship Id="rId214" Type="http://schemas.openxmlformats.org/officeDocument/2006/relationships/slideLayout" Target="../slideLayouts/slideLayout263.xml"/><Relationship Id="rId256" Type="http://schemas.openxmlformats.org/officeDocument/2006/relationships/slideLayout" Target="../slideLayouts/slideLayout305.xml"/><Relationship Id="rId298" Type="http://schemas.openxmlformats.org/officeDocument/2006/relationships/slideLayout" Target="../slideLayouts/slideLayout347.xml"/><Relationship Id="rId421" Type="http://schemas.openxmlformats.org/officeDocument/2006/relationships/slideLayout" Target="../slideLayouts/slideLayout470.xml"/><Relationship Id="rId463" Type="http://schemas.openxmlformats.org/officeDocument/2006/relationships/slideLayout" Target="../slideLayouts/slideLayout512.xml"/><Relationship Id="rId519" Type="http://schemas.openxmlformats.org/officeDocument/2006/relationships/slideLayout" Target="../slideLayouts/slideLayout568.xml"/><Relationship Id="rId116" Type="http://schemas.openxmlformats.org/officeDocument/2006/relationships/slideLayout" Target="../slideLayouts/slideLayout165.xml"/><Relationship Id="rId158" Type="http://schemas.openxmlformats.org/officeDocument/2006/relationships/slideLayout" Target="../slideLayouts/slideLayout207.xml"/><Relationship Id="rId323" Type="http://schemas.openxmlformats.org/officeDocument/2006/relationships/slideLayout" Target="../slideLayouts/slideLayout372.xml"/><Relationship Id="rId530" Type="http://schemas.openxmlformats.org/officeDocument/2006/relationships/slideLayout" Target="../slideLayouts/slideLayout579.xml"/><Relationship Id="rId20" Type="http://schemas.openxmlformats.org/officeDocument/2006/relationships/slideLayout" Target="../slideLayouts/slideLayout69.xml"/><Relationship Id="rId62" Type="http://schemas.openxmlformats.org/officeDocument/2006/relationships/slideLayout" Target="../slideLayouts/slideLayout111.xml"/><Relationship Id="rId365" Type="http://schemas.openxmlformats.org/officeDocument/2006/relationships/slideLayout" Target="../slideLayouts/slideLayout414.xml"/><Relationship Id="rId225" Type="http://schemas.openxmlformats.org/officeDocument/2006/relationships/slideLayout" Target="../slideLayouts/slideLayout274.xml"/><Relationship Id="rId267" Type="http://schemas.openxmlformats.org/officeDocument/2006/relationships/slideLayout" Target="../slideLayouts/slideLayout316.xml"/><Relationship Id="rId432" Type="http://schemas.openxmlformats.org/officeDocument/2006/relationships/slideLayout" Target="../slideLayouts/slideLayout481.xml"/><Relationship Id="rId474" Type="http://schemas.openxmlformats.org/officeDocument/2006/relationships/slideLayout" Target="../slideLayouts/slideLayout523.xml"/><Relationship Id="rId127" Type="http://schemas.openxmlformats.org/officeDocument/2006/relationships/slideLayout" Target="../slideLayouts/slideLayout176.xml"/><Relationship Id="rId31" Type="http://schemas.openxmlformats.org/officeDocument/2006/relationships/slideLayout" Target="../slideLayouts/slideLayout80.xml"/><Relationship Id="rId73" Type="http://schemas.openxmlformats.org/officeDocument/2006/relationships/slideLayout" Target="../slideLayouts/slideLayout122.xml"/><Relationship Id="rId169" Type="http://schemas.openxmlformats.org/officeDocument/2006/relationships/slideLayout" Target="../slideLayouts/slideLayout218.xml"/><Relationship Id="rId334" Type="http://schemas.openxmlformats.org/officeDocument/2006/relationships/slideLayout" Target="../slideLayouts/slideLayout383.xml"/><Relationship Id="rId376" Type="http://schemas.openxmlformats.org/officeDocument/2006/relationships/slideLayout" Target="../slideLayouts/slideLayout425.xml"/><Relationship Id="rId541" Type="http://schemas.openxmlformats.org/officeDocument/2006/relationships/slideLayout" Target="../slideLayouts/slideLayout590.xml"/><Relationship Id="rId4" Type="http://schemas.openxmlformats.org/officeDocument/2006/relationships/slideLayout" Target="../slideLayouts/slideLayout53.xml"/><Relationship Id="rId180" Type="http://schemas.openxmlformats.org/officeDocument/2006/relationships/slideLayout" Target="../slideLayouts/slideLayout229.xml"/><Relationship Id="rId236" Type="http://schemas.openxmlformats.org/officeDocument/2006/relationships/slideLayout" Target="../slideLayouts/slideLayout285.xml"/><Relationship Id="rId278" Type="http://schemas.openxmlformats.org/officeDocument/2006/relationships/slideLayout" Target="../slideLayouts/slideLayout327.xml"/><Relationship Id="rId401" Type="http://schemas.openxmlformats.org/officeDocument/2006/relationships/slideLayout" Target="../slideLayouts/slideLayout450.xml"/><Relationship Id="rId443" Type="http://schemas.openxmlformats.org/officeDocument/2006/relationships/slideLayout" Target="../slideLayouts/slideLayout492.xml"/><Relationship Id="rId303" Type="http://schemas.openxmlformats.org/officeDocument/2006/relationships/slideLayout" Target="../slideLayouts/slideLayout352.xml"/><Relationship Id="rId485" Type="http://schemas.openxmlformats.org/officeDocument/2006/relationships/slideLayout" Target="../slideLayouts/slideLayout534.xml"/><Relationship Id="rId42" Type="http://schemas.openxmlformats.org/officeDocument/2006/relationships/slideLayout" Target="../slideLayouts/slideLayout91.xml"/><Relationship Id="rId84" Type="http://schemas.openxmlformats.org/officeDocument/2006/relationships/slideLayout" Target="../slideLayouts/slideLayout133.xml"/><Relationship Id="rId138" Type="http://schemas.openxmlformats.org/officeDocument/2006/relationships/slideLayout" Target="../slideLayouts/slideLayout187.xml"/><Relationship Id="rId345" Type="http://schemas.openxmlformats.org/officeDocument/2006/relationships/slideLayout" Target="../slideLayouts/slideLayout394.xml"/><Relationship Id="rId387" Type="http://schemas.openxmlformats.org/officeDocument/2006/relationships/slideLayout" Target="../slideLayouts/slideLayout436.xml"/><Relationship Id="rId510" Type="http://schemas.openxmlformats.org/officeDocument/2006/relationships/slideLayout" Target="../slideLayouts/slideLayout559.xml"/><Relationship Id="rId552" Type="http://schemas.openxmlformats.org/officeDocument/2006/relationships/slideLayout" Target="../slideLayouts/slideLayout601.xml"/><Relationship Id="rId191" Type="http://schemas.openxmlformats.org/officeDocument/2006/relationships/slideLayout" Target="../slideLayouts/slideLayout240.xml"/><Relationship Id="rId205" Type="http://schemas.openxmlformats.org/officeDocument/2006/relationships/slideLayout" Target="../slideLayouts/slideLayout254.xml"/><Relationship Id="rId247" Type="http://schemas.openxmlformats.org/officeDocument/2006/relationships/slideLayout" Target="../slideLayouts/slideLayout296.xml"/><Relationship Id="rId412" Type="http://schemas.openxmlformats.org/officeDocument/2006/relationships/slideLayout" Target="../slideLayouts/slideLayout461.xml"/><Relationship Id="rId107" Type="http://schemas.openxmlformats.org/officeDocument/2006/relationships/slideLayout" Target="../slideLayouts/slideLayout156.xml"/><Relationship Id="rId289" Type="http://schemas.openxmlformats.org/officeDocument/2006/relationships/slideLayout" Target="../slideLayouts/slideLayout338.xml"/><Relationship Id="rId454" Type="http://schemas.openxmlformats.org/officeDocument/2006/relationships/slideLayout" Target="../slideLayouts/slideLayout503.xml"/><Relationship Id="rId496" Type="http://schemas.openxmlformats.org/officeDocument/2006/relationships/slideLayout" Target="../slideLayouts/slideLayout545.xml"/><Relationship Id="rId11" Type="http://schemas.openxmlformats.org/officeDocument/2006/relationships/slideLayout" Target="../slideLayouts/slideLayout60.xml"/><Relationship Id="rId53" Type="http://schemas.openxmlformats.org/officeDocument/2006/relationships/slideLayout" Target="../slideLayouts/slideLayout102.xml"/><Relationship Id="rId149" Type="http://schemas.openxmlformats.org/officeDocument/2006/relationships/slideLayout" Target="../slideLayouts/slideLayout198.xml"/><Relationship Id="rId314" Type="http://schemas.openxmlformats.org/officeDocument/2006/relationships/slideLayout" Target="../slideLayouts/slideLayout363.xml"/><Relationship Id="rId356" Type="http://schemas.openxmlformats.org/officeDocument/2006/relationships/slideLayout" Target="../slideLayouts/slideLayout405.xml"/><Relationship Id="rId398" Type="http://schemas.openxmlformats.org/officeDocument/2006/relationships/slideLayout" Target="../slideLayouts/slideLayout447.xml"/><Relationship Id="rId521" Type="http://schemas.openxmlformats.org/officeDocument/2006/relationships/slideLayout" Target="../slideLayouts/slideLayout570.xml"/><Relationship Id="rId563" Type="http://schemas.openxmlformats.org/officeDocument/2006/relationships/theme" Target="../theme/theme2.xml"/><Relationship Id="rId95" Type="http://schemas.openxmlformats.org/officeDocument/2006/relationships/slideLayout" Target="../slideLayouts/slideLayout144.xml"/><Relationship Id="rId160" Type="http://schemas.openxmlformats.org/officeDocument/2006/relationships/slideLayout" Target="../slideLayouts/slideLayout209.xml"/><Relationship Id="rId216" Type="http://schemas.openxmlformats.org/officeDocument/2006/relationships/slideLayout" Target="../slideLayouts/slideLayout265.xml"/><Relationship Id="rId423" Type="http://schemas.openxmlformats.org/officeDocument/2006/relationships/slideLayout" Target="../slideLayouts/slideLayout472.xml"/><Relationship Id="rId258" Type="http://schemas.openxmlformats.org/officeDocument/2006/relationships/slideLayout" Target="../slideLayouts/slideLayout307.xml"/><Relationship Id="rId465" Type="http://schemas.openxmlformats.org/officeDocument/2006/relationships/slideLayout" Target="../slideLayouts/slideLayout514.xml"/><Relationship Id="rId22" Type="http://schemas.openxmlformats.org/officeDocument/2006/relationships/slideLayout" Target="../slideLayouts/slideLayout71.xml"/><Relationship Id="rId64" Type="http://schemas.openxmlformats.org/officeDocument/2006/relationships/slideLayout" Target="../slideLayouts/slideLayout113.xml"/><Relationship Id="rId118" Type="http://schemas.openxmlformats.org/officeDocument/2006/relationships/slideLayout" Target="../slideLayouts/slideLayout167.xml"/><Relationship Id="rId325" Type="http://schemas.openxmlformats.org/officeDocument/2006/relationships/slideLayout" Target="../slideLayouts/slideLayout374.xml"/><Relationship Id="rId367" Type="http://schemas.openxmlformats.org/officeDocument/2006/relationships/slideLayout" Target="../slideLayouts/slideLayout416.xml"/><Relationship Id="rId532" Type="http://schemas.openxmlformats.org/officeDocument/2006/relationships/slideLayout" Target="../slideLayouts/slideLayout581.xml"/><Relationship Id="rId171" Type="http://schemas.openxmlformats.org/officeDocument/2006/relationships/slideLayout" Target="../slideLayouts/slideLayout220.xml"/><Relationship Id="rId227" Type="http://schemas.openxmlformats.org/officeDocument/2006/relationships/slideLayout" Target="../slideLayouts/slideLayout276.xml"/><Relationship Id="rId269" Type="http://schemas.openxmlformats.org/officeDocument/2006/relationships/slideLayout" Target="../slideLayouts/slideLayout318.xml"/><Relationship Id="rId434" Type="http://schemas.openxmlformats.org/officeDocument/2006/relationships/slideLayout" Target="../slideLayouts/slideLayout483.xml"/><Relationship Id="rId476" Type="http://schemas.openxmlformats.org/officeDocument/2006/relationships/slideLayout" Target="../slideLayouts/slideLayout525.xml"/><Relationship Id="rId33" Type="http://schemas.openxmlformats.org/officeDocument/2006/relationships/slideLayout" Target="../slideLayouts/slideLayout82.xml"/><Relationship Id="rId129" Type="http://schemas.openxmlformats.org/officeDocument/2006/relationships/slideLayout" Target="../slideLayouts/slideLayout178.xml"/><Relationship Id="rId280" Type="http://schemas.openxmlformats.org/officeDocument/2006/relationships/slideLayout" Target="../slideLayouts/slideLayout329.xml"/><Relationship Id="rId336" Type="http://schemas.openxmlformats.org/officeDocument/2006/relationships/slideLayout" Target="../slideLayouts/slideLayout385.xml"/><Relationship Id="rId501" Type="http://schemas.openxmlformats.org/officeDocument/2006/relationships/slideLayout" Target="../slideLayouts/slideLayout550.xml"/><Relationship Id="rId543" Type="http://schemas.openxmlformats.org/officeDocument/2006/relationships/slideLayout" Target="../slideLayouts/slideLayout592.xml"/><Relationship Id="rId75" Type="http://schemas.openxmlformats.org/officeDocument/2006/relationships/slideLayout" Target="../slideLayouts/slideLayout124.xml"/><Relationship Id="rId140" Type="http://schemas.openxmlformats.org/officeDocument/2006/relationships/slideLayout" Target="../slideLayouts/slideLayout189.xml"/><Relationship Id="rId182" Type="http://schemas.openxmlformats.org/officeDocument/2006/relationships/slideLayout" Target="../slideLayouts/slideLayout231.xml"/><Relationship Id="rId378" Type="http://schemas.openxmlformats.org/officeDocument/2006/relationships/slideLayout" Target="../slideLayouts/slideLayout427.xml"/><Relationship Id="rId403" Type="http://schemas.openxmlformats.org/officeDocument/2006/relationships/slideLayout" Target="../slideLayouts/slideLayout452.xml"/><Relationship Id="rId6" Type="http://schemas.openxmlformats.org/officeDocument/2006/relationships/slideLayout" Target="../slideLayouts/slideLayout55.xml"/><Relationship Id="rId238" Type="http://schemas.openxmlformats.org/officeDocument/2006/relationships/slideLayout" Target="../slideLayouts/slideLayout287.xml"/><Relationship Id="rId445" Type="http://schemas.openxmlformats.org/officeDocument/2006/relationships/slideLayout" Target="../slideLayouts/slideLayout494.xml"/><Relationship Id="rId487" Type="http://schemas.openxmlformats.org/officeDocument/2006/relationships/slideLayout" Target="../slideLayouts/slideLayout536.xml"/><Relationship Id="rId291" Type="http://schemas.openxmlformats.org/officeDocument/2006/relationships/slideLayout" Target="../slideLayouts/slideLayout340.xml"/><Relationship Id="rId305" Type="http://schemas.openxmlformats.org/officeDocument/2006/relationships/slideLayout" Target="../slideLayouts/slideLayout354.xml"/><Relationship Id="rId347" Type="http://schemas.openxmlformats.org/officeDocument/2006/relationships/slideLayout" Target="../slideLayouts/slideLayout396.xml"/><Relationship Id="rId512" Type="http://schemas.openxmlformats.org/officeDocument/2006/relationships/slideLayout" Target="../slideLayouts/slideLayout561.xml"/><Relationship Id="rId44" Type="http://schemas.openxmlformats.org/officeDocument/2006/relationships/slideLayout" Target="../slideLayouts/slideLayout93.xml"/><Relationship Id="rId86" Type="http://schemas.openxmlformats.org/officeDocument/2006/relationships/slideLayout" Target="../slideLayouts/slideLayout135.xml"/><Relationship Id="rId151" Type="http://schemas.openxmlformats.org/officeDocument/2006/relationships/slideLayout" Target="../slideLayouts/slideLayout200.xml"/><Relationship Id="rId389" Type="http://schemas.openxmlformats.org/officeDocument/2006/relationships/slideLayout" Target="../slideLayouts/slideLayout438.xml"/><Relationship Id="rId554" Type="http://schemas.openxmlformats.org/officeDocument/2006/relationships/slideLayout" Target="../slideLayouts/slideLayout603.xml"/><Relationship Id="rId193" Type="http://schemas.openxmlformats.org/officeDocument/2006/relationships/slideLayout" Target="../slideLayouts/slideLayout242.xml"/><Relationship Id="rId207" Type="http://schemas.openxmlformats.org/officeDocument/2006/relationships/slideLayout" Target="../slideLayouts/slideLayout256.xml"/><Relationship Id="rId249" Type="http://schemas.openxmlformats.org/officeDocument/2006/relationships/slideLayout" Target="../slideLayouts/slideLayout298.xml"/><Relationship Id="rId414" Type="http://schemas.openxmlformats.org/officeDocument/2006/relationships/slideLayout" Target="../slideLayouts/slideLayout463.xml"/><Relationship Id="rId456" Type="http://schemas.openxmlformats.org/officeDocument/2006/relationships/slideLayout" Target="../slideLayouts/slideLayout505.xml"/><Relationship Id="rId498" Type="http://schemas.openxmlformats.org/officeDocument/2006/relationships/slideLayout" Target="../slideLayouts/slideLayout547.xml"/><Relationship Id="rId13" Type="http://schemas.openxmlformats.org/officeDocument/2006/relationships/slideLayout" Target="../slideLayouts/slideLayout62.xml"/><Relationship Id="rId109" Type="http://schemas.openxmlformats.org/officeDocument/2006/relationships/slideLayout" Target="../slideLayouts/slideLayout158.xml"/><Relationship Id="rId260" Type="http://schemas.openxmlformats.org/officeDocument/2006/relationships/slideLayout" Target="../slideLayouts/slideLayout309.xml"/><Relationship Id="rId316" Type="http://schemas.openxmlformats.org/officeDocument/2006/relationships/slideLayout" Target="../slideLayouts/slideLayout365.xml"/><Relationship Id="rId523" Type="http://schemas.openxmlformats.org/officeDocument/2006/relationships/slideLayout" Target="../slideLayouts/slideLayout572.xml"/><Relationship Id="rId55" Type="http://schemas.openxmlformats.org/officeDocument/2006/relationships/slideLayout" Target="../slideLayouts/slideLayout104.xml"/><Relationship Id="rId97" Type="http://schemas.openxmlformats.org/officeDocument/2006/relationships/slideLayout" Target="../slideLayouts/slideLayout146.xml"/><Relationship Id="rId120" Type="http://schemas.openxmlformats.org/officeDocument/2006/relationships/slideLayout" Target="../slideLayouts/slideLayout169.xml"/><Relationship Id="rId358" Type="http://schemas.openxmlformats.org/officeDocument/2006/relationships/slideLayout" Target="../slideLayouts/slideLayout407.xml"/><Relationship Id="rId162" Type="http://schemas.openxmlformats.org/officeDocument/2006/relationships/slideLayout" Target="../slideLayouts/slideLayout211.xml"/><Relationship Id="rId218" Type="http://schemas.openxmlformats.org/officeDocument/2006/relationships/slideLayout" Target="../slideLayouts/slideLayout267.xml"/><Relationship Id="rId425" Type="http://schemas.openxmlformats.org/officeDocument/2006/relationships/slideLayout" Target="../slideLayouts/slideLayout474.xml"/><Relationship Id="rId467" Type="http://schemas.openxmlformats.org/officeDocument/2006/relationships/slideLayout" Target="../slideLayouts/slideLayout516.xml"/><Relationship Id="rId271" Type="http://schemas.openxmlformats.org/officeDocument/2006/relationships/slideLayout" Target="../slideLayouts/slideLayout320.xml"/><Relationship Id="rId24" Type="http://schemas.openxmlformats.org/officeDocument/2006/relationships/slideLayout" Target="../slideLayouts/slideLayout73.xml"/><Relationship Id="rId66" Type="http://schemas.openxmlformats.org/officeDocument/2006/relationships/slideLayout" Target="../slideLayouts/slideLayout115.xml"/><Relationship Id="rId131" Type="http://schemas.openxmlformats.org/officeDocument/2006/relationships/slideLayout" Target="../slideLayouts/slideLayout180.xml"/><Relationship Id="rId327" Type="http://schemas.openxmlformats.org/officeDocument/2006/relationships/slideLayout" Target="../slideLayouts/slideLayout376.xml"/><Relationship Id="rId369" Type="http://schemas.openxmlformats.org/officeDocument/2006/relationships/slideLayout" Target="../slideLayouts/slideLayout418.xml"/><Relationship Id="rId534" Type="http://schemas.openxmlformats.org/officeDocument/2006/relationships/slideLayout" Target="../slideLayouts/slideLayout583.xml"/><Relationship Id="rId173" Type="http://schemas.openxmlformats.org/officeDocument/2006/relationships/slideLayout" Target="../slideLayouts/slideLayout222.xml"/><Relationship Id="rId229" Type="http://schemas.openxmlformats.org/officeDocument/2006/relationships/slideLayout" Target="../slideLayouts/slideLayout278.xml"/><Relationship Id="rId380" Type="http://schemas.openxmlformats.org/officeDocument/2006/relationships/slideLayout" Target="../slideLayouts/slideLayout429.xml"/><Relationship Id="rId436" Type="http://schemas.openxmlformats.org/officeDocument/2006/relationships/slideLayout" Target="../slideLayouts/slideLayout485.xml"/><Relationship Id="rId240" Type="http://schemas.openxmlformats.org/officeDocument/2006/relationships/slideLayout" Target="../slideLayouts/slideLayout289.xml"/><Relationship Id="rId478" Type="http://schemas.openxmlformats.org/officeDocument/2006/relationships/slideLayout" Target="../slideLayouts/slideLayout527.xml"/><Relationship Id="rId35" Type="http://schemas.openxmlformats.org/officeDocument/2006/relationships/slideLayout" Target="../slideLayouts/slideLayout84.xml"/><Relationship Id="rId77" Type="http://schemas.openxmlformats.org/officeDocument/2006/relationships/slideLayout" Target="../slideLayouts/slideLayout126.xml"/><Relationship Id="rId100" Type="http://schemas.openxmlformats.org/officeDocument/2006/relationships/slideLayout" Target="../slideLayouts/slideLayout149.xml"/><Relationship Id="rId282" Type="http://schemas.openxmlformats.org/officeDocument/2006/relationships/slideLayout" Target="../slideLayouts/slideLayout331.xml"/><Relationship Id="rId338" Type="http://schemas.openxmlformats.org/officeDocument/2006/relationships/slideLayout" Target="../slideLayouts/slideLayout387.xml"/><Relationship Id="rId503" Type="http://schemas.openxmlformats.org/officeDocument/2006/relationships/slideLayout" Target="../slideLayouts/slideLayout552.xml"/><Relationship Id="rId545" Type="http://schemas.openxmlformats.org/officeDocument/2006/relationships/slideLayout" Target="../slideLayouts/slideLayout594.xml"/><Relationship Id="rId8" Type="http://schemas.openxmlformats.org/officeDocument/2006/relationships/slideLayout" Target="../slideLayouts/slideLayout57.xml"/><Relationship Id="rId142" Type="http://schemas.openxmlformats.org/officeDocument/2006/relationships/slideLayout" Target="../slideLayouts/slideLayout191.xml"/><Relationship Id="rId184" Type="http://schemas.openxmlformats.org/officeDocument/2006/relationships/slideLayout" Target="../slideLayouts/slideLayout233.xml"/><Relationship Id="rId391" Type="http://schemas.openxmlformats.org/officeDocument/2006/relationships/slideLayout" Target="../slideLayouts/slideLayout440.xml"/><Relationship Id="rId405" Type="http://schemas.openxmlformats.org/officeDocument/2006/relationships/slideLayout" Target="../slideLayouts/slideLayout454.xml"/><Relationship Id="rId447" Type="http://schemas.openxmlformats.org/officeDocument/2006/relationships/slideLayout" Target="../slideLayouts/slideLayout496.xml"/><Relationship Id="rId251" Type="http://schemas.openxmlformats.org/officeDocument/2006/relationships/slideLayout" Target="../slideLayouts/slideLayout300.xml"/><Relationship Id="rId489" Type="http://schemas.openxmlformats.org/officeDocument/2006/relationships/slideLayout" Target="../slideLayouts/slideLayout538.xml"/><Relationship Id="rId46" Type="http://schemas.openxmlformats.org/officeDocument/2006/relationships/slideLayout" Target="../slideLayouts/slideLayout95.xml"/><Relationship Id="rId293" Type="http://schemas.openxmlformats.org/officeDocument/2006/relationships/slideLayout" Target="../slideLayouts/slideLayout342.xml"/><Relationship Id="rId307" Type="http://schemas.openxmlformats.org/officeDocument/2006/relationships/slideLayout" Target="../slideLayouts/slideLayout356.xml"/><Relationship Id="rId349" Type="http://schemas.openxmlformats.org/officeDocument/2006/relationships/slideLayout" Target="../slideLayouts/slideLayout398.xml"/><Relationship Id="rId514" Type="http://schemas.openxmlformats.org/officeDocument/2006/relationships/slideLayout" Target="../slideLayouts/slideLayout563.xml"/><Relationship Id="rId556" Type="http://schemas.openxmlformats.org/officeDocument/2006/relationships/slideLayout" Target="../slideLayouts/slideLayout605.xml"/><Relationship Id="rId88" Type="http://schemas.openxmlformats.org/officeDocument/2006/relationships/slideLayout" Target="../slideLayouts/slideLayout137.xml"/><Relationship Id="rId111" Type="http://schemas.openxmlformats.org/officeDocument/2006/relationships/slideLayout" Target="../slideLayouts/slideLayout160.xml"/><Relationship Id="rId153" Type="http://schemas.openxmlformats.org/officeDocument/2006/relationships/slideLayout" Target="../slideLayouts/slideLayout202.xml"/><Relationship Id="rId195" Type="http://schemas.openxmlformats.org/officeDocument/2006/relationships/slideLayout" Target="../slideLayouts/slideLayout244.xml"/><Relationship Id="rId209" Type="http://schemas.openxmlformats.org/officeDocument/2006/relationships/slideLayout" Target="../slideLayouts/slideLayout258.xml"/><Relationship Id="rId360" Type="http://schemas.openxmlformats.org/officeDocument/2006/relationships/slideLayout" Target="../slideLayouts/slideLayout409.xml"/><Relationship Id="rId416" Type="http://schemas.openxmlformats.org/officeDocument/2006/relationships/slideLayout" Target="../slideLayouts/slideLayout465.xml"/><Relationship Id="rId220" Type="http://schemas.openxmlformats.org/officeDocument/2006/relationships/slideLayout" Target="../slideLayouts/slideLayout269.xml"/><Relationship Id="rId458" Type="http://schemas.openxmlformats.org/officeDocument/2006/relationships/slideLayout" Target="../slideLayouts/slideLayout507.xml"/><Relationship Id="rId15" Type="http://schemas.openxmlformats.org/officeDocument/2006/relationships/slideLayout" Target="../slideLayouts/slideLayout64.xml"/><Relationship Id="rId57" Type="http://schemas.openxmlformats.org/officeDocument/2006/relationships/slideLayout" Target="../slideLayouts/slideLayout106.xml"/><Relationship Id="rId262" Type="http://schemas.openxmlformats.org/officeDocument/2006/relationships/slideLayout" Target="../slideLayouts/slideLayout311.xml"/><Relationship Id="rId318" Type="http://schemas.openxmlformats.org/officeDocument/2006/relationships/slideLayout" Target="../slideLayouts/slideLayout367.xml"/><Relationship Id="rId525" Type="http://schemas.openxmlformats.org/officeDocument/2006/relationships/slideLayout" Target="../slideLayouts/slideLayout574.xml"/><Relationship Id="rId99" Type="http://schemas.openxmlformats.org/officeDocument/2006/relationships/slideLayout" Target="../slideLayouts/slideLayout148.xml"/><Relationship Id="rId122" Type="http://schemas.openxmlformats.org/officeDocument/2006/relationships/slideLayout" Target="../slideLayouts/slideLayout171.xml"/><Relationship Id="rId164" Type="http://schemas.openxmlformats.org/officeDocument/2006/relationships/slideLayout" Target="../slideLayouts/slideLayout213.xml"/><Relationship Id="rId371" Type="http://schemas.openxmlformats.org/officeDocument/2006/relationships/slideLayout" Target="../slideLayouts/slideLayout420.xml"/><Relationship Id="rId427" Type="http://schemas.openxmlformats.org/officeDocument/2006/relationships/slideLayout" Target="../slideLayouts/slideLayout476.xml"/><Relationship Id="rId469" Type="http://schemas.openxmlformats.org/officeDocument/2006/relationships/slideLayout" Target="../slideLayouts/slideLayout518.xml"/><Relationship Id="rId26" Type="http://schemas.openxmlformats.org/officeDocument/2006/relationships/slideLayout" Target="../slideLayouts/slideLayout75.xml"/><Relationship Id="rId231" Type="http://schemas.openxmlformats.org/officeDocument/2006/relationships/slideLayout" Target="../slideLayouts/slideLayout280.xml"/><Relationship Id="rId273" Type="http://schemas.openxmlformats.org/officeDocument/2006/relationships/slideLayout" Target="../slideLayouts/slideLayout322.xml"/><Relationship Id="rId329" Type="http://schemas.openxmlformats.org/officeDocument/2006/relationships/slideLayout" Target="../slideLayouts/slideLayout378.xml"/><Relationship Id="rId480" Type="http://schemas.openxmlformats.org/officeDocument/2006/relationships/slideLayout" Target="../slideLayouts/slideLayout529.xml"/><Relationship Id="rId536" Type="http://schemas.openxmlformats.org/officeDocument/2006/relationships/slideLayout" Target="../slideLayouts/slideLayout585.xml"/><Relationship Id="rId68" Type="http://schemas.openxmlformats.org/officeDocument/2006/relationships/slideLayout" Target="../slideLayouts/slideLayout117.xml"/><Relationship Id="rId133" Type="http://schemas.openxmlformats.org/officeDocument/2006/relationships/slideLayout" Target="../slideLayouts/slideLayout182.xml"/><Relationship Id="rId175" Type="http://schemas.openxmlformats.org/officeDocument/2006/relationships/slideLayout" Target="../slideLayouts/slideLayout224.xml"/><Relationship Id="rId340" Type="http://schemas.openxmlformats.org/officeDocument/2006/relationships/slideLayout" Target="../slideLayouts/slideLayout389.xml"/><Relationship Id="rId200" Type="http://schemas.openxmlformats.org/officeDocument/2006/relationships/slideLayout" Target="../slideLayouts/slideLayout249.xml"/><Relationship Id="rId382" Type="http://schemas.openxmlformats.org/officeDocument/2006/relationships/slideLayout" Target="../slideLayouts/slideLayout431.xml"/><Relationship Id="rId438" Type="http://schemas.openxmlformats.org/officeDocument/2006/relationships/slideLayout" Target="../slideLayouts/slideLayout487.xml"/><Relationship Id="rId242" Type="http://schemas.openxmlformats.org/officeDocument/2006/relationships/slideLayout" Target="../slideLayouts/slideLayout291.xml"/><Relationship Id="rId284" Type="http://schemas.openxmlformats.org/officeDocument/2006/relationships/slideLayout" Target="../slideLayouts/slideLayout333.xml"/><Relationship Id="rId491" Type="http://schemas.openxmlformats.org/officeDocument/2006/relationships/slideLayout" Target="../slideLayouts/slideLayout540.xml"/><Relationship Id="rId505" Type="http://schemas.openxmlformats.org/officeDocument/2006/relationships/slideLayout" Target="../slideLayouts/slideLayout554.xml"/><Relationship Id="rId37" Type="http://schemas.openxmlformats.org/officeDocument/2006/relationships/slideLayout" Target="../slideLayouts/slideLayout86.xml"/><Relationship Id="rId79" Type="http://schemas.openxmlformats.org/officeDocument/2006/relationships/slideLayout" Target="../slideLayouts/slideLayout128.xml"/><Relationship Id="rId102" Type="http://schemas.openxmlformats.org/officeDocument/2006/relationships/slideLayout" Target="../slideLayouts/slideLayout151.xml"/><Relationship Id="rId144" Type="http://schemas.openxmlformats.org/officeDocument/2006/relationships/slideLayout" Target="../slideLayouts/slideLayout193.xml"/><Relationship Id="rId547" Type="http://schemas.openxmlformats.org/officeDocument/2006/relationships/slideLayout" Target="../slideLayouts/slideLayout596.xml"/><Relationship Id="rId90" Type="http://schemas.openxmlformats.org/officeDocument/2006/relationships/slideLayout" Target="../slideLayouts/slideLayout139.xml"/><Relationship Id="rId186" Type="http://schemas.openxmlformats.org/officeDocument/2006/relationships/slideLayout" Target="../slideLayouts/slideLayout235.xml"/><Relationship Id="rId351" Type="http://schemas.openxmlformats.org/officeDocument/2006/relationships/slideLayout" Target="../slideLayouts/slideLayout400.xml"/><Relationship Id="rId393" Type="http://schemas.openxmlformats.org/officeDocument/2006/relationships/slideLayout" Target="../slideLayouts/slideLayout442.xml"/><Relationship Id="rId407" Type="http://schemas.openxmlformats.org/officeDocument/2006/relationships/slideLayout" Target="../slideLayouts/slideLayout456.xml"/><Relationship Id="rId449" Type="http://schemas.openxmlformats.org/officeDocument/2006/relationships/slideLayout" Target="../slideLayouts/slideLayout498.xml"/><Relationship Id="rId211" Type="http://schemas.openxmlformats.org/officeDocument/2006/relationships/slideLayout" Target="../slideLayouts/slideLayout260.xml"/><Relationship Id="rId253" Type="http://schemas.openxmlformats.org/officeDocument/2006/relationships/slideLayout" Target="../slideLayouts/slideLayout302.xml"/><Relationship Id="rId295" Type="http://schemas.openxmlformats.org/officeDocument/2006/relationships/slideLayout" Target="../slideLayouts/slideLayout344.xml"/><Relationship Id="rId309" Type="http://schemas.openxmlformats.org/officeDocument/2006/relationships/slideLayout" Target="../slideLayouts/slideLayout358.xml"/><Relationship Id="rId460" Type="http://schemas.openxmlformats.org/officeDocument/2006/relationships/slideLayout" Target="../slideLayouts/slideLayout509.xml"/><Relationship Id="rId516" Type="http://schemas.openxmlformats.org/officeDocument/2006/relationships/slideLayout" Target="../slideLayouts/slideLayout565.xml"/><Relationship Id="rId48" Type="http://schemas.openxmlformats.org/officeDocument/2006/relationships/slideLayout" Target="../slideLayouts/slideLayout97.xml"/><Relationship Id="rId113" Type="http://schemas.openxmlformats.org/officeDocument/2006/relationships/slideLayout" Target="../slideLayouts/slideLayout162.xml"/><Relationship Id="rId320" Type="http://schemas.openxmlformats.org/officeDocument/2006/relationships/slideLayout" Target="../slideLayouts/slideLayout369.xml"/><Relationship Id="rId558" Type="http://schemas.openxmlformats.org/officeDocument/2006/relationships/slideLayout" Target="../slideLayouts/slideLayout607.xml"/><Relationship Id="rId155" Type="http://schemas.openxmlformats.org/officeDocument/2006/relationships/slideLayout" Target="../slideLayouts/slideLayout204.xml"/><Relationship Id="rId197" Type="http://schemas.openxmlformats.org/officeDocument/2006/relationships/slideLayout" Target="../slideLayouts/slideLayout246.xml"/><Relationship Id="rId362" Type="http://schemas.openxmlformats.org/officeDocument/2006/relationships/slideLayout" Target="../slideLayouts/slideLayout411.xml"/><Relationship Id="rId418" Type="http://schemas.openxmlformats.org/officeDocument/2006/relationships/slideLayout" Target="../slideLayouts/slideLayout467.xml"/><Relationship Id="rId222" Type="http://schemas.openxmlformats.org/officeDocument/2006/relationships/slideLayout" Target="../slideLayouts/slideLayout271.xml"/><Relationship Id="rId264" Type="http://schemas.openxmlformats.org/officeDocument/2006/relationships/slideLayout" Target="../slideLayouts/slideLayout313.xml"/><Relationship Id="rId471" Type="http://schemas.openxmlformats.org/officeDocument/2006/relationships/slideLayout" Target="../slideLayouts/slideLayout520.xml"/><Relationship Id="rId17" Type="http://schemas.openxmlformats.org/officeDocument/2006/relationships/slideLayout" Target="../slideLayouts/slideLayout66.xml"/><Relationship Id="rId59" Type="http://schemas.openxmlformats.org/officeDocument/2006/relationships/slideLayout" Target="../slideLayouts/slideLayout108.xml"/><Relationship Id="rId124" Type="http://schemas.openxmlformats.org/officeDocument/2006/relationships/slideLayout" Target="../slideLayouts/slideLayout173.xml"/><Relationship Id="rId527" Type="http://schemas.openxmlformats.org/officeDocument/2006/relationships/slideLayout" Target="../slideLayouts/slideLayout576.xml"/><Relationship Id="rId70" Type="http://schemas.openxmlformats.org/officeDocument/2006/relationships/slideLayout" Target="../slideLayouts/slideLayout119.xml"/><Relationship Id="rId166" Type="http://schemas.openxmlformats.org/officeDocument/2006/relationships/slideLayout" Target="../slideLayouts/slideLayout215.xml"/><Relationship Id="rId331" Type="http://schemas.openxmlformats.org/officeDocument/2006/relationships/slideLayout" Target="../slideLayouts/slideLayout380.xml"/><Relationship Id="rId373" Type="http://schemas.openxmlformats.org/officeDocument/2006/relationships/slideLayout" Target="../slideLayouts/slideLayout422.xml"/><Relationship Id="rId429" Type="http://schemas.openxmlformats.org/officeDocument/2006/relationships/slideLayout" Target="../slideLayouts/slideLayout478.xml"/><Relationship Id="rId1" Type="http://schemas.openxmlformats.org/officeDocument/2006/relationships/slideLayout" Target="../slideLayouts/slideLayout50.xml"/><Relationship Id="rId233" Type="http://schemas.openxmlformats.org/officeDocument/2006/relationships/slideLayout" Target="../slideLayouts/slideLayout282.xml"/><Relationship Id="rId440" Type="http://schemas.openxmlformats.org/officeDocument/2006/relationships/slideLayout" Target="../slideLayouts/slideLayout489.xml"/><Relationship Id="rId28" Type="http://schemas.openxmlformats.org/officeDocument/2006/relationships/slideLayout" Target="../slideLayouts/slideLayout77.xml"/><Relationship Id="rId275" Type="http://schemas.openxmlformats.org/officeDocument/2006/relationships/slideLayout" Target="../slideLayouts/slideLayout324.xml"/><Relationship Id="rId300" Type="http://schemas.openxmlformats.org/officeDocument/2006/relationships/slideLayout" Target="../slideLayouts/slideLayout349.xml"/><Relationship Id="rId482" Type="http://schemas.openxmlformats.org/officeDocument/2006/relationships/slideLayout" Target="../slideLayouts/slideLayout531.xml"/><Relationship Id="rId538" Type="http://schemas.openxmlformats.org/officeDocument/2006/relationships/slideLayout" Target="../slideLayouts/slideLayout587.xml"/><Relationship Id="rId81" Type="http://schemas.openxmlformats.org/officeDocument/2006/relationships/slideLayout" Target="../slideLayouts/slideLayout130.xml"/><Relationship Id="rId135" Type="http://schemas.openxmlformats.org/officeDocument/2006/relationships/slideLayout" Target="../slideLayouts/slideLayout184.xml"/><Relationship Id="rId177" Type="http://schemas.openxmlformats.org/officeDocument/2006/relationships/slideLayout" Target="../slideLayouts/slideLayout226.xml"/><Relationship Id="rId342" Type="http://schemas.openxmlformats.org/officeDocument/2006/relationships/slideLayout" Target="../slideLayouts/slideLayout391.xml"/><Relationship Id="rId384" Type="http://schemas.openxmlformats.org/officeDocument/2006/relationships/slideLayout" Target="../slideLayouts/slideLayout433.xml"/><Relationship Id="rId202" Type="http://schemas.openxmlformats.org/officeDocument/2006/relationships/slideLayout" Target="../slideLayouts/slideLayout251.xml"/><Relationship Id="rId244" Type="http://schemas.openxmlformats.org/officeDocument/2006/relationships/slideLayout" Target="../slideLayouts/slideLayout293.xml"/><Relationship Id="rId39" Type="http://schemas.openxmlformats.org/officeDocument/2006/relationships/slideLayout" Target="../slideLayouts/slideLayout88.xml"/><Relationship Id="rId286" Type="http://schemas.openxmlformats.org/officeDocument/2006/relationships/slideLayout" Target="../slideLayouts/slideLayout335.xml"/><Relationship Id="rId451" Type="http://schemas.openxmlformats.org/officeDocument/2006/relationships/slideLayout" Target="../slideLayouts/slideLayout500.xml"/><Relationship Id="rId493" Type="http://schemas.openxmlformats.org/officeDocument/2006/relationships/slideLayout" Target="../slideLayouts/slideLayout542.xml"/><Relationship Id="rId507" Type="http://schemas.openxmlformats.org/officeDocument/2006/relationships/slideLayout" Target="../slideLayouts/slideLayout556.xml"/><Relationship Id="rId549" Type="http://schemas.openxmlformats.org/officeDocument/2006/relationships/slideLayout" Target="../slideLayouts/slideLayout598.xml"/><Relationship Id="rId50" Type="http://schemas.openxmlformats.org/officeDocument/2006/relationships/slideLayout" Target="../slideLayouts/slideLayout99.xml"/><Relationship Id="rId104" Type="http://schemas.openxmlformats.org/officeDocument/2006/relationships/slideLayout" Target="../slideLayouts/slideLayout153.xml"/><Relationship Id="rId146" Type="http://schemas.openxmlformats.org/officeDocument/2006/relationships/slideLayout" Target="../slideLayouts/slideLayout195.xml"/><Relationship Id="rId188" Type="http://schemas.openxmlformats.org/officeDocument/2006/relationships/slideLayout" Target="../slideLayouts/slideLayout237.xml"/><Relationship Id="rId311" Type="http://schemas.openxmlformats.org/officeDocument/2006/relationships/slideLayout" Target="../slideLayouts/slideLayout360.xml"/><Relationship Id="rId353" Type="http://schemas.openxmlformats.org/officeDocument/2006/relationships/slideLayout" Target="../slideLayouts/slideLayout402.xml"/><Relationship Id="rId395" Type="http://schemas.openxmlformats.org/officeDocument/2006/relationships/slideLayout" Target="../slideLayouts/slideLayout444.xml"/><Relationship Id="rId409" Type="http://schemas.openxmlformats.org/officeDocument/2006/relationships/slideLayout" Target="../slideLayouts/slideLayout458.xml"/><Relationship Id="rId560" Type="http://schemas.openxmlformats.org/officeDocument/2006/relationships/slideLayout" Target="../slideLayouts/slideLayout609.xml"/><Relationship Id="rId92" Type="http://schemas.openxmlformats.org/officeDocument/2006/relationships/slideLayout" Target="../slideLayouts/slideLayout141.xml"/><Relationship Id="rId213" Type="http://schemas.openxmlformats.org/officeDocument/2006/relationships/slideLayout" Target="../slideLayouts/slideLayout262.xml"/><Relationship Id="rId420" Type="http://schemas.openxmlformats.org/officeDocument/2006/relationships/slideLayout" Target="../slideLayouts/slideLayout469.xml"/><Relationship Id="rId255" Type="http://schemas.openxmlformats.org/officeDocument/2006/relationships/slideLayout" Target="../slideLayouts/slideLayout304.xml"/><Relationship Id="rId297" Type="http://schemas.openxmlformats.org/officeDocument/2006/relationships/slideLayout" Target="../slideLayouts/slideLayout346.xml"/><Relationship Id="rId462" Type="http://schemas.openxmlformats.org/officeDocument/2006/relationships/slideLayout" Target="../slideLayouts/slideLayout511.xml"/><Relationship Id="rId518" Type="http://schemas.openxmlformats.org/officeDocument/2006/relationships/slideLayout" Target="../slideLayouts/slideLayout567.xml"/><Relationship Id="rId115" Type="http://schemas.openxmlformats.org/officeDocument/2006/relationships/slideLayout" Target="../slideLayouts/slideLayout164.xml"/><Relationship Id="rId157" Type="http://schemas.openxmlformats.org/officeDocument/2006/relationships/slideLayout" Target="../slideLayouts/slideLayout206.xml"/><Relationship Id="rId322" Type="http://schemas.openxmlformats.org/officeDocument/2006/relationships/slideLayout" Target="../slideLayouts/slideLayout371.xml"/><Relationship Id="rId364" Type="http://schemas.openxmlformats.org/officeDocument/2006/relationships/slideLayout" Target="../slideLayouts/slideLayout413.xml"/><Relationship Id="rId61" Type="http://schemas.openxmlformats.org/officeDocument/2006/relationships/slideLayout" Target="../slideLayouts/slideLayout110.xml"/><Relationship Id="rId199" Type="http://schemas.openxmlformats.org/officeDocument/2006/relationships/slideLayout" Target="../slideLayouts/slideLayout248.xml"/><Relationship Id="rId19" Type="http://schemas.openxmlformats.org/officeDocument/2006/relationships/slideLayout" Target="../slideLayouts/slideLayout68.xml"/><Relationship Id="rId224" Type="http://schemas.openxmlformats.org/officeDocument/2006/relationships/slideLayout" Target="../slideLayouts/slideLayout273.xml"/><Relationship Id="rId266" Type="http://schemas.openxmlformats.org/officeDocument/2006/relationships/slideLayout" Target="../slideLayouts/slideLayout315.xml"/><Relationship Id="rId431" Type="http://schemas.openxmlformats.org/officeDocument/2006/relationships/slideLayout" Target="../slideLayouts/slideLayout480.xml"/><Relationship Id="rId473" Type="http://schemas.openxmlformats.org/officeDocument/2006/relationships/slideLayout" Target="../slideLayouts/slideLayout522.xml"/><Relationship Id="rId529" Type="http://schemas.openxmlformats.org/officeDocument/2006/relationships/slideLayout" Target="../slideLayouts/slideLayout578.xml"/><Relationship Id="rId30" Type="http://schemas.openxmlformats.org/officeDocument/2006/relationships/slideLayout" Target="../slideLayouts/slideLayout79.xml"/><Relationship Id="rId126" Type="http://schemas.openxmlformats.org/officeDocument/2006/relationships/slideLayout" Target="../slideLayouts/slideLayout175.xml"/><Relationship Id="rId168" Type="http://schemas.openxmlformats.org/officeDocument/2006/relationships/slideLayout" Target="../slideLayouts/slideLayout217.xml"/><Relationship Id="rId333" Type="http://schemas.openxmlformats.org/officeDocument/2006/relationships/slideLayout" Target="../slideLayouts/slideLayout382.xml"/><Relationship Id="rId540" Type="http://schemas.openxmlformats.org/officeDocument/2006/relationships/slideLayout" Target="../slideLayouts/slideLayout589.xml"/><Relationship Id="rId72" Type="http://schemas.openxmlformats.org/officeDocument/2006/relationships/slideLayout" Target="../slideLayouts/slideLayout121.xml"/><Relationship Id="rId375" Type="http://schemas.openxmlformats.org/officeDocument/2006/relationships/slideLayout" Target="../slideLayouts/slideLayout424.xml"/><Relationship Id="rId3" Type="http://schemas.openxmlformats.org/officeDocument/2006/relationships/slideLayout" Target="../slideLayouts/slideLayout52.xml"/><Relationship Id="rId235" Type="http://schemas.openxmlformats.org/officeDocument/2006/relationships/slideLayout" Target="../slideLayouts/slideLayout284.xml"/><Relationship Id="rId277" Type="http://schemas.openxmlformats.org/officeDocument/2006/relationships/slideLayout" Target="../slideLayouts/slideLayout326.xml"/><Relationship Id="rId400" Type="http://schemas.openxmlformats.org/officeDocument/2006/relationships/slideLayout" Target="../slideLayouts/slideLayout449.xml"/><Relationship Id="rId442" Type="http://schemas.openxmlformats.org/officeDocument/2006/relationships/slideLayout" Target="../slideLayouts/slideLayout491.xml"/><Relationship Id="rId484" Type="http://schemas.openxmlformats.org/officeDocument/2006/relationships/slideLayout" Target="../slideLayouts/slideLayout533.xml"/><Relationship Id="rId137" Type="http://schemas.openxmlformats.org/officeDocument/2006/relationships/slideLayout" Target="../slideLayouts/slideLayout186.xml"/><Relationship Id="rId302" Type="http://schemas.openxmlformats.org/officeDocument/2006/relationships/slideLayout" Target="../slideLayouts/slideLayout351.xml"/><Relationship Id="rId344" Type="http://schemas.openxmlformats.org/officeDocument/2006/relationships/slideLayout" Target="../slideLayouts/slideLayout393.xml"/><Relationship Id="rId41" Type="http://schemas.openxmlformats.org/officeDocument/2006/relationships/slideLayout" Target="../slideLayouts/slideLayout90.xml"/><Relationship Id="rId83" Type="http://schemas.openxmlformats.org/officeDocument/2006/relationships/slideLayout" Target="../slideLayouts/slideLayout132.xml"/><Relationship Id="rId179" Type="http://schemas.openxmlformats.org/officeDocument/2006/relationships/slideLayout" Target="../slideLayouts/slideLayout228.xml"/><Relationship Id="rId386" Type="http://schemas.openxmlformats.org/officeDocument/2006/relationships/slideLayout" Target="../slideLayouts/slideLayout435.xml"/><Relationship Id="rId551" Type="http://schemas.openxmlformats.org/officeDocument/2006/relationships/slideLayout" Target="../slideLayouts/slideLayout600.xml"/><Relationship Id="rId190" Type="http://schemas.openxmlformats.org/officeDocument/2006/relationships/slideLayout" Target="../slideLayouts/slideLayout239.xml"/><Relationship Id="rId204" Type="http://schemas.openxmlformats.org/officeDocument/2006/relationships/slideLayout" Target="../slideLayouts/slideLayout253.xml"/><Relationship Id="rId246" Type="http://schemas.openxmlformats.org/officeDocument/2006/relationships/slideLayout" Target="../slideLayouts/slideLayout295.xml"/><Relationship Id="rId288" Type="http://schemas.openxmlformats.org/officeDocument/2006/relationships/slideLayout" Target="../slideLayouts/slideLayout337.xml"/><Relationship Id="rId411" Type="http://schemas.openxmlformats.org/officeDocument/2006/relationships/slideLayout" Target="../slideLayouts/slideLayout460.xml"/><Relationship Id="rId453" Type="http://schemas.openxmlformats.org/officeDocument/2006/relationships/slideLayout" Target="../slideLayouts/slideLayout502.xml"/><Relationship Id="rId509" Type="http://schemas.openxmlformats.org/officeDocument/2006/relationships/slideLayout" Target="../slideLayouts/slideLayout558.xml"/><Relationship Id="rId106" Type="http://schemas.openxmlformats.org/officeDocument/2006/relationships/slideLayout" Target="../slideLayouts/slideLayout155.xml"/><Relationship Id="rId313" Type="http://schemas.openxmlformats.org/officeDocument/2006/relationships/slideLayout" Target="../slideLayouts/slideLayout362.xml"/><Relationship Id="rId495" Type="http://schemas.openxmlformats.org/officeDocument/2006/relationships/slideLayout" Target="../slideLayouts/slideLayout544.xml"/><Relationship Id="rId10" Type="http://schemas.openxmlformats.org/officeDocument/2006/relationships/slideLayout" Target="../slideLayouts/slideLayout59.xml"/><Relationship Id="rId52" Type="http://schemas.openxmlformats.org/officeDocument/2006/relationships/slideLayout" Target="../slideLayouts/slideLayout101.xml"/><Relationship Id="rId94" Type="http://schemas.openxmlformats.org/officeDocument/2006/relationships/slideLayout" Target="../slideLayouts/slideLayout143.xml"/><Relationship Id="rId148" Type="http://schemas.openxmlformats.org/officeDocument/2006/relationships/slideLayout" Target="../slideLayouts/slideLayout197.xml"/><Relationship Id="rId355" Type="http://schemas.openxmlformats.org/officeDocument/2006/relationships/slideLayout" Target="../slideLayouts/slideLayout404.xml"/><Relationship Id="rId397" Type="http://schemas.openxmlformats.org/officeDocument/2006/relationships/slideLayout" Target="../slideLayouts/slideLayout446.xml"/><Relationship Id="rId520" Type="http://schemas.openxmlformats.org/officeDocument/2006/relationships/slideLayout" Target="../slideLayouts/slideLayout569.xml"/><Relationship Id="rId562" Type="http://schemas.openxmlformats.org/officeDocument/2006/relationships/slideLayout" Target="../slideLayouts/slideLayout611.xml"/><Relationship Id="rId215" Type="http://schemas.openxmlformats.org/officeDocument/2006/relationships/slideLayout" Target="../slideLayouts/slideLayout264.xml"/><Relationship Id="rId257" Type="http://schemas.openxmlformats.org/officeDocument/2006/relationships/slideLayout" Target="../slideLayouts/slideLayout306.xml"/><Relationship Id="rId422" Type="http://schemas.openxmlformats.org/officeDocument/2006/relationships/slideLayout" Target="../slideLayouts/slideLayout471.xml"/><Relationship Id="rId464" Type="http://schemas.openxmlformats.org/officeDocument/2006/relationships/slideLayout" Target="../slideLayouts/slideLayout513.xml"/><Relationship Id="rId299" Type="http://schemas.openxmlformats.org/officeDocument/2006/relationships/slideLayout" Target="../slideLayouts/slideLayout348.xml"/><Relationship Id="rId63" Type="http://schemas.openxmlformats.org/officeDocument/2006/relationships/slideLayout" Target="../slideLayouts/slideLayout112.xml"/><Relationship Id="rId159" Type="http://schemas.openxmlformats.org/officeDocument/2006/relationships/slideLayout" Target="../slideLayouts/slideLayout208.xml"/><Relationship Id="rId366" Type="http://schemas.openxmlformats.org/officeDocument/2006/relationships/slideLayout" Target="../slideLayouts/slideLayout415.xml"/><Relationship Id="rId226" Type="http://schemas.openxmlformats.org/officeDocument/2006/relationships/slideLayout" Target="../slideLayouts/slideLayout275.xml"/><Relationship Id="rId433" Type="http://schemas.openxmlformats.org/officeDocument/2006/relationships/slideLayout" Target="../slideLayouts/slideLayout482.xml"/><Relationship Id="rId74" Type="http://schemas.openxmlformats.org/officeDocument/2006/relationships/slideLayout" Target="../slideLayouts/slideLayout123.xml"/><Relationship Id="rId377" Type="http://schemas.openxmlformats.org/officeDocument/2006/relationships/slideLayout" Target="../slideLayouts/slideLayout426.xml"/><Relationship Id="rId500" Type="http://schemas.openxmlformats.org/officeDocument/2006/relationships/slideLayout" Target="../slideLayouts/slideLayout549.xml"/><Relationship Id="rId5" Type="http://schemas.openxmlformats.org/officeDocument/2006/relationships/slideLayout" Target="../slideLayouts/slideLayout54.xml"/><Relationship Id="rId237" Type="http://schemas.openxmlformats.org/officeDocument/2006/relationships/slideLayout" Target="../slideLayouts/slideLayout286.xml"/><Relationship Id="rId444" Type="http://schemas.openxmlformats.org/officeDocument/2006/relationships/slideLayout" Target="../slideLayouts/slideLayout493.xml"/><Relationship Id="rId290" Type="http://schemas.openxmlformats.org/officeDocument/2006/relationships/slideLayout" Target="../slideLayouts/slideLayout339.xml"/><Relationship Id="rId304" Type="http://schemas.openxmlformats.org/officeDocument/2006/relationships/slideLayout" Target="../slideLayouts/slideLayout353.xml"/><Relationship Id="rId388" Type="http://schemas.openxmlformats.org/officeDocument/2006/relationships/slideLayout" Target="../slideLayouts/slideLayout437.xml"/><Relationship Id="rId511" Type="http://schemas.openxmlformats.org/officeDocument/2006/relationships/slideLayout" Target="../slideLayouts/slideLayout560.xml"/><Relationship Id="rId85" Type="http://schemas.openxmlformats.org/officeDocument/2006/relationships/slideLayout" Target="../slideLayouts/slideLayout134.xml"/><Relationship Id="rId150" Type="http://schemas.openxmlformats.org/officeDocument/2006/relationships/slideLayout" Target="../slideLayouts/slideLayout199.xml"/><Relationship Id="rId248" Type="http://schemas.openxmlformats.org/officeDocument/2006/relationships/slideLayout" Target="../slideLayouts/slideLayout297.xml"/><Relationship Id="rId455" Type="http://schemas.openxmlformats.org/officeDocument/2006/relationships/slideLayout" Target="../slideLayouts/slideLayout504.xml"/><Relationship Id="rId12" Type="http://schemas.openxmlformats.org/officeDocument/2006/relationships/slideLayout" Target="../slideLayouts/slideLayout61.xml"/><Relationship Id="rId108" Type="http://schemas.openxmlformats.org/officeDocument/2006/relationships/slideLayout" Target="../slideLayouts/slideLayout157.xml"/><Relationship Id="rId315" Type="http://schemas.openxmlformats.org/officeDocument/2006/relationships/slideLayout" Target="../slideLayouts/slideLayout364.xml"/><Relationship Id="rId522" Type="http://schemas.openxmlformats.org/officeDocument/2006/relationships/slideLayout" Target="../slideLayouts/slideLayout571.xml"/><Relationship Id="rId96" Type="http://schemas.openxmlformats.org/officeDocument/2006/relationships/slideLayout" Target="../slideLayouts/slideLayout145.xml"/><Relationship Id="rId161" Type="http://schemas.openxmlformats.org/officeDocument/2006/relationships/slideLayout" Target="../slideLayouts/slideLayout210.xml"/><Relationship Id="rId399" Type="http://schemas.openxmlformats.org/officeDocument/2006/relationships/slideLayout" Target="../slideLayouts/slideLayout448.xml"/><Relationship Id="rId259" Type="http://schemas.openxmlformats.org/officeDocument/2006/relationships/slideLayout" Target="../slideLayouts/slideLayout308.xml"/><Relationship Id="rId466" Type="http://schemas.openxmlformats.org/officeDocument/2006/relationships/slideLayout" Target="../slideLayouts/slideLayout515.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614.xml"/><Relationship Id="rId2" Type="http://schemas.openxmlformats.org/officeDocument/2006/relationships/slideLayout" Target="../slideLayouts/slideLayout613.xml"/><Relationship Id="rId1" Type="http://schemas.openxmlformats.org/officeDocument/2006/relationships/slideLayout" Target="../slideLayouts/slideLayout612.xml"/><Relationship Id="rId5" Type="http://schemas.openxmlformats.org/officeDocument/2006/relationships/image" Target="../media/image1.emf"/><Relationship Id="rId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13A29A9-45EC-A849-B4F9-191564DD07A3}"/>
              </a:ext>
            </a:extLst>
          </p:cNvPr>
          <p:cNvSpPr/>
          <p:nvPr userDrawn="1"/>
        </p:nvSpPr>
        <p:spPr>
          <a:xfrm>
            <a:off x="0" y="6176963"/>
            <a:ext cx="12192000" cy="681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8044EFC3-4B60-C84E-9896-206868E8E6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52AE47-B893-C646-9969-743B9BCECB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491ED99-7590-E44E-9A4E-633F728847A9}"/>
              </a:ext>
            </a:extLst>
          </p:cNvPr>
          <p:cNvSpPr>
            <a:spLocks noGrp="1"/>
          </p:cNvSpPr>
          <p:nvPr>
            <p:ph type="sldNum" sz="quarter" idx="4"/>
          </p:nvPr>
        </p:nvSpPr>
        <p:spPr>
          <a:xfrm>
            <a:off x="9159875"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13D703BF-151A-0D40-8508-CABBAD09F9A9}" type="slidenum">
              <a:rPr lang="en-US" smtClean="0"/>
              <a:pPr/>
              <a:t>‹#›</a:t>
            </a:fld>
            <a:endParaRPr lang="en-US">
              <a:solidFill>
                <a:schemeClr val="bg1"/>
              </a:solidFill>
            </a:endParaRPr>
          </a:p>
        </p:txBody>
      </p:sp>
      <p:pic>
        <p:nvPicPr>
          <p:cNvPr id="9" name="Picture 8">
            <a:extLst>
              <a:ext uri="{FF2B5EF4-FFF2-40B4-BE49-F238E27FC236}">
                <a16:creationId xmlns:a16="http://schemas.microsoft.com/office/drawing/2014/main" id="{27DDB81D-D9B9-EE4D-B56C-E79F7CE4A067}"/>
              </a:ext>
            </a:extLst>
          </p:cNvPr>
          <p:cNvPicPr>
            <a:picLocks noChangeAspect="1"/>
          </p:cNvPicPr>
          <p:nvPr userDrawn="1"/>
        </p:nvPicPr>
        <p:blipFill>
          <a:blip r:embed="rId51"/>
          <a:stretch>
            <a:fillRect/>
          </a:stretch>
        </p:blipFill>
        <p:spPr>
          <a:xfrm>
            <a:off x="288925" y="6311900"/>
            <a:ext cx="1098550" cy="406400"/>
          </a:xfrm>
          <a:prstGeom prst="rect">
            <a:avLst/>
          </a:prstGeom>
        </p:spPr>
      </p:pic>
    </p:spTree>
    <p:extLst>
      <p:ext uri="{BB962C8B-B14F-4D97-AF65-F5344CB8AC3E}">
        <p14:creationId xmlns:p14="http://schemas.microsoft.com/office/powerpoint/2010/main" val="288465238"/>
      </p:ext>
    </p:extLst>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4199" r:id="rId13"/>
    <p:sldLayoutId id="2147483936" r:id="rId14"/>
    <p:sldLayoutId id="2147483937" r:id="rId15"/>
    <p:sldLayoutId id="2147483983" r:id="rId16"/>
    <p:sldLayoutId id="2147483938" r:id="rId17"/>
    <p:sldLayoutId id="2147483939" r:id="rId18"/>
    <p:sldLayoutId id="2147484091" r:id="rId19"/>
    <p:sldLayoutId id="2147484103" r:id="rId20"/>
    <p:sldLayoutId id="2147483986" r:id="rId21"/>
    <p:sldLayoutId id="2147483790" r:id="rId22"/>
    <p:sldLayoutId id="2147483675" r:id="rId23"/>
    <p:sldLayoutId id="2147483672" r:id="rId24"/>
    <p:sldLayoutId id="2147483676" r:id="rId25"/>
    <p:sldLayoutId id="2147483677" r:id="rId26"/>
    <p:sldLayoutId id="2147483673" r:id="rId27"/>
    <p:sldLayoutId id="2147483678" r:id="rId28"/>
    <p:sldLayoutId id="2147483679" r:id="rId29"/>
    <p:sldLayoutId id="2147483655" r:id="rId30"/>
    <p:sldLayoutId id="2147483680" r:id="rId31"/>
    <p:sldLayoutId id="2147483656" r:id="rId32"/>
    <p:sldLayoutId id="2147483657" r:id="rId33"/>
    <p:sldLayoutId id="2147484386" r:id="rId34"/>
    <p:sldLayoutId id="2147483658" r:id="rId35"/>
    <p:sldLayoutId id="2147483659" r:id="rId36"/>
    <p:sldLayoutId id="2147484657" r:id="rId37"/>
    <p:sldLayoutId id="2147484658" r:id="rId38"/>
    <p:sldLayoutId id="2147483956" r:id="rId39"/>
    <p:sldLayoutId id="2147483846" r:id="rId40"/>
    <p:sldLayoutId id="2147484003" r:id="rId41"/>
    <p:sldLayoutId id="2147485949" r:id="rId42"/>
    <p:sldLayoutId id="2147484004" r:id="rId43"/>
    <p:sldLayoutId id="2147484006" r:id="rId44"/>
    <p:sldLayoutId id="2147484427" r:id="rId45"/>
    <p:sldLayoutId id="2147483847" r:id="rId46"/>
    <p:sldLayoutId id="2147483696" r:id="rId47"/>
    <p:sldLayoutId id="2147483699" r:id="rId48"/>
    <p:sldLayoutId id="2147485948" r:id="rId49"/>
  </p:sldLayoutIdLst>
  <p:hf hdr="0" ft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13A29A9-45EC-A849-B4F9-191564DD07A3}"/>
              </a:ext>
            </a:extLst>
          </p:cNvPr>
          <p:cNvSpPr/>
          <p:nvPr userDrawn="1"/>
        </p:nvSpPr>
        <p:spPr>
          <a:xfrm>
            <a:off x="0" y="6176963"/>
            <a:ext cx="12192000" cy="681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8044EFC3-4B60-C84E-9896-206868E8E65D}"/>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52AE47-B893-C646-9969-743B9BCECB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491ED99-7590-E44E-9A4E-633F728847A9}"/>
              </a:ext>
            </a:extLst>
          </p:cNvPr>
          <p:cNvSpPr>
            <a:spLocks noGrp="1"/>
          </p:cNvSpPr>
          <p:nvPr>
            <p:ph type="sldNum" sz="quarter" idx="4"/>
          </p:nvPr>
        </p:nvSpPr>
        <p:spPr>
          <a:xfrm>
            <a:off x="9159875"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13D703BF-151A-0D40-8508-CABBAD09F9A9}" type="slidenum">
              <a:rPr lang="en-US" smtClean="0"/>
              <a:pPr/>
              <a:t>‹#›</a:t>
            </a:fld>
            <a:endParaRPr lang="en-US">
              <a:solidFill>
                <a:schemeClr val="bg1"/>
              </a:solidFill>
            </a:endParaRPr>
          </a:p>
        </p:txBody>
      </p:sp>
      <p:pic>
        <p:nvPicPr>
          <p:cNvPr id="9" name="Picture 8">
            <a:extLst>
              <a:ext uri="{FF2B5EF4-FFF2-40B4-BE49-F238E27FC236}">
                <a16:creationId xmlns:a16="http://schemas.microsoft.com/office/drawing/2014/main" id="{27DDB81D-D9B9-EE4D-B56C-E79F7CE4A067}"/>
              </a:ext>
            </a:extLst>
          </p:cNvPr>
          <p:cNvPicPr>
            <a:picLocks noChangeAspect="1"/>
          </p:cNvPicPr>
          <p:nvPr userDrawn="1"/>
        </p:nvPicPr>
        <p:blipFill>
          <a:blip r:embed="rId564"/>
          <a:stretch>
            <a:fillRect/>
          </a:stretch>
        </p:blipFill>
        <p:spPr>
          <a:xfrm>
            <a:off x="288925" y="6311900"/>
            <a:ext cx="1098550" cy="406400"/>
          </a:xfrm>
          <a:prstGeom prst="rect">
            <a:avLst/>
          </a:prstGeom>
        </p:spPr>
      </p:pic>
    </p:spTree>
    <p:extLst>
      <p:ext uri="{BB962C8B-B14F-4D97-AF65-F5344CB8AC3E}">
        <p14:creationId xmlns:p14="http://schemas.microsoft.com/office/powerpoint/2010/main" val="288465238"/>
      </p:ext>
    </p:extLst>
  </p:cSld>
  <p:clrMap bg1="lt1" tx1="dk1" bg2="lt2" tx2="dk2" accent1="accent1" accent2="accent2" accent3="accent3" accent4="accent4" accent5="accent5" accent6="accent6" hlink="hlink" folHlink="folHlink"/>
  <p:sldLayoutIdLst>
    <p:sldLayoutId id="2147485221" r:id="rId1"/>
    <p:sldLayoutId id="2147484264" r:id="rId2"/>
    <p:sldLayoutId id="2147484265" r:id="rId3"/>
    <p:sldLayoutId id="2147484266" r:id="rId4"/>
    <p:sldLayoutId id="2147485222" r:id="rId5"/>
    <p:sldLayoutId id="2147485232" r:id="rId6"/>
    <p:sldLayoutId id="2147485233" r:id="rId7"/>
    <p:sldLayoutId id="2147484261" r:id="rId8"/>
    <p:sldLayoutId id="2147485234" r:id="rId9"/>
    <p:sldLayoutId id="2147485235" r:id="rId10"/>
    <p:sldLayoutId id="2147485236" r:id="rId11"/>
    <p:sldLayoutId id="2147485237" r:id="rId12"/>
    <p:sldLayoutId id="2147484259" r:id="rId13"/>
    <p:sldLayoutId id="2147485238" r:id="rId14"/>
    <p:sldLayoutId id="2147485239" r:id="rId15"/>
    <p:sldLayoutId id="2147484613" r:id="rId16"/>
    <p:sldLayoutId id="2147485240" r:id="rId17"/>
    <p:sldLayoutId id="2147485241" r:id="rId18"/>
    <p:sldLayoutId id="2147485242" r:id="rId19"/>
    <p:sldLayoutId id="2147485228" r:id="rId20"/>
    <p:sldLayoutId id="2147485806" r:id="rId21"/>
    <p:sldLayoutId id="2147484980" r:id="rId22"/>
    <p:sldLayoutId id="2147484387" r:id="rId23"/>
    <p:sldLayoutId id="2147484388" r:id="rId24"/>
    <p:sldLayoutId id="2147484389" r:id="rId25"/>
    <p:sldLayoutId id="2147484391" r:id="rId26"/>
    <p:sldLayoutId id="2147484393" r:id="rId27"/>
    <p:sldLayoutId id="2147484394" r:id="rId28"/>
    <p:sldLayoutId id="2147484392" r:id="rId29"/>
    <p:sldLayoutId id="2147484659" r:id="rId30"/>
    <p:sldLayoutId id="2147483697" r:id="rId31"/>
    <p:sldLayoutId id="2147484390" r:id="rId32"/>
    <p:sldLayoutId id="2147483952" r:id="rId33"/>
    <p:sldLayoutId id="2147485229" r:id="rId34"/>
    <p:sldLayoutId id="2147484244" r:id="rId35"/>
    <p:sldLayoutId id="2147484217" r:id="rId36"/>
    <p:sldLayoutId id="2147484641" r:id="rId37"/>
    <p:sldLayoutId id="2147483687" r:id="rId38"/>
    <p:sldLayoutId id="2147483681" r:id="rId39"/>
    <p:sldLayoutId id="2147483682" r:id="rId40"/>
    <p:sldLayoutId id="2147483685" r:id="rId41"/>
    <p:sldLayoutId id="2147483690" r:id="rId42"/>
    <p:sldLayoutId id="2147483692" r:id="rId43"/>
    <p:sldLayoutId id="2147483693" r:id="rId44"/>
    <p:sldLayoutId id="2147483694" r:id="rId45"/>
    <p:sldLayoutId id="2147483695" r:id="rId46"/>
    <p:sldLayoutId id="2147484335" r:id="rId47"/>
    <p:sldLayoutId id="2147484336" r:id="rId48"/>
    <p:sldLayoutId id="2147484337" r:id="rId49"/>
    <p:sldLayoutId id="2147484338" r:id="rId50"/>
    <p:sldLayoutId id="2147484339" r:id="rId51"/>
    <p:sldLayoutId id="2147484340" r:id="rId52"/>
    <p:sldLayoutId id="2147484341" r:id="rId53"/>
    <p:sldLayoutId id="2147484342" r:id="rId54"/>
    <p:sldLayoutId id="2147484428" r:id="rId55"/>
    <p:sldLayoutId id="2147484429" r:id="rId56"/>
    <p:sldLayoutId id="2147484430" r:id="rId57"/>
    <p:sldLayoutId id="2147484431" r:id="rId58"/>
    <p:sldLayoutId id="2147484432" r:id="rId59"/>
    <p:sldLayoutId id="2147484433" r:id="rId60"/>
    <p:sldLayoutId id="2147484423" r:id="rId61"/>
    <p:sldLayoutId id="2147484424" r:id="rId62"/>
    <p:sldLayoutId id="2147483698" r:id="rId63"/>
    <p:sldLayoutId id="2147484520" r:id="rId64"/>
    <p:sldLayoutId id="2147483700" r:id="rId65"/>
    <p:sldLayoutId id="2147483701" r:id="rId66"/>
    <p:sldLayoutId id="2147483702" r:id="rId67"/>
    <p:sldLayoutId id="2147483703" r:id="rId68"/>
    <p:sldLayoutId id="2147483704" r:id="rId69"/>
    <p:sldLayoutId id="2147483705" r:id="rId70"/>
    <p:sldLayoutId id="2147483706" r:id="rId71"/>
    <p:sldLayoutId id="2147483707" r:id="rId72"/>
    <p:sldLayoutId id="2147483708" r:id="rId73"/>
    <p:sldLayoutId id="2147483709" r:id="rId74"/>
    <p:sldLayoutId id="2147483710" r:id="rId75"/>
    <p:sldLayoutId id="2147483711" r:id="rId76"/>
    <p:sldLayoutId id="2147484440" r:id="rId77"/>
    <p:sldLayoutId id="2147484434" r:id="rId78"/>
    <p:sldLayoutId id="2147484481" r:id="rId79"/>
    <p:sldLayoutId id="2147484439" r:id="rId80"/>
    <p:sldLayoutId id="2147484443" r:id="rId81"/>
    <p:sldLayoutId id="2147484444" r:id="rId82"/>
    <p:sldLayoutId id="2147484480" r:id="rId83"/>
    <p:sldLayoutId id="2147484426" r:id="rId84"/>
    <p:sldLayoutId id="2147484988" r:id="rId85"/>
    <p:sldLayoutId id="2147484989" r:id="rId86"/>
    <p:sldLayoutId id="2147484990" r:id="rId87"/>
    <p:sldLayoutId id="2147484987" r:id="rId88"/>
    <p:sldLayoutId id="2147485010" r:id="rId89"/>
    <p:sldLayoutId id="2147483689" r:id="rId90"/>
    <p:sldLayoutId id="2147484991" r:id="rId91"/>
    <p:sldLayoutId id="2147484994" r:id="rId92"/>
    <p:sldLayoutId id="2147484995" r:id="rId93"/>
    <p:sldLayoutId id="2147485148" r:id="rId94"/>
    <p:sldLayoutId id="2147484985" r:id="rId95"/>
    <p:sldLayoutId id="2147484996" r:id="rId96"/>
    <p:sldLayoutId id="2147485149" r:id="rId97"/>
    <p:sldLayoutId id="2147484997" r:id="rId98"/>
    <p:sldLayoutId id="2147484998" r:id="rId99"/>
    <p:sldLayoutId id="2147484999" r:id="rId100"/>
    <p:sldLayoutId id="2147485000" r:id="rId101"/>
    <p:sldLayoutId id="2147485001" r:id="rId102"/>
    <p:sldLayoutId id="2147485003" r:id="rId103"/>
    <p:sldLayoutId id="2147485004" r:id="rId104"/>
    <p:sldLayoutId id="2147485005" r:id="rId105"/>
    <p:sldLayoutId id="2147485006" r:id="rId106"/>
    <p:sldLayoutId id="2147485007" r:id="rId107"/>
    <p:sldLayoutId id="2147485008" r:id="rId108"/>
    <p:sldLayoutId id="2147483712" r:id="rId109"/>
    <p:sldLayoutId id="2147485011" r:id="rId110"/>
    <p:sldLayoutId id="2147485012" r:id="rId111"/>
    <p:sldLayoutId id="2147485016" r:id="rId112"/>
    <p:sldLayoutId id="2147483716" r:id="rId113"/>
    <p:sldLayoutId id="2147483717" r:id="rId114"/>
    <p:sldLayoutId id="2147485022" r:id="rId115"/>
    <p:sldLayoutId id="2147485013" r:id="rId116"/>
    <p:sldLayoutId id="2147485014" r:id="rId117"/>
    <p:sldLayoutId id="2147485015" r:id="rId118"/>
    <p:sldLayoutId id="2147485023" r:id="rId119"/>
    <p:sldLayoutId id="2147485024" r:id="rId120"/>
    <p:sldLayoutId id="2147483724" r:id="rId121"/>
    <p:sldLayoutId id="2147483725" r:id="rId122"/>
    <p:sldLayoutId id="2147483726" r:id="rId123"/>
    <p:sldLayoutId id="2147485025" r:id="rId124"/>
    <p:sldLayoutId id="2147485026" r:id="rId125"/>
    <p:sldLayoutId id="2147485027" r:id="rId126"/>
    <p:sldLayoutId id="2147483730" r:id="rId127"/>
    <p:sldLayoutId id="2147485020" r:id="rId128"/>
    <p:sldLayoutId id="2147485021" r:id="rId129"/>
    <p:sldLayoutId id="2147485035" r:id="rId130"/>
    <p:sldLayoutId id="2147485028" r:id="rId131"/>
    <p:sldLayoutId id="2147483735" r:id="rId132"/>
    <p:sldLayoutId id="2147483736" r:id="rId133"/>
    <p:sldLayoutId id="2147483737" r:id="rId134"/>
    <p:sldLayoutId id="2147485029" r:id="rId135"/>
    <p:sldLayoutId id="2147485030" r:id="rId136"/>
    <p:sldLayoutId id="2147485031" r:id="rId137"/>
    <p:sldLayoutId id="2147485032" r:id="rId138"/>
    <p:sldLayoutId id="2147485033" r:id="rId139"/>
    <p:sldLayoutId id="2147485034" r:id="rId140"/>
    <p:sldLayoutId id="2147483744" r:id="rId141"/>
    <p:sldLayoutId id="2147483745" r:id="rId142"/>
    <p:sldLayoutId id="2147483746" r:id="rId143"/>
    <p:sldLayoutId id="2147483747" r:id="rId144"/>
    <p:sldLayoutId id="2147484614" r:id="rId145"/>
    <p:sldLayoutId id="2147483683" r:id="rId146"/>
    <p:sldLayoutId id="2147483688" r:id="rId147"/>
    <p:sldLayoutId id="2147484022" r:id="rId148"/>
    <p:sldLayoutId id="2147484162" r:id="rId149"/>
    <p:sldLayoutId id="2147484163" r:id="rId150"/>
    <p:sldLayoutId id="2147484681" r:id="rId151"/>
    <p:sldLayoutId id="2147484024" r:id="rId152"/>
    <p:sldLayoutId id="2147484320" r:id="rId153"/>
    <p:sldLayoutId id="2147485223" r:id="rId154"/>
    <p:sldLayoutId id="2147484615" r:id="rId155"/>
    <p:sldLayoutId id="2147484616" r:id="rId156"/>
    <p:sldLayoutId id="2147484617" r:id="rId157"/>
    <p:sldLayoutId id="2147484618" r:id="rId158"/>
    <p:sldLayoutId id="2147484619" r:id="rId159"/>
    <p:sldLayoutId id="2147484620" r:id="rId160"/>
    <p:sldLayoutId id="2147485224" r:id="rId161"/>
    <p:sldLayoutId id="2147485225" r:id="rId162"/>
    <p:sldLayoutId id="2147485226" r:id="rId163"/>
    <p:sldLayoutId id="2147485227" r:id="rId164"/>
    <p:sldLayoutId id="2147484623" r:id="rId165"/>
    <p:sldLayoutId id="2147484624" r:id="rId166"/>
    <p:sldLayoutId id="2147484625" r:id="rId167"/>
    <p:sldLayoutId id="2147484626" r:id="rId168"/>
    <p:sldLayoutId id="2147484627" r:id="rId169"/>
    <p:sldLayoutId id="2147484628" r:id="rId170"/>
    <p:sldLayoutId id="2147484629" r:id="rId171"/>
    <p:sldLayoutId id="2147484630" r:id="rId172"/>
    <p:sldLayoutId id="2147483713" r:id="rId173"/>
    <p:sldLayoutId id="2147483714" r:id="rId174"/>
    <p:sldLayoutId id="2147483719" r:id="rId175"/>
    <p:sldLayoutId id="2147483720" r:id="rId176"/>
    <p:sldLayoutId id="2147483721" r:id="rId177"/>
    <p:sldLayoutId id="2147483715" r:id="rId178"/>
    <p:sldLayoutId id="2147484196" r:id="rId179"/>
    <p:sldLayoutId id="2147484169" r:id="rId180"/>
    <p:sldLayoutId id="2147484159" r:id="rId181"/>
    <p:sldLayoutId id="2147484160" r:id="rId182"/>
    <p:sldLayoutId id="2147484161" r:id="rId183"/>
    <p:sldLayoutId id="2147484164" r:id="rId184"/>
    <p:sldLayoutId id="2147484197" r:id="rId185"/>
    <p:sldLayoutId id="2147484053" r:id="rId186"/>
    <p:sldLayoutId id="2147484267" r:id="rId187"/>
    <p:sldLayoutId id="2147484268" r:id="rId188"/>
    <p:sldLayoutId id="2147484269" r:id="rId189"/>
    <p:sldLayoutId id="2147484248" r:id="rId190"/>
    <p:sldLayoutId id="2147484249" r:id="rId191"/>
    <p:sldLayoutId id="2147484250" r:id="rId192"/>
    <p:sldLayoutId id="2147484251" r:id="rId193"/>
    <p:sldLayoutId id="2147484252" r:id="rId194"/>
    <p:sldLayoutId id="2147484253" r:id="rId195"/>
    <p:sldLayoutId id="2147484635" r:id="rId196"/>
    <p:sldLayoutId id="2147484636" r:id="rId197"/>
    <p:sldLayoutId id="2147484634" r:id="rId198"/>
    <p:sldLayoutId id="2147484637" r:id="rId199"/>
    <p:sldLayoutId id="2147484622" r:id="rId200"/>
    <p:sldLayoutId id="2147484621" r:id="rId201"/>
    <p:sldLayoutId id="2147483935" r:id="rId202"/>
    <p:sldLayoutId id="2147484102" r:id="rId203"/>
    <p:sldLayoutId id="2147483759" r:id="rId204"/>
    <p:sldLayoutId id="2147483765" r:id="rId205"/>
    <p:sldLayoutId id="2147484632" r:id="rId206"/>
    <p:sldLayoutId id="2147484633" r:id="rId207"/>
    <p:sldLayoutId id="2147484330" r:id="rId208"/>
    <p:sldLayoutId id="2147484325" r:id="rId209"/>
    <p:sldLayoutId id="2147484326" r:id="rId210"/>
    <p:sldLayoutId id="2147484327" r:id="rId211"/>
    <p:sldLayoutId id="2147484638" r:id="rId212"/>
    <p:sldLayoutId id="2147484639" r:id="rId213"/>
    <p:sldLayoutId id="2147484640" r:id="rId214"/>
    <p:sldLayoutId id="2147483731" r:id="rId215"/>
    <p:sldLayoutId id="2147483732" r:id="rId216"/>
    <p:sldLayoutId id="2147484400" r:id="rId217"/>
    <p:sldLayoutId id="2147484401" r:id="rId218"/>
    <p:sldLayoutId id="2147484402" r:id="rId219"/>
    <p:sldLayoutId id="2147483718" r:id="rId220"/>
    <p:sldLayoutId id="2147483722" r:id="rId221"/>
    <p:sldLayoutId id="2147483723" r:id="rId222"/>
    <p:sldLayoutId id="2147483727" r:id="rId223"/>
    <p:sldLayoutId id="2147483728" r:id="rId224"/>
    <p:sldLayoutId id="2147483729" r:id="rId225"/>
    <p:sldLayoutId id="2147483734" r:id="rId226"/>
    <p:sldLayoutId id="2147483738" r:id="rId227"/>
    <p:sldLayoutId id="2147483739" r:id="rId228"/>
    <p:sldLayoutId id="2147483740" r:id="rId229"/>
    <p:sldLayoutId id="2147483741" r:id="rId230"/>
    <p:sldLayoutId id="2147483742" r:id="rId231"/>
    <p:sldLayoutId id="2147483743" r:id="rId232"/>
    <p:sldLayoutId id="2147483733" r:id="rId233"/>
    <p:sldLayoutId id="2147484353" r:id="rId234"/>
    <p:sldLayoutId id="2147484354" r:id="rId235"/>
    <p:sldLayoutId id="2147484350" r:id="rId236"/>
    <p:sldLayoutId id="2147484345" r:id="rId237"/>
    <p:sldLayoutId id="2147484346" r:id="rId238"/>
    <p:sldLayoutId id="2147484347" r:id="rId239"/>
    <p:sldLayoutId id="2147484355" r:id="rId240"/>
    <p:sldLayoutId id="2147484356" r:id="rId241"/>
    <p:sldLayoutId id="2147484357" r:id="rId242"/>
    <p:sldLayoutId id="2147484358" r:id="rId243"/>
    <p:sldLayoutId id="2147484359" r:id="rId244"/>
    <p:sldLayoutId id="2147484457" r:id="rId245"/>
    <p:sldLayoutId id="2147484458" r:id="rId246"/>
    <p:sldLayoutId id="2147484459" r:id="rId247"/>
    <p:sldLayoutId id="2147484460" r:id="rId248"/>
    <p:sldLayoutId id="2147484461" r:id="rId249"/>
    <p:sldLayoutId id="2147484463" r:id="rId250"/>
    <p:sldLayoutId id="2147484467" r:id="rId251"/>
    <p:sldLayoutId id="2147484468" r:id="rId252"/>
    <p:sldLayoutId id="2147484469" r:id="rId253"/>
    <p:sldLayoutId id="2147484473" r:id="rId254"/>
    <p:sldLayoutId id="2147484474" r:id="rId255"/>
    <p:sldLayoutId id="2147484475" r:id="rId256"/>
    <p:sldLayoutId id="2147484476" r:id="rId257"/>
    <p:sldLayoutId id="2147484477" r:id="rId258"/>
    <p:sldLayoutId id="2147484441" r:id="rId259"/>
    <p:sldLayoutId id="2147484478" r:id="rId260"/>
    <p:sldLayoutId id="2147483761" r:id="rId261"/>
    <p:sldLayoutId id="2147483762" r:id="rId262"/>
    <p:sldLayoutId id="2147483763" r:id="rId263"/>
    <p:sldLayoutId id="2147483764" r:id="rId264"/>
    <p:sldLayoutId id="2147484442" r:id="rId265"/>
    <p:sldLayoutId id="2147483766" r:id="rId266"/>
    <p:sldLayoutId id="2147483767" r:id="rId267"/>
    <p:sldLayoutId id="2147483768" r:id="rId268"/>
    <p:sldLayoutId id="2147483772" r:id="rId269"/>
    <p:sldLayoutId id="2147483773" r:id="rId270"/>
    <p:sldLayoutId id="2147483774" r:id="rId271"/>
    <p:sldLayoutId id="2147483775" r:id="rId272"/>
    <p:sldLayoutId id="2147483776" r:id="rId273"/>
    <p:sldLayoutId id="2147483777" r:id="rId274"/>
    <p:sldLayoutId id="2147483778" r:id="rId275"/>
    <p:sldLayoutId id="2147483779" r:id="rId276"/>
    <p:sldLayoutId id="2147483780" r:id="rId277"/>
    <p:sldLayoutId id="2147483781" r:id="rId278"/>
    <p:sldLayoutId id="2147483782" r:id="rId279"/>
    <p:sldLayoutId id="2147483783" r:id="rId280"/>
    <p:sldLayoutId id="2147483784" r:id="rId281"/>
    <p:sldLayoutId id="2147483785" r:id="rId282"/>
    <p:sldLayoutId id="2147483786" r:id="rId283"/>
    <p:sldLayoutId id="2147483787" r:id="rId284"/>
    <p:sldLayoutId id="2147483788" r:id="rId285"/>
    <p:sldLayoutId id="2147483789" r:id="rId286"/>
    <p:sldLayoutId id="2147484516" r:id="rId287"/>
    <p:sldLayoutId id="2147483791" r:id="rId288"/>
    <p:sldLayoutId id="2147483792" r:id="rId289"/>
    <p:sldLayoutId id="2147483793" r:id="rId290"/>
    <p:sldLayoutId id="2147483794" r:id="rId291"/>
    <p:sldLayoutId id="2147483795" r:id="rId292"/>
    <p:sldLayoutId id="2147483796" r:id="rId293"/>
    <p:sldLayoutId id="2147483797" r:id="rId294"/>
    <p:sldLayoutId id="2147483798" r:id="rId295"/>
    <p:sldLayoutId id="2147483799" r:id="rId296"/>
    <p:sldLayoutId id="2147483800" r:id="rId297"/>
    <p:sldLayoutId id="2147483801" r:id="rId298"/>
    <p:sldLayoutId id="2147483802" r:id="rId299"/>
    <p:sldLayoutId id="2147483803" r:id="rId300"/>
    <p:sldLayoutId id="2147483804" r:id="rId301"/>
    <p:sldLayoutId id="2147483769" r:id="rId302"/>
    <p:sldLayoutId id="2147483770" r:id="rId303"/>
    <p:sldLayoutId id="2147483771" r:id="rId304"/>
    <p:sldLayoutId id="2147485043" r:id="rId305"/>
    <p:sldLayoutId id="2147485044" r:id="rId306"/>
    <p:sldLayoutId id="2147485045" r:id="rId307"/>
    <p:sldLayoutId id="2147485049" r:id="rId308"/>
    <p:sldLayoutId id="2147485050" r:id="rId309"/>
    <p:sldLayoutId id="2147485051" r:id="rId310"/>
    <p:sldLayoutId id="2147485055" r:id="rId311"/>
    <p:sldLayoutId id="2147485056" r:id="rId312"/>
    <p:sldLayoutId id="2147485057" r:id="rId313"/>
    <p:sldLayoutId id="2147485058" r:id="rId314"/>
    <p:sldLayoutId id="2147485059" r:id="rId315"/>
    <p:sldLayoutId id="2147485060" r:id="rId316"/>
    <p:sldLayoutId id="2147485136" r:id="rId317"/>
    <p:sldLayoutId id="2147485061" r:id="rId318"/>
    <p:sldLayoutId id="2147485062" r:id="rId319"/>
    <p:sldLayoutId id="2147485063" r:id="rId320"/>
    <p:sldLayoutId id="2147485064" r:id="rId321"/>
    <p:sldLayoutId id="2147485065" r:id="rId322"/>
    <p:sldLayoutId id="2147485066" r:id="rId323"/>
    <p:sldLayoutId id="2147485067" r:id="rId324"/>
    <p:sldLayoutId id="2147485068" r:id="rId325"/>
    <p:sldLayoutId id="2147485072" r:id="rId326"/>
    <p:sldLayoutId id="2147485073" r:id="rId327"/>
    <p:sldLayoutId id="2147485074" r:id="rId328"/>
    <p:sldLayoutId id="2147483805" r:id="rId329"/>
    <p:sldLayoutId id="2147483806" r:id="rId330"/>
    <p:sldLayoutId id="2147483807" r:id="rId331"/>
    <p:sldLayoutId id="2147483808" r:id="rId332"/>
    <p:sldLayoutId id="2147485087" r:id="rId333"/>
    <p:sldLayoutId id="2147485088" r:id="rId334"/>
    <p:sldLayoutId id="2147485089" r:id="rId335"/>
    <p:sldLayoutId id="2147485090" r:id="rId336"/>
    <p:sldLayoutId id="2147485091" r:id="rId337"/>
    <p:sldLayoutId id="2147485092" r:id="rId338"/>
    <p:sldLayoutId id="2147485093" r:id="rId339"/>
    <p:sldLayoutId id="2147485094" r:id="rId340"/>
    <p:sldLayoutId id="2147485095" r:id="rId341"/>
    <p:sldLayoutId id="2147485096" r:id="rId342"/>
    <p:sldLayoutId id="2147485097" r:id="rId343"/>
    <p:sldLayoutId id="2147485098" r:id="rId344"/>
    <p:sldLayoutId id="2147485099" r:id="rId345"/>
    <p:sldLayoutId id="2147485100" r:id="rId346"/>
    <p:sldLayoutId id="2147485101" r:id="rId347"/>
    <p:sldLayoutId id="2147485102" r:id="rId348"/>
    <p:sldLayoutId id="2147485103" r:id="rId349"/>
    <p:sldLayoutId id="2147485104" r:id="rId350"/>
    <p:sldLayoutId id="2147485105" r:id="rId351"/>
    <p:sldLayoutId id="2147485106" r:id="rId352"/>
    <p:sldLayoutId id="2147485107" r:id="rId353"/>
    <p:sldLayoutId id="2147485108" r:id="rId354"/>
    <p:sldLayoutId id="2147485109" r:id="rId355"/>
    <p:sldLayoutId id="2147485110" r:id="rId356"/>
    <p:sldLayoutId id="2147485111" r:id="rId357"/>
    <p:sldLayoutId id="2147485112" r:id="rId358"/>
    <p:sldLayoutId id="2147485113" r:id="rId359"/>
    <p:sldLayoutId id="2147485114" r:id="rId360"/>
    <p:sldLayoutId id="2147485115" r:id="rId361"/>
    <p:sldLayoutId id="2147485116" r:id="rId362"/>
    <p:sldLayoutId id="2147485117" r:id="rId363"/>
    <p:sldLayoutId id="2147485118" r:id="rId364"/>
    <p:sldLayoutId id="2147483841" r:id="rId365"/>
    <p:sldLayoutId id="2147483842" r:id="rId366"/>
    <p:sldLayoutId id="2147483843" r:id="rId367"/>
    <p:sldLayoutId id="2147483844" r:id="rId368"/>
    <p:sldLayoutId id="2147483845" r:id="rId369"/>
    <p:sldLayoutId id="2147485146" r:id="rId370"/>
    <p:sldLayoutId id="2147485147" r:id="rId371"/>
    <p:sldLayoutId id="2147483848" r:id="rId372"/>
    <p:sldLayoutId id="2147483849" r:id="rId373"/>
    <p:sldLayoutId id="2147483850" r:id="rId374"/>
    <p:sldLayoutId id="2147483851" r:id="rId375"/>
    <p:sldLayoutId id="2147483852" r:id="rId376"/>
    <p:sldLayoutId id="2147483853" r:id="rId377"/>
    <p:sldLayoutId id="2147483854" r:id="rId378"/>
    <p:sldLayoutId id="2147483855" r:id="rId379"/>
    <p:sldLayoutId id="2147483856" r:id="rId380"/>
    <p:sldLayoutId id="2147483857" r:id="rId381"/>
    <p:sldLayoutId id="2147483858" r:id="rId382"/>
    <p:sldLayoutId id="2147483859" r:id="rId383"/>
    <p:sldLayoutId id="2147483860" r:id="rId384"/>
    <p:sldLayoutId id="2147483861" r:id="rId385"/>
    <p:sldLayoutId id="2147483862" r:id="rId386"/>
    <p:sldLayoutId id="2147483863" r:id="rId387"/>
    <p:sldLayoutId id="2147483864" r:id="rId388"/>
    <p:sldLayoutId id="2147483865" r:id="rId389"/>
    <p:sldLayoutId id="2147483866" r:id="rId390"/>
    <p:sldLayoutId id="2147483867" r:id="rId391"/>
    <p:sldLayoutId id="2147483868" r:id="rId392"/>
    <p:sldLayoutId id="2147483869" r:id="rId393"/>
    <p:sldLayoutId id="2147483870" r:id="rId394"/>
    <p:sldLayoutId id="2147483871" r:id="rId395"/>
    <p:sldLayoutId id="2147483872" r:id="rId396"/>
    <p:sldLayoutId id="2147483873" r:id="rId397"/>
    <p:sldLayoutId id="2147483874" r:id="rId398"/>
    <p:sldLayoutId id="2147483875" r:id="rId399"/>
    <p:sldLayoutId id="2147483876" r:id="rId400"/>
    <p:sldLayoutId id="2147483877" r:id="rId401"/>
    <p:sldLayoutId id="2147483878" r:id="rId402"/>
    <p:sldLayoutId id="2147483879" r:id="rId403"/>
    <p:sldLayoutId id="2147483880" r:id="rId404"/>
    <p:sldLayoutId id="2147483881" r:id="rId405"/>
    <p:sldLayoutId id="2147483882" r:id="rId406"/>
    <p:sldLayoutId id="2147483883" r:id="rId407"/>
    <p:sldLayoutId id="2147483884" r:id="rId408"/>
    <p:sldLayoutId id="2147483885" r:id="rId409"/>
    <p:sldLayoutId id="2147483886" r:id="rId410"/>
    <p:sldLayoutId id="2147483887" r:id="rId411"/>
    <p:sldLayoutId id="2147483888" r:id="rId412"/>
    <p:sldLayoutId id="2147483889" r:id="rId413"/>
    <p:sldLayoutId id="2147483890" r:id="rId414"/>
    <p:sldLayoutId id="2147483891" r:id="rId415"/>
    <p:sldLayoutId id="2147483892" r:id="rId416"/>
    <p:sldLayoutId id="2147485230" r:id="rId417"/>
    <p:sldLayoutId id="2147484453" r:id="rId418"/>
    <p:sldLayoutId id="2147485164" r:id="rId419"/>
    <p:sldLayoutId id="2147485165" r:id="rId420"/>
    <p:sldLayoutId id="2147485166" r:id="rId421"/>
    <p:sldLayoutId id="2147485231" r:id="rId422"/>
    <p:sldLayoutId id="2147484642" r:id="rId423"/>
    <p:sldLayoutId id="2147484643" r:id="rId424"/>
    <p:sldLayoutId id="2147484644" r:id="rId425"/>
    <p:sldLayoutId id="2147484373" r:id="rId426"/>
    <p:sldLayoutId id="2147484374" r:id="rId427"/>
    <p:sldLayoutId id="2147484375" r:id="rId428"/>
    <p:sldLayoutId id="2147484376" r:id="rId429"/>
    <p:sldLayoutId id="2147484377" r:id="rId430"/>
    <p:sldLayoutId id="2147484378" r:id="rId431"/>
    <p:sldLayoutId id="2147484379" r:id="rId432"/>
    <p:sldLayoutId id="2147484380" r:id="rId433"/>
    <p:sldLayoutId id="2147484381" r:id="rId434"/>
    <p:sldLayoutId id="2147484382" r:id="rId435"/>
    <p:sldLayoutId id="2147484383" r:id="rId436"/>
    <p:sldLayoutId id="2147484384" r:id="rId437"/>
    <p:sldLayoutId id="2147483897" r:id="rId438"/>
    <p:sldLayoutId id="2147483898" r:id="rId439"/>
    <p:sldLayoutId id="2147483899" r:id="rId440"/>
    <p:sldLayoutId id="2147483900" r:id="rId441"/>
    <p:sldLayoutId id="2147483901" r:id="rId442"/>
    <p:sldLayoutId id="2147483902" r:id="rId443"/>
    <p:sldLayoutId id="2147483903" r:id="rId444"/>
    <p:sldLayoutId id="2147483904" r:id="rId445"/>
    <p:sldLayoutId id="2147483905" r:id="rId446"/>
    <p:sldLayoutId id="2147483906" r:id="rId447"/>
    <p:sldLayoutId id="2147483907" r:id="rId448"/>
    <p:sldLayoutId id="2147483908" r:id="rId449"/>
    <p:sldLayoutId id="2147483909" r:id="rId450"/>
    <p:sldLayoutId id="2147483910" r:id="rId451"/>
    <p:sldLayoutId id="2147483911" r:id="rId452"/>
    <p:sldLayoutId id="2147483912" r:id="rId453"/>
    <p:sldLayoutId id="2147483913" r:id="rId454"/>
    <p:sldLayoutId id="2147483914" r:id="rId455"/>
    <p:sldLayoutId id="2147483915" r:id="rId456"/>
    <p:sldLayoutId id="2147483916" r:id="rId457"/>
    <p:sldLayoutId id="2147483917" r:id="rId458"/>
    <p:sldLayoutId id="2147483918" r:id="rId459"/>
    <p:sldLayoutId id="2147483919" r:id="rId460"/>
    <p:sldLayoutId id="2147483920" r:id="rId461"/>
    <p:sldLayoutId id="2147483921" r:id="rId462"/>
    <p:sldLayoutId id="2147483922" r:id="rId463"/>
    <p:sldLayoutId id="2147484385" r:id="rId464"/>
    <p:sldLayoutId id="2147483748" r:id="rId465"/>
    <p:sldLayoutId id="2147483749" r:id="rId466"/>
    <p:sldLayoutId id="2147483750" r:id="rId467"/>
    <p:sldLayoutId id="2147483751" r:id="rId468"/>
    <p:sldLayoutId id="2147483752" r:id="rId469"/>
    <p:sldLayoutId id="2147483753" r:id="rId470"/>
    <p:sldLayoutId id="2147483754" r:id="rId471"/>
    <p:sldLayoutId id="2147483755" r:id="rId472"/>
    <p:sldLayoutId id="2147483756" r:id="rId473"/>
    <p:sldLayoutId id="2147483757" r:id="rId474"/>
    <p:sldLayoutId id="2147483758" r:id="rId475"/>
    <p:sldLayoutId id="2147484404" r:id="rId476"/>
    <p:sldLayoutId id="2147483760" r:id="rId477"/>
    <p:sldLayoutId id="2147484360" r:id="rId478"/>
    <p:sldLayoutId id="2147484361" r:id="rId479"/>
    <p:sldLayoutId id="2147484362" r:id="rId480"/>
    <p:sldLayoutId id="2147484363" r:id="rId481"/>
    <p:sldLayoutId id="2147484364" r:id="rId482"/>
    <p:sldLayoutId id="2147484365" r:id="rId483"/>
    <p:sldLayoutId id="2147484366" r:id="rId484"/>
    <p:sldLayoutId id="2147484367" r:id="rId485"/>
    <p:sldLayoutId id="2147484368" r:id="rId486"/>
    <p:sldLayoutId id="2147484369" r:id="rId487"/>
    <p:sldLayoutId id="2147484370" r:id="rId488"/>
    <p:sldLayoutId id="2147484371" r:id="rId489"/>
    <p:sldLayoutId id="2147484372" r:id="rId490"/>
    <p:sldLayoutId id="2147484515" r:id="rId491"/>
    <p:sldLayoutId id="2147483809" r:id="rId492"/>
    <p:sldLayoutId id="2147483810" r:id="rId493"/>
    <p:sldLayoutId id="2147483811" r:id="rId494"/>
    <p:sldLayoutId id="2147483812" r:id="rId495"/>
    <p:sldLayoutId id="2147483813" r:id="rId496"/>
    <p:sldLayoutId id="2147483814" r:id="rId497"/>
    <p:sldLayoutId id="2147483815" r:id="rId498"/>
    <p:sldLayoutId id="2147483816" r:id="rId499"/>
    <p:sldLayoutId id="2147483817" r:id="rId500"/>
    <p:sldLayoutId id="2147483818" r:id="rId501"/>
    <p:sldLayoutId id="2147483819" r:id="rId502"/>
    <p:sldLayoutId id="2147483820" r:id="rId503"/>
    <p:sldLayoutId id="2147483821" r:id="rId504"/>
    <p:sldLayoutId id="2147483822" r:id="rId505"/>
    <p:sldLayoutId id="2147483823" r:id="rId506"/>
    <p:sldLayoutId id="2147483824" r:id="rId507"/>
    <p:sldLayoutId id="2147483825" r:id="rId508"/>
    <p:sldLayoutId id="2147483826" r:id="rId509"/>
    <p:sldLayoutId id="2147483827" r:id="rId510"/>
    <p:sldLayoutId id="2147483828" r:id="rId511"/>
    <p:sldLayoutId id="2147483829" r:id="rId512"/>
    <p:sldLayoutId id="2147483830" r:id="rId513"/>
    <p:sldLayoutId id="2147483831" r:id="rId514"/>
    <p:sldLayoutId id="2147483832" r:id="rId515"/>
    <p:sldLayoutId id="2147483833" r:id="rId516"/>
    <p:sldLayoutId id="2147483834" r:id="rId517"/>
    <p:sldLayoutId id="2147483835" r:id="rId518"/>
    <p:sldLayoutId id="2147483836" r:id="rId519"/>
    <p:sldLayoutId id="2147483837" r:id="rId520"/>
    <p:sldLayoutId id="2147483838" r:id="rId521"/>
    <p:sldLayoutId id="2147483839" r:id="rId522"/>
    <p:sldLayoutId id="2147483840" r:id="rId523"/>
    <p:sldLayoutId id="2147485121" r:id="rId524"/>
    <p:sldLayoutId id="2147485122" r:id="rId525"/>
    <p:sldLayoutId id="2147485123" r:id="rId526"/>
    <p:sldLayoutId id="2147485124" r:id="rId527"/>
    <p:sldLayoutId id="2147485125" r:id="rId528"/>
    <p:sldLayoutId id="2147485126" r:id="rId529"/>
    <p:sldLayoutId id="2147485127" r:id="rId530"/>
    <p:sldLayoutId id="2147485128" r:id="rId531"/>
    <p:sldLayoutId id="2147485129" r:id="rId532"/>
    <p:sldLayoutId id="2147485130" r:id="rId533"/>
    <p:sldLayoutId id="2147485131" r:id="rId534"/>
    <p:sldLayoutId id="2147485017" r:id="rId535"/>
    <p:sldLayoutId id="2147485132" r:id="rId536"/>
    <p:sldLayoutId id="2147485133" r:id="rId537"/>
    <p:sldLayoutId id="2147485134" r:id="rId538"/>
    <p:sldLayoutId id="2147485135" r:id="rId539"/>
    <p:sldLayoutId id="2147483940" r:id="rId540"/>
    <p:sldLayoutId id="2147483941" r:id="rId541"/>
    <p:sldLayoutId id="2147483942" r:id="rId542"/>
    <p:sldLayoutId id="2147483943" r:id="rId543"/>
    <p:sldLayoutId id="2147483944" r:id="rId544"/>
    <p:sldLayoutId id="2147483945" r:id="rId545"/>
    <p:sldLayoutId id="2147483946" r:id="rId546"/>
    <p:sldLayoutId id="2147483947" r:id="rId547"/>
    <p:sldLayoutId id="2147483948" r:id="rId548"/>
    <p:sldLayoutId id="2147483949" r:id="rId549"/>
    <p:sldLayoutId id="2147483950" r:id="rId550"/>
    <p:sldLayoutId id="2147484984" r:id="rId551"/>
    <p:sldLayoutId id="2147484986" r:id="rId552"/>
    <p:sldLayoutId id="2147483953" r:id="rId553"/>
    <p:sldLayoutId id="2147483954" r:id="rId554"/>
    <p:sldLayoutId id="2147483955" r:id="rId555"/>
    <p:sldLayoutId id="2147485145" r:id="rId556"/>
    <p:sldLayoutId id="2147483957" r:id="rId557"/>
    <p:sldLayoutId id="2147483958" r:id="rId558"/>
    <p:sldLayoutId id="2147483959" r:id="rId559"/>
    <p:sldLayoutId id="2147483960" r:id="rId560"/>
    <p:sldLayoutId id="2147483961" r:id="rId561"/>
    <p:sldLayoutId id="2147483962" r:id="rId562"/>
  </p:sldLayoutIdLst>
  <p:hf hdr="0" ft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13A29A9-45EC-A849-B4F9-191564DD07A3}"/>
              </a:ext>
            </a:extLst>
          </p:cNvPr>
          <p:cNvSpPr/>
          <p:nvPr userDrawn="1"/>
        </p:nvSpPr>
        <p:spPr>
          <a:xfrm>
            <a:off x="0" y="6176963"/>
            <a:ext cx="12192000" cy="681037"/>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8044EFC3-4B60-C84E-9896-206868E8E65D}"/>
              </a:ext>
            </a:extLst>
          </p:cNvPr>
          <p:cNvSpPr>
            <a:spLocks noGrp="1"/>
          </p:cNvSpPr>
          <p:nvPr>
            <p:ph type="title"/>
          </p:nvPr>
        </p:nvSpPr>
        <p:spPr>
          <a:xfrm>
            <a:off x="288925" y="1825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F52AE47-B893-C646-9969-743B9BCECB6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C491ED99-7590-E44E-9A4E-633F728847A9}"/>
              </a:ext>
            </a:extLst>
          </p:cNvPr>
          <p:cNvSpPr>
            <a:spLocks noGrp="1"/>
          </p:cNvSpPr>
          <p:nvPr>
            <p:ph type="sldNum" sz="quarter" idx="4"/>
          </p:nvPr>
        </p:nvSpPr>
        <p:spPr>
          <a:xfrm>
            <a:off x="9159875"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13D703BF-151A-0D40-8508-CABBAD09F9A9}" type="slidenum">
              <a:rPr lang="en-US" smtClean="0"/>
              <a:pPr/>
              <a:t>‹#›</a:t>
            </a:fld>
            <a:endParaRPr lang="en-US">
              <a:solidFill>
                <a:schemeClr val="bg1"/>
              </a:solidFill>
            </a:endParaRPr>
          </a:p>
        </p:txBody>
      </p:sp>
      <p:pic>
        <p:nvPicPr>
          <p:cNvPr id="9" name="Picture 8">
            <a:extLst>
              <a:ext uri="{FF2B5EF4-FFF2-40B4-BE49-F238E27FC236}">
                <a16:creationId xmlns:a16="http://schemas.microsoft.com/office/drawing/2014/main" id="{27DDB81D-D9B9-EE4D-B56C-E79F7CE4A067}"/>
              </a:ext>
            </a:extLst>
          </p:cNvPr>
          <p:cNvPicPr>
            <a:picLocks noChangeAspect="1"/>
          </p:cNvPicPr>
          <p:nvPr userDrawn="1"/>
        </p:nvPicPr>
        <p:blipFill>
          <a:blip r:embed="rId5"/>
          <a:stretch>
            <a:fillRect/>
          </a:stretch>
        </p:blipFill>
        <p:spPr>
          <a:xfrm>
            <a:off x="288925" y="6311900"/>
            <a:ext cx="1098550" cy="406400"/>
          </a:xfrm>
          <a:prstGeom prst="rect">
            <a:avLst/>
          </a:prstGeom>
        </p:spPr>
      </p:pic>
    </p:spTree>
    <p:extLst>
      <p:ext uri="{BB962C8B-B14F-4D97-AF65-F5344CB8AC3E}">
        <p14:creationId xmlns:p14="http://schemas.microsoft.com/office/powerpoint/2010/main" val="1516296964"/>
      </p:ext>
    </p:extLst>
  </p:cSld>
  <p:clrMap bg1="lt1" tx1="dk1" bg2="lt2" tx2="dk2" accent1="accent1" accent2="accent2" accent3="accent3" accent4="accent4" accent5="accent5" accent6="accent6" hlink="hlink" folHlink="folHlink"/>
  <p:sldLayoutIdLst>
    <p:sldLayoutId id="2147485808" r:id="rId1"/>
    <p:sldLayoutId id="2147485809" r:id="rId2"/>
    <p:sldLayoutId id="2147485810" r:id="rId3"/>
  </p:sldLayoutIdLst>
  <p:hf hdr="0" ftr="0" dt="0"/>
  <p:txStyles>
    <p:titleStyle>
      <a:lvl1pPr algn="l" defTabSz="914400" rtl="0" eaLnBrk="1" latinLnBrk="0" hangingPunct="1">
        <a:lnSpc>
          <a:spcPct val="90000"/>
        </a:lnSpc>
        <a:spcBef>
          <a:spcPct val="0"/>
        </a:spcBef>
        <a:buNone/>
        <a:defRPr sz="4400" kern="1200">
          <a:solidFill>
            <a:schemeClr val="tx2"/>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5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hyperlink" Target="mailto:leslie.amani@cdph.ca.gov" TargetMode="External"/><Relationship Id="rId1" Type="http://schemas.openxmlformats.org/officeDocument/2006/relationships/slideLayout" Target="../slideLayouts/slideLayout205.xml"/><Relationship Id="rId4" Type="http://schemas.openxmlformats.org/officeDocument/2006/relationships/hyperlink" Target="https://www.cdph.ca.gov/Programs/CID/DCDC/Pages/Guidance.aspx"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eziz.org/covid/30conversations/" TargetMode="External"/><Relationship Id="rId2" Type="http://schemas.openxmlformats.org/officeDocument/2006/relationships/hyperlink" Target="https://cdph-ca-gov.zoom.us/meeting/register/tZ0uceuhrz0iH9FwingjyRJZXpbZKw4ngx3M" TargetMode="External"/><Relationship Id="rId1" Type="http://schemas.openxmlformats.org/officeDocument/2006/relationships/slideLayout" Target="../slideLayouts/slideLayout52.xml"/><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hyperlink" Target="https://emergency.cdc.gov/coca/calls/2021/callinfo_090921.asp" TargetMode="External"/><Relationship Id="rId7" Type="http://schemas.openxmlformats.org/officeDocument/2006/relationships/image" Target="../media/image24.png"/><Relationship Id="rId2" Type="http://schemas.openxmlformats.org/officeDocument/2006/relationships/hyperlink" Target="https://emergency.cdc.gov/coca/ppt/2021/090921_slide.pdf" TargetMode="External"/><Relationship Id="rId1" Type="http://schemas.openxmlformats.org/officeDocument/2006/relationships/slideLayout" Target="../slideLayouts/slideLayout52.xml"/><Relationship Id="rId6" Type="http://schemas.openxmlformats.org/officeDocument/2006/relationships/hyperlink" Target="https://eziz.org/covid/30conversations/" TargetMode="External"/><Relationship Id="rId5" Type="http://schemas.openxmlformats.org/officeDocument/2006/relationships/hyperlink" Target="https://www.youtube.com/watch?v=e3uSztauG0k" TargetMode="External"/><Relationship Id="rId4" Type="http://schemas.openxmlformats.org/officeDocument/2006/relationships/hyperlink" Target="https://eziz.org/assets/docs/COVID19/CrucialConversationWebinar2021Sept.pdf" TargetMode="External"/></Relationships>
</file>

<file path=ppt/slides/_rels/slide13.xml.rels><?xml version="1.0" encoding="UTF-8" standalone="yes"?>
<Relationships xmlns="http://schemas.openxmlformats.org/package/2006/relationships"><Relationship Id="rId3" Type="http://schemas.openxmlformats.org/officeDocument/2006/relationships/hyperlink" Target="https://www.cdc.gov/vaccines/covid-19/vaccinate-with-confidence/community.html" TargetMode="External"/><Relationship Id="rId2" Type="http://schemas.openxmlformats.org/officeDocument/2006/relationships/image" Target="../media/image26.png"/><Relationship Id="rId1" Type="http://schemas.openxmlformats.org/officeDocument/2006/relationships/slideLayout" Target="../slideLayouts/slideLayout5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5.xml.rels><?xml version="1.0" encoding="UTF-8" standalone="yes"?>
<Relationships xmlns="http://schemas.openxmlformats.org/package/2006/relationships"><Relationship Id="rId3" Type="http://schemas.openxmlformats.org/officeDocument/2006/relationships/hyperlink" Target="https://covid19.ca.gov/vaccination-progress-data/" TargetMode="External"/><Relationship Id="rId2" Type="http://schemas.openxmlformats.org/officeDocument/2006/relationships/notesSlide" Target="../notesSlides/notesSlide5.xml"/><Relationship Id="rId1" Type="http://schemas.openxmlformats.org/officeDocument/2006/relationships/slideLayout" Target="../slideLayouts/slideLayout52.xml"/><Relationship Id="rId4" Type="http://schemas.openxmlformats.org/officeDocument/2006/relationships/image" Target="../media/image27.jpeg"/></Relationships>
</file>

<file path=ppt/slides/_rels/slide1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covid19.ca.gov/vaccination-progress-data/" TargetMode="External"/><Relationship Id="rId1" Type="http://schemas.openxmlformats.org/officeDocument/2006/relationships/slideLayout" Target="../slideLayouts/slideLayout52.xml"/></Relationships>
</file>

<file path=ppt/slides/_rels/slide17.xml.rels><?xml version="1.0" encoding="UTF-8" standalone="yes"?>
<Relationships xmlns="http://schemas.openxmlformats.org/package/2006/relationships"><Relationship Id="rId3" Type="http://schemas.openxmlformats.org/officeDocument/2006/relationships/hyperlink" Target="https://covid19.ca.gov/state-dashboard/&#160;" TargetMode="External"/><Relationship Id="rId2" Type="http://schemas.openxmlformats.org/officeDocument/2006/relationships/hyperlink" Target="https://covid19.ca.gov/state-dashboard/" TargetMode="External"/><Relationship Id="rId1" Type="http://schemas.openxmlformats.org/officeDocument/2006/relationships/slideLayout" Target="../slideLayouts/slideLayout52.xml"/><Relationship Id="rId6" Type="http://schemas.openxmlformats.org/officeDocument/2006/relationships/hyperlink" Target="https://covid19.ca.gov/vaccination-progress-data/" TargetMode="External"/><Relationship Id="rId5" Type="http://schemas.openxmlformats.org/officeDocument/2006/relationships/image" Target="../media/image30.png"/><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2.xml"/></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8" Type="http://schemas.openxmlformats.org/officeDocument/2006/relationships/image" Target="../media/image31.emf"/><Relationship Id="rId3" Type="http://schemas.openxmlformats.org/officeDocument/2006/relationships/tags" Target="../tags/tag3194.xml"/><Relationship Id="rId7" Type="http://schemas.openxmlformats.org/officeDocument/2006/relationships/oleObject" Target="../embeddings/oleObject532.bin"/><Relationship Id="rId2" Type="http://schemas.openxmlformats.org/officeDocument/2006/relationships/tags" Target="../tags/tag3193.xml"/><Relationship Id="rId1" Type="http://schemas.openxmlformats.org/officeDocument/2006/relationships/vmlDrawing" Target="../drawings/vmlDrawing532.vml"/><Relationship Id="rId6" Type="http://schemas.openxmlformats.org/officeDocument/2006/relationships/slideLayout" Target="../slideLayouts/slideLayout72.xml"/><Relationship Id="rId5" Type="http://schemas.openxmlformats.org/officeDocument/2006/relationships/tags" Target="../tags/tag3196.xml"/><Relationship Id="rId4" Type="http://schemas.openxmlformats.org/officeDocument/2006/relationships/tags" Target="../tags/tag3195.xml"/></Relationships>
</file>

<file path=ppt/slides/_rels/slide21.xml.rels><?xml version="1.0" encoding="UTF-8" standalone="yes"?>
<Relationships xmlns="http://schemas.openxmlformats.org/package/2006/relationships"><Relationship Id="rId13" Type="http://schemas.openxmlformats.org/officeDocument/2006/relationships/tags" Target="../tags/tag3208.xml"/><Relationship Id="rId18" Type="http://schemas.openxmlformats.org/officeDocument/2006/relationships/tags" Target="../tags/tag3213.xml"/><Relationship Id="rId26" Type="http://schemas.openxmlformats.org/officeDocument/2006/relationships/tags" Target="../tags/tag3221.xml"/><Relationship Id="rId39" Type="http://schemas.openxmlformats.org/officeDocument/2006/relationships/tags" Target="../tags/tag3234.xml"/><Relationship Id="rId21" Type="http://schemas.openxmlformats.org/officeDocument/2006/relationships/tags" Target="../tags/tag3216.xml"/><Relationship Id="rId34" Type="http://schemas.openxmlformats.org/officeDocument/2006/relationships/tags" Target="../tags/tag3229.xml"/><Relationship Id="rId42" Type="http://schemas.openxmlformats.org/officeDocument/2006/relationships/tags" Target="../tags/tag3237.xml"/><Relationship Id="rId47" Type="http://schemas.openxmlformats.org/officeDocument/2006/relationships/notesSlide" Target="../notesSlides/notesSlide7.xml"/><Relationship Id="rId50" Type="http://schemas.openxmlformats.org/officeDocument/2006/relationships/chart" Target="../charts/chart1.xml"/><Relationship Id="rId7" Type="http://schemas.openxmlformats.org/officeDocument/2006/relationships/tags" Target="../tags/tag3202.xml"/><Relationship Id="rId2" Type="http://schemas.openxmlformats.org/officeDocument/2006/relationships/tags" Target="../tags/tag3197.xml"/><Relationship Id="rId16" Type="http://schemas.openxmlformats.org/officeDocument/2006/relationships/tags" Target="../tags/tag3211.xml"/><Relationship Id="rId29" Type="http://schemas.openxmlformats.org/officeDocument/2006/relationships/tags" Target="../tags/tag3224.xml"/><Relationship Id="rId11" Type="http://schemas.openxmlformats.org/officeDocument/2006/relationships/tags" Target="../tags/tag3206.xml"/><Relationship Id="rId24" Type="http://schemas.openxmlformats.org/officeDocument/2006/relationships/tags" Target="../tags/tag3219.xml"/><Relationship Id="rId32" Type="http://schemas.openxmlformats.org/officeDocument/2006/relationships/tags" Target="../tags/tag3227.xml"/><Relationship Id="rId37" Type="http://schemas.openxmlformats.org/officeDocument/2006/relationships/tags" Target="../tags/tag3232.xml"/><Relationship Id="rId40" Type="http://schemas.openxmlformats.org/officeDocument/2006/relationships/tags" Target="../tags/tag3235.xml"/><Relationship Id="rId45" Type="http://schemas.openxmlformats.org/officeDocument/2006/relationships/tags" Target="../tags/tag3240.xml"/><Relationship Id="rId5" Type="http://schemas.openxmlformats.org/officeDocument/2006/relationships/tags" Target="../tags/tag3200.xml"/><Relationship Id="rId15" Type="http://schemas.openxmlformats.org/officeDocument/2006/relationships/tags" Target="../tags/tag3210.xml"/><Relationship Id="rId23" Type="http://schemas.openxmlformats.org/officeDocument/2006/relationships/tags" Target="../tags/tag3218.xml"/><Relationship Id="rId28" Type="http://schemas.openxmlformats.org/officeDocument/2006/relationships/tags" Target="../tags/tag3223.xml"/><Relationship Id="rId36" Type="http://schemas.openxmlformats.org/officeDocument/2006/relationships/tags" Target="../tags/tag3231.xml"/><Relationship Id="rId49" Type="http://schemas.openxmlformats.org/officeDocument/2006/relationships/image" Target="../media/image32.emf"/><Relationship Id="rId10" Type="http://schemas.openxmlformats.org/officeDocument/2006/relationships/tags" Target="../tags/tag3205.xml"/><Relationship Id="rId19" Type="http://schemas.openxmlformats.org/officeDocument/2006/relationships/tags" Target="../tags/tag3214.xml"/><Relationship Id="rId31" Type="http://schemas.openxmlformats.org/officeDocument/2006/relationships/tags" Target="../tags/tag3226.xml"/><Relationship Id="rId44" Type="http://schemas.openxmlformats.org/officeDocument/2006/relationships/tags" Target="../tags/tag3239.xml"/><Relationship Id="rId4" Type="http://schemas.openxmlformats.org/officeDocument/2006/relationships/tags" Target="../tags/tag3199.xml"/><Relationship Id="rId9" Type="http://schemas.openxmlformats.org/officeDocument/2006/relationships/tags" Target="../tags/tag3204.xml"/><Relationship Id="rId14" Type="http://schemas.openxmlformats.org/officeDocument/2006/relationships/tags" Target="../tags/tag3209.xml"/><Relationship Id="rId22" Type="http://schemas.openxmlformats.org/officeDocument/2006/relationships/tags" Target="../tags/tag3217.xml"/><Relationship Id="rId27" Type="http://schemas.openxmlformats.org/officeDocument/2006/relationships/tags" Target="../tags/tag3222.xml"/><Relationship Id="rId30" Type="http://schemas.openxmlformats.org/officeDocument/2006/relationships/tags" Target="../tags/tag3225.xml"/><Relationship Id="rId35" Type="http://schemas.openxmlformats.org/officeDocument/2006/relationships/tags" Target="../tags/tag3230.xml"/><Relationship Id="rId43" Type="http://schemas.openxmlformats.org/officeDocument/2006/relationships/tags" Target="../tags/tag3238.xml"/><Relationship Id="rId48" Type="http://schemas.openxmlformats.org/officeDocument/2006/relationships/oleObject" Target="../embeddings/oleObject533.bin"/><Relationship Id="rId8" Type="http://schemas.openxmlformats.org/officeDocument/2006/relationships/tags" Target="../tags/tag3203.xml"/><Relationship Id="rId3" Type="http://schemas.openxmlformats.org/officeDocument/2006/relationships/tags" Target="../tags/tag3198.xml"/><Relationship Id="rId12" Type="http://schemas.openxmlformats.org/officeDocument/2006/relationships/tags" Target="../tags/tag3207.xml"/><Relationship Id="rId17" Type="http://schemas.openxmlformats.org/officeDocument/2006/relationships/tags" Target="../tags/tag3212.xml"/><Relationship Id="rId25" Type="http://schemas.openxmlformats.org/officeDocument/2006/relationships/tags" Target="../tags/tag3220.xml"/><Relationship Id="rId33" Type="http://schemas.openxmlformats.org/officeDocument/2006/relationships/tags" Target="../tags/tag3228.xml"/><Relationship Id="rId38" Type="http://schemas.openxmlformats.org/officeDocument/2006/relationships/tags" Target="../tags/tag3233.xml"/><Relationship Id="rId46" Type="http://schemas.openxmlformats.org/officeDocument/2006/relationships/slideLayout" Target="../slideLayouts/slideLayout72.xml"/><Relationship Id="rId20" Type="http://schemas.openxmlformats.org/officeDocument/2006/relationships/tags" Target="../tags/tag3215.xml"/><Relationship Id="rId41" Type="http://schemas.openxmlformats.org/officeDocument/2006/relationships/tags" Target="../tags/tag3236.xml"/><Relationship Id="rId1" Type="http://schemas.openxmlformats.org/officeDocument/2006/relationships/vmlDrawing" Target="../drawings/vmlDrawing533.vml"/><Relationship Id="rId6" Type="http://schemas.openxmlformats.org/officeDocument/2006/relationships/tags" Target="../tags/tag3201.xml"/></Relationships>
</file>

<file path=ppt/slides/_rels/slide22.xml.rels><?xml version="1.0" encoding="UTF-8" standalone="yes"?>
<Relationships xmlns="http://schemas.openxmlformats.org/package/2006/relationships"><Relationship Id="rId13" Type="http://schemas.openxmlformats.org/officeDocument/2006/relationships/tags" Target="../tags/tag3252.xml"/><Relationship Id="rId18" Type="http://schemas.openxmlformats.org/officeDocument/2006/relationships/tags" Target="../tags/tag3257.xml"/><Relationship Id="rId26" Type="http://schemas.openxmlformats.org/officeDocument/2006/relationships/tags" Target="../tags/tag3265.xml"/><Relationship Id="rId39" Type="http://schemas.openxmlformats.org/officeDocument/2006/relationships/tags" Target="../tags/tag3278.xml"/><Relationship Id="rId21" Type="http://schemas.openxmlformats.org/officeDocument/2006/relationships/tags" Target="../tags/tag3260.xml"/><Relationship Id="rId34" Type="http://schemas.openxmlformats.org/officeDocument/2006/relationships/tags" Target="../tags/tag3273.xml"/><Relationship Id="rId42" Type="http://schemas.openxmlformats.org/officeDocument/2006/relationships/tags" Target="../tags/tag3281.xml"/><Relationship Id="rId47" Type="http://schemas.openxmlformats.org/officeDocument/2006/relationships/slideLayout" Target="../slideLayouts/slideLayout72.xml"/><Relationship Id="rId50" Type="http://schemas.openxmlformats.org/officeDocument/2006/relationships/image" Target="../media/image32.emf"/><Relationship Id="rId7" Type="http://schemas.openxmlformats.org/officeDocument/2006/relationships/tags" Target="../tags/tag3246.xml"/><Relationship Id="rId2" Type="http://schemas.openxmlformats.org/officeDocument/2006/relationships/tags" Target="../tags/tag3241.xml"/><Relationship Id="rId16" Type="http://schemas.openxmlformats.org/officeDocument/2006/relationships/tags" Target="../tags/tag3255.xml"/><Relationship Id="rId29" Type="http://schemas.openxmlformats.org/officeDocument/2006/relationships/tags" Target="../tags/tag3268.xml"/><Relationship Id="rId11" Type="http://schemas.openxmlformats.org/officeDocument/2006/relationships/tags" Target="../tags/tag3250.xml"/><Relationship Id="rId24" Type="http://schemas.openxmlformats.org/officeDocument/2006/relationships/tags" Target="../tags/tag3263.xml"/><Relationship Id="rId32" Type="http://schemas.openxmlformats.org/officeDocument/2006/relationships/tags" Target="../tags/tag3271.xml"/><Relationship Id="rId37" Type="http://schemas.openxmlformats.org/officeDocument/2006/relationships/tags" Target="../tags/tag3276.xml"/><Relationship Id="rId40" Type="http://schemas.openxmlformats.org/officeDocument/2006/relationships/tags" Target="../tags/tag3279.xml"/><Relationship Id="rId45" Type="http://schemas.openxmlformats.org/officeDocument/2006/relationships/tags" Target="../tags/tag3284.xml"/><Relationship Id="rId5" Type="http://schemas.openxmlformats.org/officeDocument/2006/relationships/tags" Target="../tags/tag3244.xml"/><Relationship Id="rId15" Type="http://schemas.openxmlformats.org/officeDocument/2006/relationships/tags" Target="../tags/tag3254.xml"/><Relationship Id="rId23" Type="http://schemas.openxmlformats.org/officeDocument/2006/relationships/tags" Target="../tags/tag3262.xml"/><Relationship Id="rId28" Type="http://schemas.openxmlformats.org/officeDocument/2006/relationships/tags" Target="../tags/tag3267.xml"/><Relationship Id="rId36" Type="http://schemas.openxmlformats.org/officeDocument/2006/relationships/tags" Target="../tags/tag3275.xml"/><Relationship Id="rId49" Type="http://schemas.openxmlformats.org/officeDocument/2006/relationships/oleObject" Target="../embeddings/oleObject534.bin"/><Relationship Id="rId10" Type="http://schemas.openxmlformats.org/officeDocument/2006/relationships/tags" Target="../tags/tag3249.xml"/><Relationship Id="rId19" Type="http://schemas.openxmlformats.org/officeDocument/2006/relationships/tags" Target="../tags/tag3258.xml"/><Relationship Id="rId31" Type="http://schemas.openxmlformats.org/officeDocument/2006/relationships/tags" Target="../tags/tag3270.xml"/><Relationship Id="rId44" Type="http://schemas.openxmlformats.org/officeDocument/2006/relationships/tags" Target="../tags/tag3283.xml"/><Relationship Id="rId4" Type="http://schemas.openxmlformats.org/officeDocument/2006/relationships/tags" Target="../tags/tag3243.xml"/><Relationship Id="rId9" Type="http://schemas.openxmlformats.org/officeDocument/2006/relationships/tags" Target="../tags/tag3248.xml"/><Relationship Id="rId14" Type="http://schemas.openxmlformats.org/officeDocument/2006/relationships/tags" Target="../tags/tag3253.xml"/><Relationship Id="rId22" Type="http://schemas.openxmlformats.org/officeDocument/2006/relationships/tags" Target="../tags/tag3261.xml"/><Relationship Id="rId27" Type="http://schemas.openxmlformats.org/officeDocument/2006/relationships/tags" Target="../tags/tag3266.xml"/><Relationship Id="rId30" Type="http://schemas.openxmlformats.org/officeDocument/2006/relationships/tags" Target="../tags/tag3269.xml"/><Relationship Id="rId35" Type="http://schemas.openxmlformats.org/officeDocument/2006/relationships/tags" Target="../tags/tag3274.xml"/><Relationship Id="rId43" Type="http://schemas.openxmlformats.org/officeDocument/2006/relationships/tags" Target="../tags/tag3282.xml"/><Relationship Id="rId48" Type="http://schemas.openxmlformats.org/officeDocument/2006/relationships/notesSlide" Target="../notesSlides/notesSlide8.xml"/><Relationship Id="rId8" Type="http://schemas.openxmlformats.org/officeDocument/2006/relationships/tags" Target="../tags/tag3247.xml"/><Relationship Id="rId51" Type="http://schemas.openxmlformats.org/officeDocument/2006/relationships/chart" Target="../charts/chart2.xml"/><Relationship Id="rId3" Type="http://schemas.openxmlformats.org/officeDocument/2006/relationships/tags" Target="../tags/tag3242.xml"/><Relationship Id="rId12" Type="http://schemas.openxmlformats.org/officeDocument/2006/relationships/tags" Target="../tags/tag3251.xml"/><Relationship Id="rId17" Type="http://schemas.openxmlformats.org/officeDocument/2006/relationships/tags" Target="../tags/tag3256.xml"/><Relationship Id="rId25" Type="http://schemas.openxmlformats.org/officeDocument/2006/relationships/tags" Target="../tags/tag3264.xml"/><Relationship Id="rId33" Type="http://schemas.openxmlformats.org/officeDocument/2006/relationships/tags" Target="../tags/tag3272.xml"/><Relationship Id="rId38" Type="http://schemas.openxmlformats.org/officeDocument/2006/relationships/tags" Target="../tags/tag3277.xml"/><Relationship Id="rId46" Type="http://schemas.openxmlformats.org/officeDocument/2006/relationships/tags" Target="../tags/tag3285.xml"/><Relationship Id="rId20" Type="http://schemas.openxmlformats.org/officeDocument/2006/relationships/tags" Target="../tags/tag3259.xml"/><Relationship Id="rId41" Type="http://schemas.openxmlformats.org/officeDocument/2006/relationships/tags" Target="../tags/tag3280.xml"/><Relationship Id="rId1" Type="http://schemas.openxmlformats.org/officeDocument/2006/relationships/vmlDrawing" Target="../drawings/vmlDrawing534.vml"/><Relationship Id="rId6" Type="http://schemas.openxmlformats.org/officeDocument/2006/relationships/tags" Target="../tags/tag324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24.xml.rels><?xml version="1.0" encoding="UTF-8" standalone="yes"?>
<Relationships xmlns="http://schemas.openxmlformats.org/package/2006/relationships"><Relationship Id="rId2" Type="http://schemas.openxmlformats.org/officeDocument/2006/relationships/hyperlink" Target="http://www.phcdocs.org/Programs/CalVaxGrant" TargetMode="External"/><Relationship Id="rId1" Type="http://schemas.openxmlformats.org/officeDocument/2006/relationships/slideLayout" Target="../slideLayouts/slideLayout612.xml"/></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hyperlink" Target="http://www.phcdocs.org/Programs/CalVaxGrant" TargetMode="External"/><Relationship Id="rId1" Type="http://schemas.openxmlformats.org/officeDocument/2006/relationships/slideLayout" Target="../slideLayouts/slideLayout5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28.xml.rels><?xml version="1.0" encoding="UTF-8" standalone="yes"?>
<Relationships xmlns="http://schemas.openxmlformats.org/package/2006/relationships"><Relationship Id="rId3" Type="http://schemas.openxmlformats.org/officeDocument/2006/relationships/hyperlink" Target="https://emergency.cdc.gov/coca/calls/2021/callinfo_090921.asp" TargetMode="External"/><Relationship Id="rId2" Type="http://schemas.openxmlformats.org/officeDocument/2006/relationships/hyperlink" Target="https://www.cdc.gov/mmwr/volumes/70/rr/rr7005a1.htm" TargetMode="External"/><Relationship Id="rId1" Type="http://schemas.openxmlformats.org/officeDocument/2006/relationships/slideLayout" Target="../slideLayouts/slideLayout52.xml"/><Relationship Id="rId4" Type="http://schemas.openxmlformats.org/officeDocument/2006/relationships/hyperlink" Target="https://urldefense.com/v3/__https:/eziz.org/assets/docs/COVID19/IMM-1385.pdf__;!!AvL6XA!hyQZqzgwIPLc6-PZItxICqppDOe9r29ISAUBBFnNaTTQd7mUFUfw1PxMoToHjJFJD20y8cJX$"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hyperlink" Target="https://www.cdc.gov/vaccines/acip/index.html" TargetMode="External"/><Relationship Id="rId2" Type="http://schemas.openxmlformats.org/officeDocument/2006/relationships/notesSlide" Target="../notesSlides/notesSlide9.xml"/><Relationship Id="rId1" Type="http://schemas.openxmlformats.org/officeDocument/2006/relationships/slideLayout" Target="../slideLayouts/slideLayout56.xml"/><Relationship Id="rId6" Type="http://schemas.openxmlformats.org/officeDocument/2006/relationships/hyperlink" Target="https://www.fda.gov/advisory-committees/advisory-committee-calendar/vaccines-and-related-biological-products-advisory-committee-september-17-2021-meeting-announcement#event-materials" TargetMode="External"/><Relationship Id="rId5" Type="http://schemas.openxmlformats.org/officeDocument/2006/relationships/hyperlink" Target="https://www.youtube.com/watch?v=WFph7-6t34M" TargetMode="External"/><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3" Type="http://schemas.openxmlformats.org/officeDocument/2006/relationships/hyperlink" Target="https://eziz.org/covid/education/" TargetMode="Externa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6.png"/><Relationship Id="rId5" Type="http://schemas.microsoft.com/office/2007/relationships/hdphoto" Target="../media/hdphoto1.wdp"/><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3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image" Target="../media/image36.png"/><Relationship Id="rId1" Type="http://schemas.openxmlformats.org/officeDocument/2006/relationships/slideLayout" Target="../slideLayouts/slideLayout52.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png"/></Relationships>
</file>

<file path=ppt/slides/_rels/slide3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Layout" Target="../slideLayouts/slideLayout52.xml"/><Relationship Id="rId6" Type="http://schemas.openxmlformats.org/officeDocument/2006/relationships/hyperlink" Target="https://eziz.org/assets/docs/COVID19/IMM-1387.pdf" TargetMode="External"/><Relationship Id="rId5" Type="http://schemas.openxmlformats.org/officeDocument/2006/relationships/image" Target="../media/image45.png"/><Relationship Id="rId4" Type="http://schemas.openxmlformats.org/officeDocument/2006/relationships/image" Target="../media/image44.png"/></Relationships>
</file>

<file path=ppt/slides/_rels/slide38.xml.rels><?xml version="1.0" encoding="UTF-8" standalone="yes"?>
<Relationships xmlns="http://schemas.openxmlformats.org/package/2006/relationships"><Relationship Id="rId3" Type="http://schemas.openxmlformats.org/officeDocument/2006/relationships/hyperlink" Target="https://www.youtube.com/watch?v=8eo9jxXrKq0" TargetMode="External"/><Relationship Id="rId2" Type="http://schemas.openxmlformats.org/officeDocument/2006/relationships/hyperlink" Target="https://eziz.org/assets/docs/COVID19/IMM-1387.pdf" TargetMode="External"/><Relationship Id="rId1" Type="http://schemas.openxmlformats.org/officeDocument/2006/relationships/slideLayout" Target="../slideLayouts/slideLayout52.xml"/><Relationship Id="rId4" Type="http://schemas.openxmlformats.org/officeDocument/2006/relationships/image" Target="../media/image46.jpeg"/></Relationships>
</file>

<file path=ppt/slides/_rels/slide3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612.xml"/></Relationships>
</file>

<file path=ppt/slides/_rels/slide42.xml.rels><?xml version="1.0" encoding="UTF-8" standalone="yes"?>
<Relationships xmlns="http://schemas.openxmlformats.org/package/2006/relationships"><Relationship Id="rId3" Type="http://schemas.openxmlformats.org/officeDocument/2006/relationships/image" Target="../media/image48.svg"/><Relationship Id="rId2" Type="http://schemas.openxmlformats.org/officeDocument/2006/relationships/image" Target="../media/image47.png"/><Relationship Id="rId1" Type="http://schemas.openxmlformats.org/officeDocument/2006/relationships/slideLayout" Target="../slideLayouts/slideLayout612.xml"/><Relationship Id="rId5" Type="http://schemas.openxmlformats.org/officeDocument/2006/relationships/image" Target="../media/image50.jpeg"/><Relationship Id="rId4" Type="http://schemas.openxmlformats.org/officeDocument/2006/relationships/image" Target="../media/image49.jpeg"/></Relationships>
</file>

<file path=ppt/slides/_rels/slide43.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612.xml"/><Relationship Id="rId4" Type="http://schemas.openxmlformats.org/officeDocument/2006/relationships/image" Target="../media/image53.png"/></Relationships>
</file>

<file path=ppt/slides/_rels/slide44.xml.rels><?xml version="1.0" encoding="UTF-8" standalone="yes"?>
<Relationships xmlns="http://schemas.openxmlformats.org/package/2006/relationships"><Relationship Id="rId3" Type="http://schemas.openxmlformats.org/officeDocument/2006/relationships/image" Target="../media/image55.svg"/><Relationship Id="rId2" Type="http://schemas.openxmlformats.org/officeDocument/2006/relationships/image" Target="../media/image54.png"/><Relationship Id="rId1" Type="http://schemas.openxmlformats.org/officeDocument/2006/relationships/slideLayout" Target="../slideLayouts/slideLayout612.xml"/><Relationship Id="rId5" Type="http://schemas.openxmlformats.org/officeDocument/2006/relationships/hyperlink" Target="https://accentureatlantainnovationhub.webex.com/webappng/sites/accentureatlantainnovationhub/meeting/register/b202302738bf4797af10233ce56a5020?ticket=4832534b00000005b203c12becee7a4154f7d6fddc199f9d4f759c54c142338cd93fac9dca2e83bf&amp;timestamp=1631311966001&amp;locale=en_US" TargetMode="External"/><Relationship Id="rId4" Type="http://schemas.openxmlformats.org/officeDocument/2006/relationships/hyperlink" Target="https://accentureatlantainnovationhub.webex.com/webappng/sites/accentureatlantainnovationhub/meeting/register/e1670dcd3f85468cb0b81f7958e7a59d?ticket=4832534b00000005cdda45b4f83148d8e41856f6f12e29cb072fb6b993d5378c7b1b4c059b5c48ed&amp;timestamp=1631312006404&amp;locale=en_US" TargetMode="External"/></Relationships>
</file>

<file path=ppt/slides/_rels/slide45.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image" Target="../media/image56.png"/><Relationship Id="rId1" Type="http://schemas.openxmlformats.org/officeDocument/2006/relationships/slideLayout" Target="../slideLayouts/slideLayout612.xml"/></Relationships>
</file>

<file path=ppt/slides/_rels/slide4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13.xml"/></Relationships>
</file>

<file path=ppt/slides/_rels/slide49.xml.rels><?xml version="1.0" encoding="UTF-8" standalone="yes"?>
<Relationships xmlns="http://schemas.openxmlformats.org/package/2006/relationships"><Relationship Id="rId3" Type="http://schemas.openxmlformats.org/officeDocument/2006/relationships/image" Target="../media/image48.svg"/><Relationship Id="rId7" Type="http://schemas.openxmlformats.org/officeDocument/2006/relationships/image" Target="../media/image63.svg"/><Relationship Id="rId2" Type="http://schemas.openxmlformats.org/officeDocument/2006/relationships/image" Target="../media/image47.png"/><Relationship Id="rId1" Type="http://schemas.openxmlformats.org/officeDocument/2006/relationships/slideLayout" Target="../slideLayouts/slideLayout612.xml"/><Relationship Id="rId6" Type="http://schemas.openxmlformats.org/officeDocument/2006/relationships/image" Target="../media/image62.png"/><Relationship Id="rId5" Type="http://schemas.openxmlformats.org/officeDocument/2006/relationships/image" Target="../media/image61.svg"/><Relationship Id="rId4" Type="http://schemas.openxmlformats.org/officeDocument/2006/relationships/image" Target="../media/image60.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65.svg"/><Relationship Id="rId2" Type="http://schemas.openxmlformats.org/officeDocument/2006/relationships/image" Target="../media/image64.png"/><Relationship Id="rId1" Type="http://schemas.openxmlformats.org/officeDocument/2006/relationships/slideLayout" Target="../slideLayouts/slideLayout612.xml"/><Relationship Id="rId4" Type="http://schemas.openxmlformats.org/officeDocument/2006/relationships/hyperlink" Target="https://forms.office.com/Pages/ResponsePage.aspx?id=OT154DkJbUmxKRmO3ZFv6zSYsTFQZiJGvmmEsk0Ys7tUM0lWSzNXUE9FQzIwNUE2VlRHNTlFUDRSVi4u" TargetMode="Externa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52.xml.rels><?xml version="1.0" encoding="UTF-8" standalone="yes"?>
<Relationships xmlns="http://schemas.openxmlformats.org/package/2006/relationships"><Relationship Id="rId13" Type="http://schemas.openxmlformats.org/officeDocument/2006/relationships/tags" Target="../tags/tag3297.xml"/><Relationship Id="rId18" Type="http://schemas.openxmlformats.org/officeDocument/2006/relationships/tags" Target="../tags/tag3302.xml"/><Relationship Id="rId26" Type="http://schemas.openxmlformats.org/officeDocument/2006/relationships/tags" Target="../tags/tag3310.xml"/><Relationship Id="rId39" Type="http://schemas.openxmlformats.org/officeDocument/2006/relationships/hyperlink" Target="https://eziz.org/covid/education/" TargetMode="External"/><Relationship Id="rId21" Type="http://schemas.openxmlformats.org/officeDocument/2006/relationships/tags" Target="../tags/tag3305.xml"/><Relationship Id="rId34" Type="http://schemas.openxmlformats.org/officeDocument/2006/relationships/image" Target="../media/image66.png"/><Relationship Id="rId42" Type="http://schemas.openxmlformats.org/officeDocument/2006/relationships/hyperlink" Target="mailto:calvaxgrant@phcdocs.org" TargetMode="External"/><Relationship Id="rId7" Type="http://schemas.openxmlformats.org/officeDocument/2006/relationships/tags" Target="../tags/tag3291.xml"/><Relationship Id="rId2" Type="http://schemas.openxmlformats.org/officeDocument/2006/relationships/tags" Target="../tags/tag3286.xml"/><Relationship Id="rId16" Type="http://schemas.openxmlformats.org/officeDocument/2006/relationships/tags" Target="../tags/tag3300.xml"/><Relationship Id="rId20" Type="http://schemas.openxmlformats.org/officeDocument/2006/relationships/tags" Target="../tags/tag3304.xml"/><Relationship Id="rId29" Type="http://schemas.openxmlformats.org/officeDocument/2006/relationships/image" Target="../media/image32.emf"/><Relationship Id="rId41" Type="http://schemas.openxmlformats.org/officeDocument/2006/relationships/hyperlink" Target="https://www.phcdocs.org/Programs/CalVaxGrant" TargetMode="External"/><Relationship Id="rId1" Type="http://schemas.openxmlformats.org/officeDocument/2006/relationships/vmlDrawing" Target="../drawings/vmlDrawing535.vml"/><Relationship Id="rId6" Type="http://schemas.openxmlformats.org/officeDocument/2006/relationships/tags" Target="../tags/tag3290.xml"/><Relationship Id="rId11" Type="http://schemas.openxmlformats.org/officeDocument/2006/relationships/tags" Target="../tags/tag3295.xml"/><Relationship Id="rId24" Type="http://schemas.openxmlformats.org/officeDocument/2006/relationships/tags" Target="../tags/tag3308.xml"/><Relationship Id="rId32" Type="http://schemas.openxmlformats.org/officeDocument/2006/relationships/hyperlink" Target="mailto:MyTurn.Clinic.HD@Accenture.com" TargetMode="External"/><Relationship Id="rId37" Type="http://schemas.openxmlformats.org/officeDocument/2006/relationships/image" Target="../media/image69.svg"/><Relationship Id="rId40" Type="http://schemas.openxmlformats.org/officeDocument/2006/relationships/hyperlink" Target="mailto:myCAvaxinfo@cdph.ca.gov" TargetMode="External"/><Relationship Id="rId5" Type="http://schemas.openxmlformats.org/officeDocument/2006/relationships/tags" Target="../tags/tag3289.xml"/><Relationship Id="rId15" Type="http://schemas.openxmlformats.org/officeDocument/2006/relationships/tags" Target="../tags/tag3299.xml"/><Relationship Id="rId23" Type="http://schemas.openxmlformats.org/officeDocument/2006/relationships/tags" Target="../tags/tag3307.xml"/><Relationship Id="rId28" Type="http://schemas.openxmlformats.org/officeDocument/2006/relationships/oleObject" Target="../embeddings/oleObject535.bin"/><Relationship Id="rId36" Type="http://schemas.openxmlformats.org/officeDocument/2006/relationships/image" Target="../media/image68.png"/><Relationship Id="rId10" Type="http://schemas.openxmlformats.org/officeDocument/2006/relationships/tags" Target="../tags/tag3294.xml"/><Relationship Id="rId19" Type="http://schemas.openxmlformats.org/officeDocument/2006/relationships/tags" Target="../tags/tag3303.xml"/><Relationship Id="rId31" Type="http://schemas.openxmlformats.org/officeDocument/2006/relationships/hyperlink" Target="mailto:myturnonboarding@cdph.ca.gov" TargetMode="External"/><Relationship Id="rId4" Type="http://schemas.openxmlformats.org/officeDocument/2006/relationships/tags" Target="../tags/tag3288.xml"/><Relationship Id="rId9" Type="http://schemas.openxmlformats.org/officeDocument/2006/relationships/tags" Target="../tags/tag3293.xml"/><Relationship Id="rId14" Type="http://schemas.openxmlformats.org/officeDocument/2006/relationships/tags" Target="../tags/tag3298.xml"/><Relationship Id="rId22" Type="http://schemas.openxmlformats.org/officeDocument/2006/relationships/tags" Target="../tags/tag3306.xml"/><Relationship Id="rId27" Type="http://schemas.openxmlformats.org/officeDocument/2006/relationships/slideLayout" Target="../slideLayouts/slideLayout2.xml"/><Relationship Id="rId30" Type="http://schemas.openxmlformats.org/officeDocument/2006/relationships/hyperlink" Target="mailto:covidcallcenter@cdph.ca.gov" TargetMode="External"/><Relationship Id="rId35" Type="http://schemas.openxmlformats.org/officeDocument/2006/relationships/image" Target="../media/image67.svg"/><Relationship Id="rId8" Type="http://schemas.openxmlformats.org/officeDocument/2006/relationships/tags" Target="../tags/tag3292.xml"/><Relationship Id="rId3" Type="http://schemas.openxmlformats.org/officeDocument/2006/relationships/tags" Target="../tags/tag3287.xml"/><Relationship Id="rId12" Type="http://schemas.openxmlformats.org/officeDocument/2006/relationships/tags" Target="../tags/tag3296.xml"/><Relationship Id="rId17" Type="http://schemas.openxmlformats.org/officeDocument/2006/relationships/tags" Target="../tags/tag3301.xml"/><Relationship Id="rId25" Type="http://schemas.openxmlformats.org/officeDocument/2006/relationships/tags" Target="../tags/tag3309.xml"/><Relationship Id="rId33" Type="http://schemas.openxmlformats.org/officeDocument/2006/relationships/hyperlink" Target="https://eziz.org/covid/myturn/" TargetMode="External"/><Relationship Id="rId38" Type="http://schemas.openxmlformats.org/officeDocument/2006/relationships/hyperlink" Target="mailto:myCAvax.HD@Accenture.com" TargetMode="External"/></Relationships>
</file>

<file path=ppt/slides/_rels/slide53.xml.rels><?xml version="1.0" encoding="UTF-8" standalone="yes"?>
<Relationships xmlns="http://schemas.openxmlformats.org/package/2006/relationships"><Relationship Id="rId8" Type="http://schemas.openxmlformats.org/officeDocument/2006/relationships/image" Target="../media/image75.svg"/><Relationship Id="rId3" Type="http://schemas.openxmlformats.org/officeDocument/2006/relationships/image" Target="../media/image71.svg"/><Relationship Id="rId7" Type="http://schemas.openxmlformats.org/officeDocument/2006/relationships/image" Target="../media/image74.png"/><Relationship Id="rId2" Type="http://schemas.openxmlformats.org/officeDocument/2006/relationships/image" Target="../media/image70.png"/><Relationship Id="rId1" Type="http://schemas.openxmlformats.org/officeDocument/2006/relationships/slideLayout" Target="../slideLayouts/slideLayout471.xml"/><Relationship Id="rId6" Type="http://schemas.openxmlformats.org/officeDocument/2006/relationships/image" Target="../media/image73.svg"/><Relationship Id="rId5" Type="http://schemas.openxmlformats.org/officeDocument/2006/relationships/image" Target="../media/image72.png"/><Relationship Id="rId4" Type="http://schemas.openxmlformats.org/officeDocument/2006/relationships/hyperlink" Target="mailto:rumors@cdph.ca.gov" TargetMode="External"/></Relationships>
</file>

<file path=ppt/slides/_rels/slide5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3" Type="http://schemas.openxmlformats.org/officeDocument/2006/relationships/hyperlink" Target="https://cdph-conf.webex.com/cdph-conf/k2/j.php?MTID=t18d52bf7354787fd2dd73c8da189e9a6" TargetMode="External"/><Relationship Id="rId2" Type="http://schemas.openxmlformats.org/officeDocument/2006/relationships/notesSlide" Target="../notesSlides/notesSlide13.xml"/><Relationship Id="rId1" Type="http://schemas.openxmlformats.org/officeDocument/2006/relationships/slideLayout" Target="../slideLayouts/slideLayout1.xml"/><Relationship Id="rId5" Type="http://schemas.openxmlformats.org/officeDocument/2006/relationships/hyperlink" Target="https://cdph-conf.webex.com/cdph-conf/k2/j.php?MTID=t406edbdb3a6a3d2fd9b71771427be0bb" TargetMode="External"/><Relationship Id="rId4" Type="http://schemas.openxmlformats.org/officeDocument/2006/relationships/image" Target="../media/image76.png"/></Relationships>
</file>

<file path=ppt/slides/_rels/slide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hyperlink" Target="https://eziz.org/covid/"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8" Type="http://schemas.openxmlformats.org/officeDocument/2006/relationships/hyperlink" Target="https://accentureatlantainnovationhub.webex.com/accentureatlantainnovationhub/j.php?RGID=r57391992316bf918e5b4458036c9caea" TargetMode="External"/><Relationship Id="rId13" Type="http://schemas.openxmlformats.org/officeDocument/2006/relationships/hyperlink" Target="https://register.gotowebinar.com/register/25232010522145808" TargetMode="External"/><Relationship Id="rId18" Type="http://schemas.openxmlformats.org/officeDocument/2006/relationships/hyperlink" Target="https://www.youtube.com/watch?v=uMB-bJMa6VY" TargetMode="External"/><Relationship Id="rId3" Type="http://schemas.openxmlformats.org/officeDocument/2006/relationships/hyperlink" Target="http://www.eziz.org/covid" TargetMode="External"/><Relationship Id="rId21" Type="http://schemas.openxmlformats.org/officeDocument/2006/relationships/hyperlink" Target="https://urldefense.com/v3/__https:/www.youtube.com/watch?v=H1Fgh640H70__;!!AvL6XA!lR1-08RTBnm0tFUiGYuA-1YvkZOChUJr7rgGO6eRhg3kBQBjUYyHWXODFq34BIoQfTPoog$" TargetMode="External"/><Relationship Id="rId7" Type="http://schemas.openxmlformats.org/officeDocument/2006/relationships/hyperlink" Target="mailto:myCAvax.HD@accenture.com" TargetMode="External"/><Relationship Id="rId12" Type="http://schemas.openxmlformats.org/officeDocument/2006/relationships/hyperlink" Target="https://cdph-conf.webex.com/cdph-conf/k2/j.php?MTID=t406edbdb3a6a3d2fd9b71771427be0bb" TargetMode="External"/><Relationship Id="rId17" Type="http://schemas.openxmlformats.org/officeDocument/2006/relationships/hyperlink" Target="https://register.gotowebinar.com/register/5800202430648177424" TargetMode="External"/><Relationship Id="rId2" Type="http://schemas.openxmlformats.org/officeDocument/2006/relationships/notesSlide" Target="../notesSlides/notesSlide3.xml"/><Relationship Id="rId16" Type="http://schemas.openxmlformats.org/officeDocument/2006/relationships/hyperlink" Target="https://cdph-conf.webex.com/cdph-conf/k2/j.php?MTID=t18d52bf7354787fd2dd73c8da189e9a6" TargetMode="External"/><Relationship Id="rId20" Type="http://schemas.openxmlformats.org/officeDocument/2006/relationships/hyperlink" Target="https://youtu.be/bBiPa-X8QGE" TargetMode="External"/><Relationship Id="rId1" Type="http://schemas.openxmlformats.org/officeDocument/2006/relationships/slideLayout" Target="../slideLayouts/slideLayout2.xml"/><Relationship Id="rId6" Type="http://schemas.openxmlformats.org/officeDocument/2006/relationships/hyperlink" Target="mailto:myturnonboarding@cdph.ca.gov" TargetMode="External"/><Relationship Id="rId11" Type="http://schemas.openxmlformats.org/officeDocument/2006/relationships/hyperlink" Target="https://accentureatlantainnovationhub.webex.com/accentureatlantainnovationhub/onstage/g.php?MTID=e3ccf643b28fd278daba064821feb08f6" TargetMode="External"/><Relationship Id="rId5" Type="http://schemas.openxmlformats.org/officeDocument/2006/relationships/hyperlink" Target="mailto:covidcallcenter@cdph.ca.gov" TargetMode="External"/><Relationship Id="rId15" Type="http://schemas.openxmlformats.org/officeDocument/2006/relationships/hyperlink" Target="https://urldefense.com/v3/__https:/accenture.zoom.us/webinar/register/WN_390HlirkRlWgiD_A-oPSGQ__;!!AvL6XA!mwAVsyEDIazJsxUbZAUyLtPNdkomWRW2yZH19AoEdq02YmgyDH91lqo1k8Cc7JywNsUzsA$" TargetMode="External"/><Relationship Id="rId10" Type="http://schemas.openxmlformats.org/officeDocument/2006/relationships/hyperlink" Target="https://accentureatlantainnovationhub.webex.com/accentureatlantainnovationhub/j.php?RGID=r90268fbe573a303a864c1737c4be76e6" TargetMode="External"/><Relationship Id="rId19" Type="http://schemas.openxmlformats.org/officeDocument/2006/relationships/hyperlink" Target="https://www.youtube.com/watch?v=_aKxkMFlPPo" TargetMode="External"/><Relationship Id="rId4" Type="http://schemas.openxmlformats.org/officeDocument/2006/relationships/hyperlink" Target="https://eziz.org/assets/docs/COVID19/Vax58ProviderFAQs.pdf" TargetMode="External"/><Relationship Id="rId9" Type="http://schemas.openxmlformats.org/officeDocument/2006/relationships/hyperlink" Target="https://accentureatlantainnovationhub.webex.com/accentureatlantainnovationhub/onstage/g.php?MTID=ecb625a5411a641aa3669eb4e5b4e8d1f" TargetMode="External"/><Relationship Id="rId14" Type="http://schemas.openxmlformats.org/officeDocument/2006/relationships/hyperlink" Target="https://accenture.zoom.us/webinar/register/WN_390HlirkRlWgiD_A-oPSGQ" TargetMode="External"/></Relationships>
</file>

<file path=ppt/slides/_rels/slide8.xml.rels><?xml version="1.0" encoding="UTF-8" standalone="yes"?>
<Relationships xmlns="http://schemas.openxmlformats.org/package/2006/relationships"><Relationship Id="rId3" Type="http://schemas.openxmlformats.org/officeDocument/2006/relationships/hyperlink" Target="https://eziz.org/assets/docs/COVID19/Vax58ProviderFAQs.pdf" TargetMode="External"/><Relationship Id="rId2" Type="http://schemas.openxmlformats.org/officeDocument/2006/relationships/notesSlide" Target="../notesSlides/notesSlide4.xml"/><Relationship Id="rId1" Type="http://schemas.openxmlformats.org/officeDocument/2006/relationships/slideLayout" Target="../slideLayouts/slideLayout20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9.xml.rels><?xml version="1.0" encoding="UTF-8" standalone="yes"?>
<Relationships xmlns="http://schemas.openxmlformats.org/package/2006/relationships"><Relationship Id="rId3" Type="http://schemas.openxmlformats.org/officeDocument/2006/relationships/hyperlink" Target="http://www.icontact-archive.com/archive?c=1685203&amp;f=9345&amp;s=18845&amp;m=203416&amp;t=d5d015e4788f297ec3d6b7891198a53fcca5a1742d50d1e37d378774c06114fa" TargetMode="External"/><Relationship Id="rId2" Type="http://schemas.openxmlformats.org/officeDocument/2006/relationships/hyperlink" Target="mailto:COVIDCallCenter@cdph.ca.gov" TargetMode="External"/><Relationship Id="rId1" Type="http://schemas.openxmlformats.org/officeDocument/2006/relationships/slideLayout" Target="../slideLayouts/slideLayout2.xml"/><Relationship Id="rId6" Type="http://schemas.openxmlformats.org/officeDocument/2006/relationships/image" Target="../media/image21.png"/><Relationship Id="rId5" Type="http://schemas.openxmlformats.org/officeDocument/2006/relationships/hyperlink" Target="https://register.gotowebinar.com/register/5800202430648177424" TargetMode="External"/><Relationship Id="rId4" Type="http://schemas.openxmlformats.org/officeDocument/2006/relationships/hyperlink" Target="https://register.gotowebinar.com/register/25232010522145808"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5CE1DC-37DD-4ECA-A182-CC49BB6D68C7}"/>
              </a:ext>
            </a:extLst>
          </p:cNvPr>
          <p:cNvSpPr>
            <a:spLocks noGrp="1"/>
          </p:cNvSpPr>
          <p:nvPr>
            <p:ph type="ctrTitle"/>
          </p:nvPr>
        </p:nvSpPr>
        <p:spPr>
          <a:xfrm>
            <a:off x="837786" y="1044063"/>
            <a:ext cx="10349883" cy="2387600"/>
          </a:xfrm>
        </p:spPr>
        <p:txBody>
          <a:bodyPr vert="horz" lIns="91440" tIns="45720" rIns="91440" bIns="45720" rtlCol="0" anchor="b">
            <a:noAutofit/>
          </a:bodyPr>
          <a:lstStyle/>
          <a:p>
            <a:pPr>
              <a:lnSpc>
                <a:spcPct val="114999"/>
              </a:lnSpc>
            </a:pPr>
            <a:r>
              <a:rPr lang="en-US" sz="4400">
                <a:cs typeface="Arial"/>
              </a:rPr>
              <a:t>Welcome to</a:t>
            </a:r>
            <a:br>
              <a:rPr lang="en-US" sz="4400">
                <a:cs typeface="Arial"/>
              </a:rPr>
            </a:br>
            <a:r>
              <a:rPr lang="en-US" sz="4000">
                <a:cs typeface="Arial"/>
              </a:rPr>
              <a:t>California COVID-19 Vaccination Program</a:t>
            </a:r>
            <a:br>
              <a:rPr lang="en-US" sz="4000">
                <a:cs typeface="Arial"/>
              </a:rPr>
            </a:br>
            <a:r>
              <a:rPr lang="en-US" sz="4800">
                <a:cs typeface="Arial"/>
              </a:rPr>
              <a:t>Friday Provider Office Hours</a:t>
            </a:r>
          </a:p>
        </p:txBody>
      </p:sp>
      <p:sp>
        <p:nvSpPr>
          <p:cNvPr id="3" name="Subtitle 2">
            <a:extLst>
              <a:ext uri="{FF2B5EF4-FFF2-40B4-BE49-F238E27FC236}">
                <a16:creationId xmlns:a16="http://schemas.microsoft.com/office/drawing/2014/main" id="{AB432406-077B-4B92-930C-775A4F7080CE}"/>
              </a:ext>
            </a:extLst>
          </p:cNvPr>
          <p:cNvSpPr>
            <a:spLocks noGrp="1"/>
          </p:cNvSpPr>
          <p:nvPr>
            <p:ph type="subTitle" idx="1"/>
          </p:nvPr>
        </p:nvSpPr>
        <p:spPr>
          <a:xfrm>
            <a:off x="1386541" y="4188000"/>
            <a:ext cx="9144000" cy="1655762"/>
          </a:xfrm>
        </p:spPr>
        <p:txBody>
          <a:bodyPr vert="horz" lIns="91440" tIns="45720" rIns="91440" bIns="45720" rtlCol="0" anchor="t">
            <a:normAutofit/>
          </a:bodyPr>
          <a:lstStyle/>
          <a:p>
            <a:r>
              <a:rPr lang="en-US" sz="2800">
                <a:solidFill>
                  <a:schemeClr val="tx2"/>
                </a:solidFill>
                <a:cs typeface="Arial"/>
              </a:rPr>
              <a:t>Friday, September 17, 2021</a:t>
            </a:r>
          </a:p>
        </p:txBody>
      </p:sp>
      <p:sp>
        <p:nvSpPr>
          <p:cNvPr id="4" name="Slide Number Placeholder 3">
            <a:extLst>
              <a:ext uri="{FF2B5EF4-FFF2-40B4-BE49-F238E27FC236}">
                <a16:creationId xmlns:a16="http://schemas.microsoft.com/office/drawing/2014/main" id="{A0CD5AA8-1259-41AA-9FBF-903A10F3D4AB}"/>
              </a:ext>
            </a:extLst>
          </p:cNvPr>
          <p:cNvSpPr>
            <a:spLocks noGrp="1"/>
          </p:cNvSpPr>
          <p:nvPr>
            <p:ph type="sldNum" sz="quarter" idx="12"/>
          </p:nvPr>
        </p:nvSpPr>
        <p:spPr/>
        <p:txBody>
          <a:bodyPr/>
          <a:lstStyle/>
          <a:p>
            <a:fld id="{13D703BF-151A-0D40-8508-CABBAD09F9A9}" type="slidenum">
              <a:rPr lang="en-US" smtClean="0"/>
              <a:t>1</a:t>
            </a:fld>
            <a:endParaRPr lang="en-US"/>
          </a:p>
        </p:txBody>
      </p:sp>
      <p:pic>
        <p:nvPicPr>
          <p:cNvPr id="29" name="Picture 29">
            <a:extLst>
              <a:ext uri="{FF2B5EF4-FFF2-40B4-BE49-F238E27FC236}">
                <a16:creationId xmlns:a16="http://schemas.microsoft.com/office/drawing/2014/main" id="{1D86660B-914A-4097-B4B1-4F100A95695A}"/>
              </a:ext>
            </a:extLst>
          </p:cNvPr>
          <p:cNvPicPr>
            <a:picLocks noChangeAspect="1"/>
          </p:cNvPicPr>
          <p:nvPr/>
        </p:nvPicPr>
        <p:blipFill>
          <a:blip r:embed="rId2"/>
          <a:stretch>
            <a:fillRect/>
          </a:stretch>
        </p:blipFill>
        <p:spPr>
          <a:xfrm>
            <a:off x="204952" y="3757534"/>
            <a:ext cx="2743200" cy="2390931"/>
          </a:xfrm>
          <a:prstGeom prst="rect">
            <a:avLst/>
          </a:prstGeom>
        </p:spPr>
      </p:pic>
    </p:spTree>
    <p:extLst>
      <p:ext uri="{BB962C8B-B14F-4D97-AF65-F5344CB8AC3E}">
        <p14:creationId xmlns:p14="http://schemas.microsoft.com/office/powerpoint/2010/main" val="139218380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701DB2-2493-4E24-9734-3F3DFDE81520}"/>
              </a:ext>
            </a:extLst>
          </p:cNvPr>
          <p:cNvSpPr>
            <a:spLocks noGrp="1"/>
          </p:cNvSpPr>
          <p:nvPr>
            <p:ph type="title"/>
          </p:nvPr>
        </p:nvSpPr>
        <p:spPr>
          <a:xfrm>
            <a:off x="478766" y="5691"/>
            <a:ext cx="10515600" cy="1325563"/>
          </a:xfrm>
        </p:spPr>
        <p:txBody>
          <a:bodyPr>
            <a:normAutofit/>
          </a:bodyPr>
          <a:lstStyle/>
          <a:p>
            <a:r>
              <a:rPr lang="en-US" sz="3600">
                <a:cs typeface="Arial"/>
              </a:rPr>
              <a:t>California State Public Health Order</a:t>
            </a:r>
          </a:p>
        </p:txBody>
      </p:sp>
      <p:sp>
        <p:nvSpPr>
          <p:cNvPr id="3" name="Content Placeholder 2">
            <a:extLst>
              <a:ext uri="{FF2B5EF4-FFF2-40B4-BE49-F238E27FC236}">
                <a16:creationId xmlns:a16="http://schemas.microsoft.com/office/drawing/2014/main" id="{2A68B2A1-8F93-481A-AEB8-65A35F8FF00A}"/>
              </a:ext>
            </a:extLst>
          </p:cNvPr>
          <p:cNvSpPr>
            <a:spLocks noGrp="1"/>
          </p:cNvSpPr>
          <p:nvPr>
            <p:ph idx="1"/>
          </p:nvPr>
        </p:nvSpPr>
        <p:spPr>
          <a:xfrm>
            <a:off x="565030" y="1387305"/>
            <a:ext cx="11061939" cy="4971456"/>
          </a:xfrm>
        </p:spPr>
        <p:txBody>
          <a:bodyPr vert="horz" lIns="91440" tIns="45720" rIns="91440" bIns="45720" rtlCol="0" anchor="t">
            <a:normAutofit/>
          </a:bodyPr>
          <a:lstStyle/>
          <a:p>
            <a:pPr marL="0" indent="0">
              <a:lnSpc>
                <a:spcPct val="110000"/>
              </a:lnSpc>
              <a:buNone/>
            </a:pPr>
            <a:r>
              <a:rPr lang="en-US" sz="2400">
                <a:ea typeface="+mn-lt"/>
                <a:cs typeface="+mn-lt"/>
              </a:rPr>
              <a:t>Dr. Tomás Aragón, State Public Health Officer, is drafting a Public Health Order on the following:</a:t>
            </a:r>
            <a:endParaRPr lang="en-US" sz="2400">
              <a:cs typeface="Arial" panose="020B0604020202020204"/>
            </a:endParaRPr>
          </a:p>
          <a:p>
            <a:pPr lvl="1">
              <a:lnSpc>
                <a:spcPct val="110000"/>
              </a:lnSpc>
            </a:pPr>
            <a:r>
              <a:rPr lang="en-US" sz="2000">
                <a:ea typeface="+mn-lt"/>
                <a:cs typeface="+mn-lt"/>
              </a:rPr>
              <a:t>When reporting vaccinations to the California Immunization Registry (CAIR), COVID-19 Vaccine Providers will be required to collect and submit the patient’s </a:t>
            </a:r>
            <a:r>
              <a:rPr lang="en-US" sz="2000" b="1">
                <a:ea typeface="+mn-lt"/>
                <a:cs typeface="+mn-lt"/>
              </a:rPr>
              <a:t>email address</a:t>
            </a:r>
            <a:r>
              <a:rPr lang="en-US" sz="2000">
                <a:ea typeface="+mn-lt"/>
                <a:cs typeface="+mn-lt"/>
              </a:rPr>
              <a:t> and </a:t>
            </a:r>
            <a:r>
              <a:rPr lang="en-US" sz="2000" b="1">
                <a:ea typeface="+mn-lt"/>
                <a:cs typeface="+mn-lt"/>
              </a:rPr>
              <a:t>cell phone number, </a:t>
            </a:r>
            <a:r>
              <a:rPr lang="en-US" sz="2000">
                <a:ea typeface="+mn-lt"/>
                <a:cs typeface="+mn-lt"/>
              </a:rPr>
              <a:t>if known. </a:t>
            </a:r>
          </a:p>
          <a:p>
            <a:pPr lvl="1">
              <a:lnSpc>
                <a:spcPct val="110000"/>
              </a:lnSpc>
            </a:pPr>
            <a:r>
              <a:rPr lang="en-US" sz="2000">
                <a:ea typeface="+mn-lt"/>
                <a:cs typeface="+mn-lt"/>
              </a:rPr>
              <a:t>Patients will </a:t>
            </a:r>
            <a:r>
              <a:rPr lang="en-US" sz="2000" b="1">
                <a:ea typeface="+mn-lt"/>
                <a:cs typeface="+mn-lt"/>
              </a:rPr>
              <a:t>not be required</a:t>
            </a:r>
            <a:r>
              <a:rPr lang="en-US" sz="2000">
                <a:ea typeface="+mn-lt"/>
                <a:cs typeface="+mn-lt"/>
              </a:rPr>
              <a:t> to supply this information to be vaccinated. However, not supplying an </a:t>
            </a:r>
            <a:r>
              <a:rPr lang="en-US" sz="2000" b="1">
                <a:ea typeface="+mn-lt"/>
                <a:cs typeface="+mn-lt"/>
              </a:rPr>
              <a:t>email address</a:t>
            </a:r>
            <a:r>
              <a:rPr lang="en-US" sz="2000">
                <a:ea typeface="+mn-lt"/>
                <a:cs typeface="+mn-lt"/>
              </a:rPr>
              <a:t> or </a:t>
            </a:r>
            <a:r>
              <a:rPr lang="en-US" sz="2000" b="1">
                <a:ea typeface="+mn-lt"/>
                <a:cs typeface="+mn-lt"/>
              </a:rPr>
              <a:t>cell phone number</a:t>
            </a:r>
            <a:r>
              <a:rPr lang="en-US" sz="2000">
                <a:ea typeface="+mn-lt"/>
                <a:cs typeface="+mn-lt"/>
              </a:rPr>
              <a:t> will make it difficult for a patient to obtain a California Digital COVID-19 Vaccine Record (DCVR)*.</a:t>
            </a:r>
          </a:p>
          <a:p>
            <a:pPr lvl="1">
              <a:lnSpc>
                <a:spcPct val="110000"/>
              </a:lnSpc>
            </a:pPr>
            <a:r>
              <a:rPr lang="en-US" sz="2000">
                <a:ea typeface="+mn-lt"/>
                <a:cs typeface="+mn-lt"/>
              </a:rPr>
              <a:t>Anticipate that the Order will take effect shortly. </a:t>
            </a:r>
            <a:endParaRPr lang="en-US" sz="2000">
              <a:cs typeface="Arial"/>
            </a:endParaRPr>
          </a:p>
          <a:p>
            <a:pPr marL="0" indent="0">
              <a:lnSpc>
                <a:spcPct val="110000"/>
              </a:lnSpc>
              <a:buNone/>
            </a:pPr>
            <a:r>
              <a:rPr lang="en-US" sz="2000">
                <a:ea typeface="+mn-lt"/>
                <a:cs typeface="+mn-lt"/>
              </a:rPr>
              <a:t>Please provide input on any potential obstacles or barriers to implementing this Order in the chat or by emailing </a:t>
            </a:r>
            <a:r>
              <a:rPr lang="en-US" sz="2000">
                <a:ea typeface="+mn-lt"/>
                <a:cs typeface="+mn-lt"/>
                <a:hlinkClick r:id="rId2"/>
              </a:rPr>
              <a:t>leslie.amani@cdph.ca.gov</a:t>
            </a:r>
            <a:r>
              <a:rPr lang="en-US" sz="2000">
                <a:ea typeface="+mn-lt"/>
                <a:cs typeface="+mn-lt"/>
              </a:rPr>
              <a:t>.</a:t>
            </a:r>
          </a:p>
          <a:p>
            <a:pPr>
              <a:lnSpc>
                <a:spcPct val="110000"/>
              </a:lnSpc>
            </a:pPr>
            <a:endParaRPr lang="en-US">
              <a:cs typeface="Arial"/>
            </a:endParaRPr>
          </a:p>
        </p:txBody>
      </p:sp>
      <p:sp>
        <p:nvSpPr>
          <p:cNvPr id="4" name="Slide Number Placeholder 3">
            <a:extLst>
              <a:ext uri="{FF2B5EF4-FFF2-40B4-BE49-F238E27FC236}">
                <a16:creationId xmlns:a16="http://schemas.microsoft.com/office/drawing/2014/main" id="{6585CA7E-2388-49C2-9D00-879D462C603C}"/>
              </a:ext>
            </a:extLst>
          </p:cNvPr>
          <p:cNvSpPr>
            <a:spLocks noGrp="1"/>
          </p:cNvSpPr>
          <p:nvPr>
            <p:ph type="sldNum" sz="quarter" idx="12"/>
          </p:nvPr>
        </p:nvSpPr>
        <p:spPr/>
        <p:txBody>
          <a:bodyPr/>
          <a:lstStyle/>
          <a:p>
            <a:fld id="{13D703BF-151A-0D40-8508-CABBAD09F9A9}" type="slidenum">
              <a:rPr lang="en-US" smtClean="0"/>
              <a:t>10</a:t>
            </a:fld>
            <a:endParaRPr lang="en-US"/>
          </a:p>
        </p:txBody>
      </p:sp>
      <p:pic>
        <p:nvPicPr>
          <p:cNvPr id="5" name="Picture 5">
            <a:extLst>
              <a:ext uri="{FF2B5EF4-FFF2-40B4-BE49-F238E27FC236}">
                <a16:creationId xmlns:a16="http://schemas.microsoft.com/office/drawing/2014/main" id="{FF13AA77-BED5-45A9-8EDF-7F96D743E74B}"/>
              </a:ext>
            </a:extLst>
          </p:cNvPr>
          <p:cNvPicPr>
            <a:picLocks noChangeAspect="1"/>
          </p:cNvPicPr>
          <p:nvPr/>
        </p:nvPicPr>
        <p:blipFill>
          <a:blip r:embed="rId3"/>
          <a:stretch>
            <a:fillRect/>
          </a:stretch>
        </p:blipFill>
        <p:spPr>
          <a:xfrm>
            <a:off x="9720532" y="134843"/>
            <a:ext cx="1803186" cy="735027"/>
          </a:xfrm>
          <a:prstGeom prst="rect">
            <a:avLst/>
          </a:prstGeom>
        </p:spPr>
      </p:pic>
      <p:sp>
        <p:nvSpPr>
          <p:cNvPr id="6" name="TextBox 5">
            <a:extLst>
              <a:ext uri="{FF2B5EF4-FFF2-40B4-BE49-F238E27FC236}">
                <a16:creationId xmlns:a16="http://schemas.microsoft.com/office/drawing/2014/main" id="{91B6EDC9-C81F-48AA-864B-FAFD4577AD59}"/>
              </a:ext>
            </a:extLst>
          </p:cNvPr>
          <p:cNvSpPr txBox="1"/>
          <p:nvPr/>
        </p:nvSpPr>
        <p:spPr>
          <a:xfrm>
            <a:off x="8504321" y="6298532"/>
            <a:ext cx="3003884"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4"/>
              </a:rPr>
              <a:t>Find All Guidance (ca.gov)</a:t>
            </a:r>
            <a:endParaRPr lang="en-US"/>
          </a:p>
        </p:txBody>
      </p:sp>
      <p:sp>
        <p:nvSpPr>
          <p:cNvPr id="7" name="TextBox 6">
            <a:extLst>
              <a:ext uri="{FF2B5EF4-FFF2-40B4-BE49-F238E27FC236}">
                <a16:creationId xmlns:a16="http://schemas.microsoft.com/office/drawing/2014/main" id="{15A43539-32F4-49E0-AC45-E6FBEDAAF111}"/>
              </a:ext>
            </a:extLst>
          </p:cNvPr>
          <p:cNvSpPr txBox="1"/>
          <p:nvPr/>
        </p:nvSpPr>
        <p:spPr>
          <a:xfrm>
            <a:off x="1495928" y="6258426"/>
            <a:ext cx="6372724"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200">
                <a:solidFill>
                  <a:schemeClr val="bg1"/>
                </a:solidFill>
                <a:cs typeface="Arial"/>
              </a:rPr>
              <a:t>*Patients can use their DCVR to verify their vaccination status or to replace a lost paper vaccination card.​</a:t>
            </a:r>
          </a:p>
        </p:txBody>
      </p:sp>
    </p:spTree>
    <p:extLst>
      <p:ext uri="{BB962C8B-B14F-4D97-AF65-F5344CB8AC3E}">
        <p14:creationId xmlns:p14="http://schemas.microsoft.com/office/powerpoint/2010/main" val="8046680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1E0386-D9D4-40D4-BA06-C9264E72C9CD}"/>
              </a:ext>
            </a:extLst>
          </p:cNvPr>
          <p:cNvSpPr>
            <a:spLocks noGrp="1"/>
          </p:cNvSpPr>
          <p:nvPr>
            <p:ph type="title"/>
          </p:nvPr>
        </p:nvSpPr>
        <p:spPr>
          <a:xfrm>
            <a:off x="600075" y="501766"/>
            <a:ext cx="11353800" cy="1325563"/>
          </a:xfrm>
        </p:spPr>
        <p:txBody>
          <a:bodyPr>
            <a:normAutofit/>
          </a:bodyPr>
          <a:lstStyle/>
          <a:p>
            <a:r>
              <a:rPr lang="en-US" sz="3600" b="1"/>
              <a:t>Rural Communities Webinar</a:t>
            </a:r>
            <a:r>
              <a:rPr lang="en-US" sz="3600"/>
              <a:t>: How to Have Conversations about COVID-19 Vaccines</a:t>
            </a:r>
          </a:p>
        </p:txBody>
      </p:sp>
      <p:sp>
        <p:nvSpPr>
          <p:cNvPr id="3" name="Content Placeholder 2">
            <a:extLst>
              <a:ext uri="{FF2B5EF4-FFF2-40B4-BE49-F238E27FC236}">
                <a16:creationId xmlns:a16="http://schemas.microsoft.com/office/drawing/2014/main" id="{EF8D29C2-9601-4FA0-85A1-A59DC14D5369}"/>
              </a:ext>
            </a:extLst>
          </p:cNvPr>
          <p:cNvSpPr>
            <a:spLocks noGrp="1"/>
          </p:cNvSpPr>
          <p:nvPr>
            <p:ph idx="1"/>
          </p:nvPr>
        </p:nvSpPr>
        <p:spPr>
          <a:xfrm>
            <a:off x="837786" y="2091648"/>
            <a:ext cx="10421178" cy="3642402"/>
          </a:xfrm>
        </p:spPr>
        <p:txBody>
          <a:bodyPr vert="horz" lIns="91440" tIns="45720" rIns="91440" bIns="45720" rtlCol="0" anchor="t">
            <a:noAutofit/>
          </a:bodyPr>
          <a:lstStyle/>
          <a:p>
            <a:pPr marL="0" indent="0">
              <a:lnSpc>
                <a:spcPct val="120000"/>
              </a:lnSpc>
              <a:spcBef>
                <a:spcPts val="1200"/>
              </a:spcBef>
              <a:spcAft>
                <a:spcPts val="600"/>
              </a:spcAft>
              <a:buNone/>
            </a:pPr>
            <a:r>
              <a:rPr lang="en-US" sz="1900">
                <a:effectLst/>
                <a:latin typeface="+mj-lt"/>
                <a:ea typeface="Calibri" panose="020F0502020204030204" pitchFamily="34" charset="0"/>
                <a:cs typeface="Times New Roman"/>
              </a:rPr>
              <a:t>Please join Dr. Jasmeet Bains, based in Kern County, California, for </a:t>
            </a:r>
            <a:r>
              <a:rPr lang="en-US" sz="1900">
                <a:latin typeface="+mj-lt"/>
                <a:ea typeface="Calibri" panose="020F0502020204030204" pitchFamily="34" charset="0"/>
                <a:cs typeface="Times New Roman"/>
              </a:rPr>
              <a:t>a webinar</a:t>
            </a:r>
            <a:r>
              <a:rPr lang="en-US" sz="1900">
                <a:effectLst/>
                <a:latin typeface="+mj-lt"/>
                <a:ea typeface="Calibri" panose="020F0502020204030204" pitchFamily="34" charset="0"/>
                <a:cs typeface="Times New Roman"/>
              </a:rPr>
              <a:t> training on how to effectively communicate with your patients about COVID-19 vaccines in </a:t>
            </a:r>
            <a:r>
              <a:rPr lang="en-US" sz="1900" b="1">
                <a:effectLst/>
                <a:latin typeface="+mj-lt"/>
                <a:ea typeface="Calibri" panose="020F0502020204030204" pitchFamily="34" charset="0"/>
                <a:cs typeface="Times New Roman"/>
              </a:rPr>
              <a:t>rural communities.</a:t>
            </a:r>
            <a:endParaRPr lang="en-US" sz="1900" b="1">
              <a:latin typeface="+mj-lt"/>
              <a:ea typeface="Calibri" panose="020F0502020204030204" pitchFamily="34" charset="0"/>
              <a:cs typeface="Times New Roman"/>
            </a:endParaRPr>
          </a:p>
          <a:p>
            <a:pPr>
              <a:buNone/>
            </a:pPr>
            <a:r>
              <a:rPr lang="en-US" sz="1900">
                <a:ea typeface="+mn-lt"/>
                <a:cs typeface="+mn-lt"/>
              </a:rPr>
              <a:t>This training will cover:</a:t>
            </a:r>
            <a:endParaRPr lang="en-US"/>
          </a:p>
          <a:p>
            <a:pPr>
              <a:buFont typeface="Arial"/>
              <a:buChar char="•"/>
            </a:pPr>
            <a:r>
              <a:rPr lang="en-US" sz="1900">
                <a:ea typeface="+mn-lt"/>
                <a:cs typeface="+mn-lt"/>
              </a:rPr>
              <a:t>The latest data and insights on COVID-19 vaccination rates in rural communities.</a:t>
            </a:r>
            <a:endParaRPr lang="en-US"/>
          </a:p>
          <a:p>
            <a:pPr>
              <a:buFont typeface="Arial"/>
              <a:buChar char="•"/>
            </a:pPr>
            <a:r>
              <a:rPr lang="en-US" sz="1900">
                <a:ea typeface="+mn-lt"/>
                <a:cs typeface="+mn-lt"/>
              </a:rPr>
              <a:t>Key messages addressing common patient concerns about the COVID-19 vaccine.</a:t>
            </a:r>
            <a:endParaRPr lang="en-US"/>
          </a:p>
          <a:p>
            <a:pPr>
              <a:buFont typeface="Arial"/>
              <a:buChar char="•"/>
            </a:pPr>
            <a:r>
              <a:rPr lang="en-US" sz="1900">
                <a:ea typeface="+mn-lt"/>
                <a:cs typeface="+mn-lt"/>
              </a:rPr>
              <a:t>Communication tools for effective patient conversations.</a:t>
            </a:r>
            <a:endParaRPr lang="en-US"/>
          </a:p>
          <a:p>
            <a:pPr marL="0" indent="0">
              <a:lnSpc>
                <a:spcPct val="120000"/>
              </a:lnSpc>
              <a:spcBef>
                <a:spcPts val="1200"/>
              </a:spcBef>
              <a:spcAft>
                <a:spcPts val="600"/>
              </a:spcAft>
              <a:buNone/>
            </a:pPr>
            <a:r>
              <a:rPr lang="en-US" sz="1900">
                <a:effectLst/>
                <a:latin typeface="+mj-lt"/>
                <a:ea typeface="Calibri" panose="020F0502020204030204" pitchFamily="34" charset="0"/>
                <a:cs typeface="Times New Roman"/>
              </a:rPr>
              <a:t>Register here: </a:t>
            </a:r>
            <a:r>
              <a:rPr lang="en-US" sz="1900">
                <a:solidFill>
                  <a:schemeClr val="accent1"/>
                </a:solidFill>
                <a:latin typeface="+mj-lt"/>
                <a:ea typeface="Calibri" panose="020F0502020204030204" pitchFamily="34" charset="0"/>
                <a:cs typeface="Times New Roman"/>
                <a:hlinkClick r:id="rId2">
                  <a:extLst>
                    <a:ext uri="{A12FA001-AC4F-418D-AE19-62706E023703}">
                      <ahyp:hlinkClr xmlns:ahyp="http://schemas.microsoft.com/office/drawing/2018/hyperlinkcolor" val="tx"/>
                    </a:ext>
                  </a:extLst>
                </a:hlinkClick>
              </a:rPr>
              <a:t>Monday, September 27 at 12:00PM </a:t>
            </a:r>
            <a:endParaRPr lang="en-US" sz="1900">
              <a:solidFill>
                <a:schemeClr val="accent1"/>
              </a:solidFill>
              <a:latin typeface="+mj-lt"/>
              <a:ea typeface="Calibri" panose="020F0502020204030204" pitchFamily="34" charset="0"/>
              <a:cs typeface="Times New Roman" panose="02020603050405020304" pitchFamily="18" charset="0"/>
            </a:endParaRPr>
          </a:p>
          <a:p>
            <a:pPr marL="0" indent="0">
              <a:lnSpc>
                <a:spcPct val="120000"/>
              </a:lnSpc>
              <a:spcBef>
                <a:spcPts val="1200"/>
              </a:spcBef>
              <a:spcAft>
                <a:spcPts val="600"/>
              </a:spcAft>
              <a:buNone/>
            </a:pPr>
            <a:r>
              <a:rPr lang="en-US" sz="1900">
                <a:effectLst/>
                <a:latin typeface="+mj-lt"/>
                <a:ea typeface="Calibri" panose="020F0502020204030204" pitchFamily="34" charset="0"/>
                <a:cs typeface="Times New Roman"/>
                <a:hlinkClick r:id="rId3"/>
              </a:rPr>
              <a:t>30 Conversations in 30 Days webpage</a:t>
            </a:r>
            <a:r>
              <a:rPr lang="en-US" sz="1900">
                <a:latin typeface="+mj-lt"/>
                <a:ea typeface="Calibri" panose="020F0502020204030204" pitchFamily="34" charset="0"/>
                <a:cs typeface="Times New Roman"/>
              </a:rPr>
              <a:t> </a:t>
            </a:r>
            <a:endParaRPr lang="en-US" sz="1900">
              <a:effectLst/>
              <a:latin typeface="+mj-lt"/>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1200B17E-0E29-4B39-BABF-766F85BAAC2F}"/>
              </a:ext>
            </a:extLst>
          </p:cNvPr>
          <p:cNvSpPr>
            <a:spLocks noGrp="1"/>
          </p:cNvSpPr>
          <p:nvPr>
            <p:ph type="sldNum" sz="quarter" idx="12"/>
          </p:nvPr>
        </p:nvSpPr>
        <p:spPr/>
        <p:txBody>
          <a:bodyPr/>
          <a:lstStyle/>
          <a:p>
            <a:fld id="{13D703BF-151A-0D40-8508-CABBAD09F9A9}" type="slidenum">
              <a:rPr lang="en-US" smtClean="0"/>
              <a:t>11</a:t>
            </a:fld>
            <a:endParaRPr lang="en-US"/>
          </a:p>
        </p:txBody>
      </p:sp>
      <p:pic>
        <p:nvPicPr>
          <p:cNvPr id="6" name="Picture 5" descr="Logo&#10;&#10;Description automatically generated">
            <a:extLst>
              <a:ext uri="{FF2B5EF4-FFF2-40B4-BE49-F238E27FC236}">
                <a16:creationId xmlns:a16="http://schemas.microsoft.com/office/drawing/2014/main" id="{638B7254-43CD-4075-A5FA-3D0F9B65F7F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43930" y="4406105"/>
            <a:ext cx="2104945" cy="1325563"/>
          </a:xfrm>
          <a:prstGeom prst="rect">
            <a:avLst/>
          </a:prstGeom>
        </p:spPr>
      </p:pic>
    </p:spTree>
    <p:extLst>
      <p:ext uri="{BB962C8B-B14F-4D97-AF65-F5344CB8AC3E}">
        <p14:creationId xmlns:p14="http://schemas.microsoft.com/office/powerpoint/2010/main" val="423005277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B6B4E1-F4EA-41B4-A291-67429332FA50}"/>
              </a:ext>
            </a:extLst>
          </p:cNvPr>
          <p:cNvSpPr>
            <a:spLocks noGrp="1"/>
          </p:cNvSpPr>
          <p:nvPr>
            <p:ph type="title"/>
          </p:nvPr>
        </p:nvSpPr>
        <p:spPr>
          <a:xfrm>
            <a:off x="609600" y="127000"/>
            <a:ext cx="10515600" cy="1325563"/>
          </a:xfrm>
        </p:spPr>
        <p:txBody>
          <a:bodyPr/>
          <a:lstStyle/>
          <a:p>
            <a:r>
              <a:rPr lang="en-US" sz="3600">
                <a:cs typeface="Arial"/>
              </a:rPr>
              <a:t>Recent Webinars You May Have Missed:</a:t>
            </a:r>
          </a:p>
        </p:txBody>
      </p:sp>
      <p:sp>
        <p:nvSpPr>
          <p:cNvPr id="3" name="Content Placeholder 2">
            <a:extLst>
              <a:ext uri="{FF2B5EF4-FFF2-40B4-BE49-F238E27FC236}">
                <a16:creationId xmlns:a16="http://schemas.microsoft.com/office/drawing/2014/main" id="{BA824B1D-033B-4489-A384-0B2995D89A31}"/>
              </a:ext>
            </a:extLst>
          </p:cNvPr>
          <p:cNvSpPr>
            <a:spLocks noGrp="1"/>
          </p:cNvSpPr>
          <p:nvPr>
            <p:ph idx="1"/>
          </p:nvPr>
        </p:nvSpPr>
        <p:spPr>
          <a:xfrm>
            <a:off x="3252158" y="1505777"/>
            <a:ext cx="8644065" cy="4404485"/>
          </a:xfrm>
        </p:spPr>
        <p:txBody>
          <a:bodyPr vert="horz" lIns="91440" tIns="45720" rIns="91440" bIns="45720" rtlCol="0" anchor="t">
            <a:noAutofit/>
          </a:bodyPr>
          <a:lstStyle/>
          <a:p>
            <a:pPr marL="0" indent="0">
              <a:lnSpc>
                <a:spcPct val="120000"/>
              </a:lnSpc>
              <a:buNone/>
            </a:pPr>
            <a:r>
              <a:rPr lang="en-US" sz="2300">
                <a:ea typeface="+mn-lt"/>
                <a:cs typeface="+mn-lt"/>
              </a:rPr>
              <a:t>CDC hosted a Clinician Outreach Communication Activity (COCA) Call: "Influenza Vaccination Recommendations and Guidance on Coadministration with COVID-19 Vaccines." View </a:t>
            </a:r>
            <a:r>
              <a:rPr lang="en-US" sz="2300">
                <a:ea typeface="+mn-lt"/>
                <a:cs typeface="+mn-lt"/>
                <a:hlinkClick r:id="rId2"/>
              </a:rPr>
              <a:t>slides</a:t>
            </a:r>
            <a:r>
              <a:rPr lang="en-US" sz="2300">
                <a:ea typeface="+mn-lt"/>
                <a:cs typeface="+mn-lt"/>
              </a:rPr>
              <a:t> or watch the </a:t>
            </a:r>
            <a:r>
              <a:rPr lang="en-US" sz="2300">
                <a:ea typeface="+mn-lt"/>
                <a:cs typeface="+mn-lt"/>
                <a:hlinkClick r:id="rId3"/>
              </a:rPr>
              <a:t>archive</a:t>
            </a:r>
            <a:r>
              <a:rPr lang="en-US" sz="2300">
                <a:ea typeface="+mn-lt"/>
                <a:cs typeface="+mn-lt"/>
              </a:rPr>
              <a:t>.</a:t>
            </a:r>
          </a:p>
          <a:p>
            <a:pPr marL="0" indent="0">
              <a:lnSpc>
                <a:spcPct val="120000"/>
              </a:lnSpc>
              <a:buNone/>
            </a:pPr>
            <a:endParaRPr lang="en-US" sz="2300">
              <a:ea typeface="+mn-lt"/>
              <a:cs typeface="+mn-lt"/>
            </a:endParaRPr>
          </a:p>
          <a:p>
            <a:pPr marL="0" indent="0">
              <a:lnSpc>
                <a:spcPct val="120000"/>
              </a:lnSpc>
              <a:buNone/>
            </a:pPr>
            <a:r>
              <a:rPr lang="en-US" sz="2300">
                <a:ea typeface="+mn-lt"/>
                <a:cs typeface="+mn-lt"/>
              </a:rPr>
              <a:t>CDPH hosted a second webinar on "How to Have Crucial Conversations about COVID-19 Vaccines." View </a:t>
            </a:r>
            <a:r>
              <a:rPr lang="en-US" sz="2300">
                <a:ea typeface="+mn-lt"/>
                <a:cs typeface="+mn-lt"/>
                <a:hlinkClick r:id="rId4"/>
              </a:rPr>
              <a:t>slides</a:t>
            </a:r>
            <a:r>
              <a:rPr lang="en-US" sz="2300">
                <a:ea typeface="+mn-lt"/>
                <a:cs typeface="+mn-lt"/>
              </a:rPr>
              <a:t> or watch the </a:t>
            </a:r>
            <a:r>
              <a:rPr lang="en-US" sz="2300">
                <a:ea typeface="+mn-lt"/>
                <a:cs typeface="+mn-lt"/>
                <a:hlinkClick r:id="rId5"/>
              </a:rPr>
              <a:t>archive</a:t>
            </a:r>
            <a:r>
              <a:rPr lang="en-US" sz="2300">
                <a:ea typeface="+mn-lt"/>
                <a:cs typeface="+mn-lt"/>
              </a:rPr>
              <a:t>.</a:t>
            </a:r>
          </a:p>
          <a:p>
            <a:pPr lvl="1">
              <a:lnSpc>
                <a:spcPct val="120000"/>
              </a:lnSpc>
            </a:pPr>
            <a:r>
              <a:rPr lang="en-US" sz="2000">
                <a:ea typeface="+mn-lt"/>
                <a:cs typeface="+mn-lt"/>
              </a:rPr>
              <a:t>Find more information about the “30 Conversations in 30 Days” campaign at  </a:t>
            </a:r>
            <a:r>
              <a:rPr lang="en-US" sz="2000">
                <a:ea typeface="+mn-lt"/>
                <a:cs typeface="+mn-lt"/>
                <a:hlinkClick r:id="rId6"/>
              </a:rPr>
              <a:t>https://eziz.org/covid/30conversations/</a:t>
            </a:r>
            <a:r>
              <a:rPr lang="en-US" sz="2000">
                <a:ea typeface="+mn-lt"/>
                <a:cs typeface="+mn-lt"/>
              </a:rPr>
              <a:t> </a:t>
            </a:r>
          </a:p>
          <a:p>
            <a:pPr marL="0" indent="0">
              <a:buNone/>
            </a:pPr>
            <a:endParaRPr lang="en-US" sz="2400">
              <a:solidFill>
                <a:srgbClr val="FF0000"/>
              </a:solidFill>
              <a:cs typeface="Arial"/>
            </a:endParaRPr>
          </a:p>
        </p:txBody>
      </p:sp>
      <p:sp>
        <p:nvSpPr>
          <p:cNvPr id="4" name="Slide Number Placeholder 3">
            <a:extLst>
              <a:ext uri="{FF2B5EF4-FFF2-40B4-BE49-F238E27FC236}">
                <a16:creationId xmlns:a16="http://schemas.microsoft.com/office/drawing/2014/main" id="{B4C6EE1F-492F-4B08-BAE2-30E91BA07F6F}"/>
              </a:ext>
            </a:extLst>
          </p:cNvPr>
          <p:cNvSpPr>
            <a:spLocks noGrp="1"/>
          </p:cNvSpPr>
          <p:nvPr>
            <p:ph type="sldNum" sz="quarter" idx="12"/>
          </p:nvPr>
        </p:nvSpPr>
        <p:spPr/>
        <p:txBody>
          <a:bodyPr/>
          <a:lstStyle/>
          <a:p>
            <a:fld id="{13D703BF-151A-0D40-8508-CABBAD09F9A9}" type="slidenum">
              <a:rPr lang="en-US" smtClean="0"/>
              <a:t>12</a:t>
            </a:fld>
            <a:endParaRPr lang="en-US"/>
          </a:p>
        </p:txBody>
      </p:sp>
      <p:pic>
        <p:nvPicPr>
          <p:cNvPr id="653314" name="Picture 2" descr="Clinicians Outreach and Communication Activity (COCA) logo.">
            <a:extLst>
              <a:ext uri="{FF2B5EF4-FFF2-40B4-BE49-F238E27FC236}">
                <a16:creationId xmlns:a16="http://schemas.microsoft.com/office/drawing/2014/main" id="{72C822DF-EE5A-5047-BF00-E63550E84B9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6027" y="1609331"/>
            <a:ext cx="2573132" cy="1630238"/>
          </a:xfrm>
          <a:prstGeom prst="rect">
            <a:avLst/>
          </a:prstGeom>
          <a:noFill/>
          <a:extLst>
            <a:ext uri="{909E8E84-426E-40DD-AFC4-6F175D3DCCD1}">
              <a14:hiddenFill xmlns:a14="http://schemas.microsoft.com/office/drawing/2010/main">
                <a:solidFill>
                  <a:srgbClr val="FFFFFF"/>
                </a:solidFill>
              </a14:hiddenFill>
            </a:ext>
          </a:extLst>
        </p:spPr>
      </p:pic>
      <p:pic>
        <p:nvPicPr>
          <p:cNvPr id="653316" name="Picture 4" descr="Vaccines &amp; Testing Information - CA Department of Developmental Services">
            <a:extLst>
              <a:ext uri="{FF2B5EF4-FFF2-40B4-BE49-F238E27FC236}">
                <a16:creationId xmlns:a16="http://schemas.microsoft.com/office/drawing/2014/main" id="{3F43EF3F-EE3F-2244-A95A-68C0F7F0426E}"/>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59468" y="3816217"/>
            <a:ext cx="2016518" cy="198686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6777860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D20857-4429-40A5-9EF3-86D3042CBBE1}"/>
              </a:ext>
            </a:extLst>
          </p:cNvPr>
          <p:cNvSpPr>
            <a:spLocks noGrp="1"/>
          </p:cNvSpPr>
          <p:nvPr>
            <p:ph type="title"/>
          </p:nvPr>
        </p:nvSpPr>
        <p:spPr>
          <a:xfrm>
            <a:off x="838200" y="214731"/>
            <a:ext cx="10588171" cy="1680620"/>
          </a:xfrm>
        </p:spPr>
        <p:txBody>
          <a:bodyPr>
            <a:normAutofit/>
          </a:bodyPr>
          <a:lstStyle/>
          <a:p>
            <a:r>
              <a:rPr lang="en-US" sz="3600" b="1">
                <a:cs typeface="Arial"/>
              </a:rPr>
              <a:t>COVID-19 Vaccination Field Guide:</a:t>
            </a:r>
            <a:br>
              <a:rPr lang="en-US">
                <a:cs typeface="Arial"/>
              </a:rPr>
            </a:br>
            <a:r>
              <a:rPr lang="en-US" sz="3200">
                <a:cs typeface="Arial"/>
              </a:rPr>
              <a:t>12 Strategies to Help Increase COVID-19 Vaccine Confidence and Demand (CDC)</a:t>
            </a:r>
            <a:endParaRPr lang="en-US" sz="3200"/>
          </a:p>
        </p:txBody>
      </p:sp>
      <p:sp>
        <p:nvSpPr>
          <p:cNvPr id="3" name="Content Placeholder 2">
            <a:extLst>
              <a:ext uri="{FF2B5EF4-FFF2-40B4-BE49-F238E27FC236}">
                <a16:creationId xmlns:a16="http://schemas.microsoft.com/office/drawing/2014/main" id="{34BAC57B-B1FD-46AE-9030-531D7FF5EEF0}"/>
              </a:ext>
            </a:extLst>
          </p:cNvPr>
          <p:cNvSpPr>
            <a:spLocks noGrp="1"/>
          </p:cNvSpPr>
          <p:nvPr>
            <p:ph idx="1"/>
          </p:nvPr>
        </p:nvSpPr>
        <p:spPr>
          <a:xfrm>
            <a:off x="3980793" y="2416661"/>
            <a:ext cx="7601607" cy="2983242"/>
          </a:xfrm>
        </p:spPr>
        <p:txBody>
          <a:bodyPr vert="horz" lIns="91440" tIns="45720" rIns="91440" bIns="45720" rtlCol="0" anchor="t">
            <a:normAutofit/>
          </a:bodyPr>
          <a:lstStyle/>
          <a:p>
            <a:pPr>
              <a:lnSpc>
                <a:spcPct val="100000"/>
              </a:lnSpc>
            </a:pPr>
            <a:r>
              <a:rPr lang="en-US" sz="2400">
                <a:ea typeface="+mn-lt"/>
                <a:cs typeface="+mn-lt"/>
              </a:rPr>
              <a:t>Outlines strategies which address common barriers (structural, behavioral, informational) to help increase vaccine confidence and uptake. </a:t>
            </a:r>
            <a:endParaRPr lang="en-US"/>
          </a:p>
          <a:p>
            <a:pPr>
              <a:lnSpc>
                <a:spcPct val="100000"/>
              </a:lnSpc>
            </a:pPr>
            <a:r>
              <a:rPr lang="en-US" sz="2400">
                <a:ea typeface="+mn-lt"/>
                <a:cs typeface="+mn-lt"/>
              </a:rPr>
              <a:t>Includes examples from communities currently using these strategies to increase COVID-19 vaccine confidence and uptake.</a:t>
            </a:r>
          </a:p>
        </p:txBody>
      </p:sp>
      <p:sp>
        <p:nvSpPr>
          <p:cNvPr id="4" name="Slide Number Placeholder 3">
            <a:extLst>
              <a:ext uri="{FF2B5EF4-FFF2-40B4-BE49-F238E27FC236}">
                <a16:creationId xmlns:a16="http://schemas.microsoft.com/office/drawing/2014/main" id="{02778580-5BFB-441C-B5D7-3BBA3847DC40}"/>
              </a:ext>
            </a:extLst>
          </p:cNvPr>
          <p:cNvSpPr>
            <a:spLocks noGrp="1"/>
          </p:cNvSpPr>
          <p:nvPr>
            <p:ph type="sldNum" sz="quarter" idx="12"/>
          </p:nvPr>
        </p:nvSpPr>
        <p:spPr/>
        <p:txBody>
          <a:bodyPr/>
          <a:lstStyle/>
          <a:p>
            <a:fld id="{13D703BF-151A-0D40-8508-CABBAD09F9A9}" type="slidenum">
              <a:rPr lang="en-US" smtClean="0"/>
              <a:t>13</a:t>
            </a:fld>
            <a:endParaRPr lang="en-US"/>
          </a:p>
        </p:txBody>
      </p:sp>
      <p:pic>
        <p:nvPicPr>
          <p:cNvPr id="5" name="Picture 5" descr="Screen Shot 2021-09-16 at 10.10.18 AM.png">
            <a:extLst>
              <a:ext uri="{FF2B5EF4-FFF2-40B4-BE49-F238E27FC236}">
                <a16:creationId xmlns:a16="http://schemas.microsoft.com/office/drawing/2014/main" id="{77CDE97F-3E6B-4C48-8236-3E9444E1E1DD}"/>
              </a:ext>
            </a:extLst>
          </p:cNvPr>
          <p:cNvPicPr>
            <a:picLocks noChangeAspect="1"/>
          </p:cNvPicPr>
          <p:nvPr/>
        </p:nvPicPr>
        <p:blipFill rotWithShape="1">
          <a:blip r:embed="rId2"/>
          <a:srcRect b="1207"/>
          <a:stretch/>
        </p:blipFill>
        <p:spPr>
          <a:xfrm>
            <a:off x="730793" y="2151467"/>
            <a:ext cx="2743200" cy="3513630"/>
          </a:xfrm>
          <a:prstGeom prst="rect">
            <a:avLst/>
          </a:prstGeom>
          <a:effectLst>
            <a:outerShdw blurRad="50800" dist="38100" dir="2700000" sx="102816" sy="102816" algn="tl" rotWithShape="0">
              <a:prstClr val="black">
                <a:alpha val="40000"/>
              </a:prstClr>
            </a:outerShdw>
          </a:effectLst>
        </p:spPr>
      </p:pic>
      <p:sp>
        <p:nvSpPr>
          <p:cNvPr id="6" name="TextBox 5">
            <a:extLst>
              <a:ext uri="{FF2B5EF4-FFF2-40B4-BE49-F238E27FC236}">
                <a16:creationId xmlns:a16="http://schemas.microsoft.com/office/drawing/2014/main" id="{51BD421C-5FB9-1A48-B6C0-A77F4B0189B7}"/>
              </a:ext>
            </a:extLst>
          </p:cNvPr>
          <p:cNvSpPr txBox="1"/>
          <p:nvPr/>
        </p:nvSpPr>
        <p:spPr>
          <a:xfrm>
            <a:off x="1975944" y="6356350"/>
            <a:ext cx="6032938" cy="369332"/>
          </a:xfrm>
          <a:prstGeom prst="rect">
            <a:avLst/>
          </a:prstGeom>
          <a:noFill/>
        </p:spPr>
        <p:txBody>
          <a:bodyPr wrap="square" rtlCol="0">
            <a:spAutoFit/>
          </a:bodyPr>
          <a:lstStyle/>
          <a:p>
            <a:r>
              <a:rPr lang="en-US">
                <a:solidFill>
                  <a:schemeClr val="bg1"/>
                </a:solidFill>
              </a:rPr>
              <a:t>Access</a:t>
            </a:r>
            <a:r>
              <a:rPr lang="en-US"/>
              <a:t> </a:t>
            </a:r>
            <a:r>
              <a:rPr lang="en-US">
                <a:hlinkClick r:id="rId3"/>
              </a:rPr>
              <a:t>COVID-19 Vaccination Field Guide </a:t>
            </a:r>
            <a:r>
              <a:rPr lang="en-US">
                <a:solidFill>
                  <a:schemeClr val="bg1"/>
                </a:solidFill>
              </a:rPr>
              <a:t>here</a:t>
            </a:r>
            <a:r>
              <a:rPr lang="en-US"/>
              <a:t> </a:t>
            </a:r>
          </a:p>
        </p:txBody>
      </p:sp>
    </p:spTree>
    <p:extLst>
      <p:ext uri="{BB962C8B-B14F-4D97-AF65-F5344CB8AC3E}">
        <p14:creationId xmlns:p14="http://schemas.microsoft.com/office/powerpoint/2010/main" val="28239145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5E708-E31D-4FBF-9B88-4C59B2FEB474}"/>
              </a:ext>
            </a:extLst>
          </p:cNvPr>
          <p:cNvSpPr>
            <a:spLocks noGrp="1"/>
          </p:cNvSpPr>
          <p:nvPr>
            <p:ph type="title"/>
          </p:nvPr>
        </p:nvSpPr>
        <p:spPr>
          <a:xfrm>
            <a:off x="492376" y="2180215"/>
            <a:ext cx="10515600" cy="2852737"/>
          </a:xfrm>
        </p:spPr>
        <p:txBody>
          <a:bodyPr>
            <a:normAutofit/>
          </a:bodyPr>
          <a:lstStyle/>
          <a:p>
            <a:r>
              <a:rPr lang="en-US" sz="4400"/>
              <a:t>Vaccine Administration</a:t>
            </a:r>
            <a:r>
              <a:rPr lang="en-US" sz="4800"/>
              <a:t> </a:t>
            </a:r>
            <a:endParaRPr lang="en-US" sz="4800">
              <a:cs typeface="Arial"/>
            </a:endParaRPr>
          </a:p>
        </p:txBody>
      </p:sp>
      <p:sp>
        <p:nvSpPr>
          <p:cNvPr id="3" name="Content Placeholder 2">
            <a:extLst>
              <a:ext uri="{FF2B5EF4-FFF2-40B4-BE49-F238E27FC236}">
                <a16:creationId xmlns:a16="http://schemas.microsoft.com/office/drawing/2014/main" id="{B8E45892-66F8-4D01-8926-D13EE2BFA9B7}"/>
              </a:ext>
            </a:extLst>
          </p:cNvPr>
          <p:cNvSpPr>
            <a:spLocks noGrp="1"/>
          </p:cNvSpPr>
          <p:nvPr>
            <p:ph type="body" idx="1"/>
          </p:nvPr>
        </p:nvSpPr>
        <p:spPr>
          <a:xfrm>
            <a:off x="613873" y="5100435"/>
            <a:ext cx="10753725" cy="1500187"/>
          </a:xfrm>
        </p:spPr>
        <p:txBody>
          <a:bodyPr vert="horz" lIns="0" tIns="0" rIns="0" bIns="0" rtlCol="0" anchor="t">
            <a:normAutofit/>
          </a:bodyPr>
          <a:lstStyle/>
          <a:p>
            <a:r>
              <a:rPr lang="en-US">
                <a:ea typeface="+mn-lt"/>
                <a:cs typeface="+mn-lt"/>
              </a:rPr>
              <a:t>Amy Pine, CDPH</a:t>
            </a:r>
          </a:p>
          <a:p>
            <a:endParaRPr lang="en-US"/>
          </a:p>
        </p:txBody>
      </p:sp>
      <p:sp>
        <p:nvSpPr>
          <p:cNvPr id="4" name="Slide Number Placeholder 3">
            <a:extLst>
              <a:ext uri="{FF2B5EF4-FFF2-40B4-BE49-F238E27FC236}">
                <a16:creationId xmlns:a16="http://schemas.microsoft.com/office/drawing/2014/main" id="{4C7C1140-BFF3-46BF-8D80-A09A98C47EA5}"/>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0620104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3F926F-7795-47FF-928B-6DE0BC9A253C}"/>
              </a:ext>
            </a:extLst>
          </p:cNvPr>
          <p:cNvSpPr>
            <a:spLocks noGrp="1"/>
          </p:cNvSpPr>
          <p:nvPr>
            <p:ph type="title"/>
          </p:nvPr>
        </p:nvSpPr>
        <p:spPr>
          <a:xfrm>
            <a:off x="202170" y="-45744"/>
            <a:ext cx="10719938" cy="1325563"/>
          </a:xfrm>
        </p:spPr>
        <p:txBody>
          <a:bodyPr/>
          <a:lstStyle/>
          <a:p>
            <a:r>
              <a:rPr lang="en-US" sz="3600">
                <a:cs typeface="Arial"/>
              </a:rPr>
              <a:t>Doses Administered to Date (9/15/21)</a:t>
            </a:r>
          </a:p>
        </p:txBody>
      </p:sp>
      <p:sp>
        <p:nvSpPr>
          <p:cNvPr id="3" name="Content Placeholder 2">
            <a:extLst>
              <a:ext uri="{FF2B5EF4-FFF2-40B4-BE49-F238E27FC236}">
                <a16:creationId xmlns:a16="http://schemas.microsoft.com/office/drawing/2014/main" id="{D062D2ED-97DE-44FF-AB51-DAEB9F808E70}"/>
              </a:ext>
            </a:extLst>
          </p:cNvPr>
          <p:cNvSpPr>
            <a:spLocks noGrp="1"/>
          </p:cNvSpPr>
          <p:nvPr>
            <p:ph idx="1"/>
          </p:nvPr>
        </p:nvSpPr>
        <p:spPr>
          <a:xfrm>
            <a:off x="356810" y="1364405"/>
            <a:ext cx="5306320" cy="4407973"/>
          </a:xfrm>
        </p:spPr>
        <p:txBody>
          <a:bodyPr vert="horz" lIns="91440" tIns="45720" rIns="91440" bIns="45720" rtlCol="0" anchor="t">
            <a:normAutofit fontScale="92500"/>
          </a:bodyPr>
          <a:lstStyle/>
          <a:p>
            <a:pPr marL="0" indent="0" algn="ctr">
              <a:lnSpc>
                <a:spcPct val="100000"/>
              </a:lnSpc>
              <a:spcBef>
                <a:spcPts val="0"/>
              </a:spcBef>
              <a:buNone/>
            </a:pPr>
            <a:r>
              <a:rPr lang="en-US" b="1">
                <a:solidFill>
                  <a:schemeClr val="accent1"/>
                </a:solidFill>
                <a:latin typeface="Arial Black"/>
              </a:rPr>
              <a:t>48,219,430</a:t>
            </a:r>
            <a:r>
              <a:rPr lang="en-US" sz="4000" b="1">
                <a:solidFill>
                  <a:schemeClr val="accent1"/>
                </a:solidFill>
                <a:latin typeface="Arial Black"/>
              </a:rPr>
              <a:t> </a:t>
            </a:r>
            <a:r>
              <a:rPr lang="en-US" sz="2400">
                <a:solidFill>
                  <a:srgbClr val="000000"/>
                </a:solidFill>
                <a:latin typeface="Arial"/>
                <a:cs typeface="Arial"/>
              </a:rPr>
              <a:t>doses</a:t>
            </a:r>
            <a:r>
              <a:rPr lang="en-US" sz="2400">
                <a:cs typeface="Arial"/>
              </a:rPr>
              <a:t> administered!</a:t>
            </a:r>
            <a:br>
              <a:rPr lang="en-US" sz="2400">
                <a:cs typeface="Arial"/>
              </a:rPr>
            </a:br>
            <a:endParaRPr lang="en-US" sz="1000">
              <a:cs typeface="Arial"/>
            </a:endParaRPr>
          </a:p>
          <a:p>
            <a:pPr>
              <a:lnSpc>
                <a:spcPct val="120000"/>
              </a:lnSpc>
              <a:spcBef>
                <a:spcPts val="0"/>
              </a:spcBef>
              <a:spcAft>
                <a:spcPts val="600"/>
              </a:spcAft>
            </a:pPr>
            <a:r>
              <a:rPr lang="en-US" sz="2000" b="1">
                <a:ea typeface="+mn-lt"/>
                <a:cs typeface="+mn-lt"/>
              </a:rPr>
              <a:t>78.4%</a:t>
            </a:r>
            <a:r>
              <a:rPr lang="en-US" sz="2000" b="1">
                <a:solidFill>
                  <a:schemeClr val="accent1"/>
                </a:solidFill>
                <a:ea typeface="+mn-lt"/>
                <a:cs typeface="+mn-lt"/>
              </a:rPr>
              <a:t> </a:t>
            </a:r>
            <a:r>
              <a:rPr lang="en-US" sz="2000">
                <a:ea typeface="+mn-lt"/>
                <a:cs typeface="+mn-lt"/>
              </a:rPr>
              <a:t>of 12+ population has received at least one dose and 68.6% are fully protected!</a:t>
            </a:r>
          </a:p>
          <a:p>
            <a:pPr>
              <a:lnSpc>
                <a:spcPct val="120000"/>
              </a:lnSpc>
              <a:spcBef>
                <a:spcPts val="0"/>
              </a:spcBef>
              <a:spcAft>
                <a:spcPts val="600"/>
              </a:spcAft>
            </a:pPr>
            <a:endParaRPr lang="en-US" sz="2000">
              <a:ea typeface="+mn-lt"/>
              <a:cs typeface="+mn-lt"/>
            </a:endParaRPr>
          </a:p>
          <a:p>
            <a:pPr>
              <a:lnSpc>
                <a:spcPct val="120000"/>
              </a:lnSpc>
              <a:spcBef>
                <a:spcPts val="0"/>
              </a:spcBef>
              <a:spcAft>
                <a:spcPts val="600"/>
              </a:spcAft>
            </a:pPr>
            <a:r>
              <a:rPr lang="en-US" sz="2000" b="1">
                <a:ea typeface="+mn-lt"/>
                <a:cs typeface="+mn-lt"/>
              </a:rPr>
              <a:t>82.55%</a:t>
            </a:r>
            <a:r>
              <a:rPr lang="en-US" sz="2000">
                <a:ea typeface="+mn-lt"/>
                <a:cs typeface="+mn-lt"/>
              </a:rPr>
              <a:t> of 65+ population has received at least one dose (72.9% fully protected)</a:t>
            </a:r>
          </a:p>
          <a:p>
            <a:pPr>
              <a:lnSpc>
                <a:spcPct val="120000"/>
              </a:lnSpc>
              <a:spcBef>
                <a:spcPts val="0"/>
              </a:spcBef>
              <a:spcAft>
                <a:spcPts val="600"/>
              </a:spcAft>
            </a:pPr>
            <a:endParaRPr lang="en-US" sz="2000">
              <a:ea typeface="+mn-lt"/>
              <a:cs typeface="+mn-lt"/>
            </a:endParaRPr>
          </a:p>
          <a:p>
            <a:pPr>
              <a:lnSpc>
                <a:spcPct val="120000"/>
              </a:lnSpc>
              <a:spcBef>
                <a:spcPts val="0"/>
              </a:spcBef>
              <a:spcAft>
                <a:spcPts val="600"/>
              </a:spcAft>
            </a:pPr>
            <a:r>
              <a:rPr lang="en-US" sz="2000" b="1">
                <a:ea typeface="+mn-lt"/>
                <a:cs typeface="+mn-lt"/>
              </a:rPr>
              <a:t>59.47%</a:t>
            </a:r>
            <a:r>
              <a:rPr lang="en-US" sz="2000">
                <a:ea typeface="+mn-lt"/>
                <a:cs typeface="+mn-lt"/>
              </a:rPr>
              <a:t> of 12-to-15-year-olds have received at least one dose (49.61% fully protected)</a:t>
            </a:r>
          </a:p>
          <a:p>
            <a:pPr>
              <a:lnSpc>
                <a:spcPct val="120000"/>
              </a:lnSpc>
              <a:spcBef>
                <a:spcPts val="0"/>
              </a:spcBef>
              <a:spcAft>
                <a:spcPts val="600"/>
              </a:spcAft>
            </a:pPr>
            <a:endParaRPr lang="en-US" sz="2000">
              <a:ea typeface="+mn-lt"/>
              <a:cs typeface="+mn-lt"/>
            </a:endParaRPr>
          </a:p>
        </p:txBody>
      </p:sp>
      <p:sp>
        <p:nvSpPr>
          <p:cNvPr id="4" name="Slide Number Placeholder 3">
            <a:extLst>
              <a:ext uri="{FF2B5EF4-FFF2-40B4-BE49-F238E27FC236}">
                <a16:creationId xmlns:a16="http://schemas.microsoft.com/office/drawing/2014/main" id="{AE684C44-897F-4F73-B968-58987D9FD53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C0FEB1C1-E36E-436B-A54B-3131072E6818}"/>
              </a:ext>
            </a:extLst>
          </p:cNvPr>
          <p:cNvSpPr txBox="1"/>
          <p:nvPr/>
        </p:nvSpPr>
        <p:spPr>
          <a:xfrm>
            <a:off x="1724638" y="6308079"/>
            <a:ext cx="7880565" cy="46166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defRPr/>
            </a:pPr>
            <a:r>
              <a:rPr lang="en-US" sz="2400" b="1">
                <a:solidFill>
                  <a:srgbClr val="F37D20"/>
                </a:solidFill>
                <a:latin typeface="Arial" panose="020B0604020202020204"/>
                <a:cs typeface="Arial"/>
                <a:hlinkClick r:id="rId3">
                  <a:extLst>
                    <a:ext uri="{A12FA001-AC4F-418D-AE19-62706E023703}">
                      <ahyp:hlinkClr xmlns:ahyp="http://schemas.microsoft.com/office/drawing/2018/hyperlinkcolor" val="tx"/>
                    </a:ext>
                  </a:extLst>
                </a:hlinkClick>
              </a:rPr>
              <a:t>6,106,448</a:t>
            </a:r>
            <a:r>
              <a:rPr kumimoji="0" lang="en-US" sz="2400" b="1" i="0" u="none" strike="noStrike" kern="1200" cap="none" spc="0" normalizeH="0" baseline="0" noProof="0">
                <a:ln>
                  <a:noFill/>
                </a:ln>
                <a:solidFill>
                  <a:srgbClr val="F37D20"/>
                </a:solidFill>
                <a:effectLst/>
                <a:uLnTx/>
                <a:uFillTx/>
                <a:latin typeface="Arial" panose="020B0604020202020204"/>
                <a:cs typeface="Arial"/>
                <a:hlinkClick r:id="rId3">
                  <a:extLst>
                    <a:ext uri="{A12FA001-AC4F-418D-AE19-62706E023703}">
                      <ahyp:hlinkClr xmlns:ahyp="http://schemas.microsoft.com/office/drawing/2018/hyperlinkcolor" val="tx"/>
                    </a:ext>
                  </a:extLst>
                </a:hlinkClick>
              </a:rPr>
              <a:t> Doses on hand - </a:t>
            </a:r>
            <a:r>
              <a:rPr lang="en-US" sz="2400" b="1">
                <a:solidFill>
                  <a:srgbClr val="F37D20"/>
                </a:solidFill>
                <a:latin typeface="Arial" panose="020B0604020202020204"/>
                <a:cs typeface="Arial"/>
                <a:hlinkClick r:id="rId3">
                  <a:extLst>
                    <a:ext uri="{A12FA001-AC4F-418D-AE19-62706E023703}">
                      <ahyp:hlinkClr xmlns:ahyp="http://schemas.microsoft.com/office/drawing/2018/hyperlinkcolor" val="tx"/>
                    </a:ext>
                  </a:extLst>
                </a:hlinkClick>
              </a:rPr>
              <a:t>78 days</a:t>
            </a:r>
            <a:r>
              <a:rPr kumimoji="0" lang="en-US" sz="2400" b="1" i="0" u="none" strike="noStrike" kern="1200" cap="none" spc="0" normalizeH="0" baseline="0" noProof="0">
                <a:ln>
                  <a:noFill/>
                </a:ln>
                <a:solidFill>
                  <a:srgbClr val="F37D20"/>
                </a:solidFill>
                <a:effectLst/>
                <a:uLnTx/>
                <a:uFillTx/>
                <a:latin typeface="Arial" panose="020B0604020202020204"/>
                <a:cs typeface="Arial"/>
                <a:hlinkClick r:id="rId3">
                  <a:extLst>
                    <a:ext uri="{A12FA001-AC4F-418D-AE19-62706E023703}">
                      <ahyp:hlinkClr xmlns:ahyp="http://schemas.microsoft.com/office/drawing/2018/hyperlinkcolor" val="tx"/>
                    </a:ext>
                  </a:extLst>
                </a:hlinkClick>
              </a:rPr>
              <a:t> of inventory.</a:t>
            </a:r>
            <a:endParaRPr kumimoji="0" lang="en-US" sz="2400" b="1" i="0" u="none" strike="noStrike" kern="1200" cap="none" spc="0" normalizeH="0" baseline="0" noProof="0">
              <a:ln>
                <a:noFill/>
              </a:ln>
              <a:solidFill>
                <a:srgbClr val="F37D20"/>
              </a:solidFill>
              <a:effectLst/>
              <a:uLnTx/>
              <a:uFillTx/>
              <a:latin typeface="Arial" panose="020B0604020202020204"/>
              <a:ea typeface="+mn-ea"/>
              <a:cs typeface="Arial"/>
            </a:endParaRPr>
          </a:p>
        </p:txBody>
      </p:sp>
      <p:sp>
        <p:nvSpPr>
          <p:cNvPr id="7" name="TextBox 6">
            <a:extLst>
              <a:ext uri="{FF2B5EF4-FFF2-40B4-BE49-F238E27FC236}">
                <a16:creationId xmlns:a16="http://schemas.microsoft.com/office/drawing/2014/main" id="{8EDC33B3-6C95-4F3F-86F5-99C3958B5FC2}"/>
              </a:ext>
            </a:extLst>
          </p:cNvPr>
          <p:cNvSpPr txBox="1"/>
          <p:nvPr/>
        </p:nvSpPr>
        <p:spPr>
          <a:xfrm>
            <a:off x="6953182" y="5466821"/>
            <a:ext cx="4966161" cy="26161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1" u="none" strike="noStrike" kern="1200" cap="all" spc="0" normalizeH="0" baseline="0" noProof="0">
              <a:ln>
                <a:noFill/>
              </a:ln>
              <a:solidFill>
                <a:srgbClr val="000000"/>
              </a:solidFill>
              <a:effectLst/>
              <a:uLnTx/>
              <a:uFillTx/>
              <a:latin typeface="Arial" panose="020B0604020202020204"/>
              <a:ea typeface="+mn-ea"/>
              <a:cs typeface="Arial"/>
            </a:endParaRPr>
          </a:p>
        </p:txBody>
      </p:sp>
      <p:pic>
        <p:nvPicPr>
          <p:cNvPr id="5" name="Picture 7" descr="Spider-Man&amp;#39; gets vaccinated vs. COVID-19 in Marikina | GMA News Online">
            <a:extLst>
              <a:ext uri="{FF2B5EF4-FFF2-40B4-BE49-F238E27FC236}">
                <a16:creationId xmlns:a16="http://schemas.microsoft.com/office/drawing/2014/main" id="{B8B2B96A-7535-4EB4-814E-509BB223E6B6}"/>
              </a:ext>
            </a:extLst>
          </p:cNvPr>
          <p:cNvPicPr>
            <a:picLocks noChangeAspect="1"/>
          </p:cNvPicPr>
          <p:nvPr/>
        </p:nvPicPr>
        <p:blipFill>
          <a:blip r:embed="rId4"/>
          <a:stretch>
            <a:fillRect/>
          </a:stretch>
        </p:blipFill>
        <p:spPr>
          <a:xfrm>
            <a:off x="6396251" y="1770371"/>
            <a:ext cx="5302155" cy="2964691"/>
          </a:xfrm>
          <a:prstGeom prst="rect">
            <a:avLst/>
          </a:prstGeom>
          <a:ln>
            <a:solidFill>
              <a:srgbClr val="4472C4"/>
            </a:solidFill>
          </a:ln>
        </p:spPr>
      </p:pic>
      <p:sp>
        <p:nvSpPr>
          <p:cNvPr id="8" name="TextBox 7">
            <a:extLst>
              <a:ext uri="{FF2B5EF4-FFF2-40B4-BE49-F238E27FC236}">
                <a16:creationId xmlns:a16="http://schemas.microsoft.com/office/drawing/2014/main" id="{057FEEAC-4ED4-4A9E-A985-C92366CC0629}"/>
              </a:ext>
            </a:extLst>
          </p:cNvPr>
          <p:cNvSpPr txBox="1"/>
          <p:nvPr/>
        </p:nvSpPr>
        <p:spPr>
          <a:xfrm>
            <a:off x="6953535" y="4917742"/>
            <a:ext cx="3903259"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t>Even Super Heros Need Protection!</a:t>
            </a:r>
          </a:p>
        </p:txBody>
      </p:sp>
    </p:spTree>
    <p:extLst>
      <p:ext uri="{BB962C8B-B14F-4D97-AF65-F5344CB8AC3E}">
        <p14:creationId xmlns:p14="http://schemas.microsoft.com/office/powerpoint/2010/main" val="18467677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E1C70-1461-4EDB-BBE0-A21258F07CC8}"/>
              </a:ext>
            </a:extLst>
          </p:cNvPr>
          <p:cNvSpPr>
            <a:spLocks noGrp="1"/>
          </p:cNvSpPr>
          <p:nvPr>
            <p:ph type="title"/>
          </p:nvPr>
        </p:nvSpPr>
        <p:spPr>
          <a:xfrm>
            <a:off x="303663" y="137662"/>
            <a:ext cx="5841242" cy="1336936"/>
          </a:xfrm>
        </p:spPr>
        <p:txBody>
          <a:bodyPr/>
          <a:lstStyle/>
          <a:p>
            <a:r>
              <a:rPr lang="en-US">
                <a:cs typeface="Arial"/>
                <a:hlinkClick r:id="rId2"/>
              </a:rPr>
              <a:t>Vaccine Equity Metric</a:t>
            </a:r>
            <a:endParaRPr lang="en-US">
              <a:cs typeface="Arial"/>
            </a:endParaRPr>
          </a:p>
        </p:txBody>
      </p:sp>
      <p:sp>
        <p:nvSpPr>
          <p:cNvPr id="4" name="Slide Number Placeholder 3">
            <a:extLst>
              <a:ext uri="{FF2B5EF4-FFF2-40B4-BE49-F238E27FC236}">
                <a16:creationId xmlns:a16="http://schemas.microsoft.com/office/drawing/2014/main" id="{8A26C4CC-ACE7-4876-BF6B-B9F303E78A46}"/>
              </a:ext>
            </a:extLst>
          </p:cNvPr>
          <p:cNvSpPr>
            <a:spLocks noGrp="1"/>
          </p:cNvSpPr>
          <p:nvPr>
            <p:ph type="sldNum" sz="quarter" idx="12"/>
          </p:nvPr>
        </p:nvSpPr>
        <p:spPr/>
        <p:txBody>
          <a:bodyPr/>
          <a:lstStyle/>
          <a:p>
            <a:fld id="{13D703BF-151A-0D40-8508-CABBAD09F9A9}" type="slidenum">
              <a:rPr lang="en-US" smtClean="0"/>
              <a:t>16</a:t>
            </a:fld>
            <a:endParaRPr lang="en-US"/>
          </a:p>
        </p:txBody>
      </p:sp>
      <p:sp>
        <p:nvSpPr>
          <p:cNvPr id="6" name="TextBox 5">
            <a:extLst>
              <a:ext uri="{FF2B5EF4-FFF2-40B4-BE49-F238E27FC236}">
                <a16:creationId xmlns:a16="http://schemas.microsoft.com/office/drawing/2014/main" id="{43A8D104-8F7F-40B9-9522-4BB14D8D61AB}"/>
              </a:ext>
            </a:extLst>
          </p:cNvPr>
          <p:cNvSpPr txBox="1"/>
          <p:nvPr/>
        </p:nvSpPr>
        <p:spPr>
          <a:xfrm>
            <a:off x="675564" y="1710518"/>
            <a:ext cx="5245289" cy="2554545"/>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indent="-285750">
              <a:buFont typeface="Arial"/>
              <a:buChar char="•"/>
            </a:pPr>
            <a:r>
              <a:rPr lang="en-US" sz="2000"/>
              <a:t>69.8% of Q1 population has received at least one dose</a:t>
            </a:r>
            <a:endParaRPr lang="en-US" sz="2000">
              <a:cs typeface="Arial"/>
            </a:endParaRPr>
          </a:p>
          <a:p>
            <a:pPr marL="285750" indent="-285750">
              <a:buFont typeface="Arial"/>
              <a:buChar char="•"/>
            </a:pPr>
            <a:endParaRPr lang="en-US" sz="2000">
              <a:cs typeface="Arial"/>
            </a:endParaRPr>
          </a:p>
          <a:p>
            <a:pPr marL="285750" indent="-285750">
              <a:buFont typeface="Arial"/>
              <a:buChar char="•"/>
            </a:pPr>
            <a:r>
              <a:rPr lang="en-US" sz="2000">
                <a:cs typeface="Arial"/>
              </a:rPr>
              <a:t>76% of Q2 population has received at least one dose</a:t>
            </a:r>
          </a:p>
          <a:p>
            <a:pPr marL="285750" indent="-285750">
              <a:buFont typeface="Arial"/>
              <a:buChar char="•"/>
            </a:pPr>
            <a:endParaRPr lang="en-US" sz="2000">
              <a:cs typeface="Arial"/>
            </a:endParaRPr>
          </a:p>
          <a:p>
            <a:pPr marL="285750" indent="-285750">
              <a:buFont typeface="Arial"/>
              <a:buChar char="•"/>
            </a:pPr>
            <a:r>
              <a:rPr lang="en-US" sz="2000">
                <a:cs typeface="Arial"/>
              </a:rPr>
              <a:t>Over 4.5 million people from quartiles 1 and 2 have not yet been vaccinated </a:t>
            </a:r>
          </a:p>
        </p:txBody>
      </p:sp>
      <p:pic>
        <p:nvPicPr>
          <p:cNvPr id="11" name="Picture 11">
            <a:extLst>
              <a:ext uri="{FF2B5EF4-FFF2-40B4-BE49-F238E27FC236}">
                <a16:creationId xmlns:a16="http://schemas.microsoft.com/office/drawing/2014/main" id="{A2D129F9-9825-44A3-B3AA-AB271CBB9B62}"/>
              </a:ext>
            </a:extLst>
          </p:cNvPr>
          <p:cNvPicPr>
            <a:picLocks noGrp="1" noChangeAspect="1"/>
          </p:cNvPicPr>
          <p:nvPr>
            <p:ph idx="1"/>
          </p:nvPr>
        </p:nvPicPr>
        <p:blipFill>
          <a:blip r:embed="rId3"/>
          <a:stretch>
            <a:fillRect/>
          </a:stretch>
        </p:blipFill>
        <p:spPr>
          <a:xfrm>
            <a:off x="6192813" y="134611"/>
            <a:ext cx="5234318" cy="5823146"/>
          </a:xfrm>
          <a:ln>
            <a:solidFill>
              <a:srgbClr val="4472C4"/>
            </a:solidFill>
          </a:ln>
        </p:spPr>
      </p:pic>
    </p:spTree>
    <p:extLst>
      <p:ext uri="{BB962C8B-B14F-4D97-AF65-F5344CB8AC3E}">
        <p14:creationId xmlns:p14="http://schemas.microsoft.com/office/powerpoint/2010/main" val="296140313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3FF77D-FDA6-4D8D-B5E1-746BD268CF90}"/>
              </a:ext>
            </a:extLst>
          </p:cNvPr>
          <p:cNvSpPr>
            <a:spLocks noGrp="1"/>
          </p:cNvSpPr>
          <p:nvPr>
            <p:ph type="title"/>
          </p:nvPr>
        </p:nvSpPr>
        <p:spPr>
          <a:xfrm>
            <a:off x="368474" y="137438"/>
            <a:ext cx="10515600" cy="1325563"/>
          </a:xfrm>
        </p:spPr>
        <p:txBody>
          <a:bodyPr>
            <a:normAutofit/>
          </a:bodyPr>
          <a:lstStyle/>
          <a:p>
            <a:r>
              <a:rPr lang="en-US" sz="3600">
                <a:cs typeface="Arial"/>
              </a:rPr>
              <a:t>New Addition to CA </a:t>
            </a:r>
            <a:r>
              <a:rPr lang="en-US" sz="3600">
                <a:cs typeface="Arial"/>
                <a:hlinkClick r:id="rId2"/>
              </a:rPr>
              <a:t>Data Dashboard</a:t>
            </a:r>
            <a:endParaRPr lang="en-US" sz="3600">
              <a:cs typeface="Arial"/>
            </a:endParaRPr>
          </a:p>
        </p:txBody>
      </p:sp>
      <p:sp>
        <p:nvSpPr>
          <p:cNvPr id="3" name="Content Placeholder 2">
            <a:extLst>
              <a:ext uri="{FF2B5EF4-FFF2-40B4-BE49-F238E27FC236}">
                <a16:creationId xmlns:a16="http://schemas.microsoft.com/office/drawing/2014/main" id="{159D8F9F-96F7-4FAF-A5C1-8F66E1809DCF}"/>
              </a:ext>
            </a:extLst>
          </p:cNvPr>
          <p:cNvSpPr>
            <a:spLocks noGrp="1"/>
          </p:cNvSpPr>
          <p:nvPr>
            <p:ph idx="1"/>
          </p:nvPr>
        </p:nvSpPr>
        <p:spPr>
          <a:xfrm>
            <a:off x="781050" y="1358900"/>
            <a:ext cx="10515600" cy="4351338"/>
          </a:xfrm>
        </p:spPr>
        <p:txBody>
          <a:bodyPr vert="horz" lIns="91440" tIns="45720" rIns="91440" bIns="45720" rtlCol="0" anchor="t">
            <a:normAutofit/>
          </a:bodyPr>
          <a:lstStyle/>
          <a:p>
            <a:pPr>
              <a:lnSpc>
                <a:spcPct val="110000"/>
              </a:lnSpc>
            </a:pPr>
            <a:endParaRPr lang="en-US">
              <a:ea typeface="+mn-lt"/>
              <a:cs typeface="+mn-lt"/>
            </a:endParaRPr>
          </a:p>
          <a:p>
            <a:endParaRPr lang="en-US">
              <a:cs typeface="Arial"/>
            </a:endParaRPr>
          </a:p>
        </p:txBody>
      </p:sp>
      <p:sp>
        <p:nvSpPr>
          <p:cNvPr id="4" name="Slide Number Placeholder 3">
            <a:extLst>
              <a:ext uri="{FF2B5EF4-FFF2-40B4-BE49-F238E27FC236}">
                <a16:creationId xmlns:a16="http://schemas.microsoft.com/office/drawing/2014/main" id="{668E5D80-FD8E-4BB1-8C6D-8E79002F6448}"/>
              </a:ext>
            </a:extLst>
          </p:cNvPr>
          <p:cNvSpPr>
            <a:spLocks noGrp="1"/>
          </p:cNvSpPr>
          <p:nvPr>
            <p:ph type="sldNum" sz="quarter" idx="12"/>
          </p:nvPr>
        </p:nvSpPr>
        <p:spPr/>
        <p:txBody>
          <a:bodyPr/>
          <a:lstStyle/>
          <a:p>
            <a:fld id="{13D703BF-151A-0D40-8508-CABBAD09F9A9}" type="slidenum">
              <a:rPr lang="en-US" smtClean="0"/>
              <a:t>17</a:t>
            </a:fld>
            <a:endParaRPr lang="en-US"/>
          </a:p>
        </p:txBody>
      </p:sp>
      <p:sp>
        <p:nvSpPr>
          <p:cNvPr id="6" name="TextBox 5">
            <a:extLst>
              <a:ext uri="{FF2B5EF4-FFF2-40B4-BE49-F238E27FC236}">
                <a16:creationId xmlns:a16="http://schemas.microsoft.com/office/drawing/2014/main" id="{336B0A98-85F4-42B8-A23A-528CB3EA4F1C}"/>
              </a:ext>
            </a:extLst>
          </p:cNvPr>
          <p:cNvSpPr txBox="1"/>
          <p:nvPr/>
        </p:nvSpPr>
        <p:spPr>
          <a:xfrm>
            <a:off x="1457195" y="6269277"/>
            <a:ext cx="4246323"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3"/>
              </a:rPr>
              <a:t>https://covid19.ca.gov/state-dashboard/ </a:t>
            </a:r>
            <a:endParaRPr lang="en-US">
              <a:cs typeface="Arial"/>
            </a:endParaRPr>
          </a:p>
        </p:txBody>
      </p:sp>
      <p:pic>
        <p:nvPicPr>
          <p:cNvPr id="7" name="Picture 7">
            <a:extLst>
              <a:ext uri="{FF2B5EF4-FFF2-40B4-BE49-F238E27FC236}">
                <a16:creationId xmlns:a16="http://schemas.microsoft.com/office/drawing/2014/main" id="{71E3BC6F-72CD-4459-940E-491DFDE77C57}"/>
              </a:ext>
            </a:extLst>
          </p:cNvPr>
          <p:cNvPicPr>
            <a:picLocks noChangeAspect="1"/>
          </p:cNvPicPr>
          <p:nvPr/>
        </p:nvPicPr>
        <p:blipFill rotWithShape="1">
          <a:blip r:embed="rId4"/>
          <a:srcRect l="1966" r="17813" b="353"/>
          <a:stretch/>
        </p:blipFill>
        <p:spPr>
          <a:xfrm>
            <a:off x="110647" y="1962071"/>
            <a:ext cx="6814579" cy="2933896"/>
          </a:xfrm>
          <a:prstGeom prst="rect">
            <a:avLst/>
          </a:prstGeom>
          <a:ln>
            <a:solidFill>
              <a:srgbClr val="4472C4"/>
            </a:solidFill>
          </a:ln>
        </p:spPr>
      </p:pic>
      <p:pic>
        <p:nvPicPr>
          <p:cNvPr id="8" name="Picture 8">
            <a:extLst>
              <a:ext uri="{FF2B5EF4-FFF2-40B4-BE49-F238E27FC236}">
                <a16:creationId xmlns:a16="http://schemas.microsoft.com/office/drawing/2014/main" id="{694A3160-D347-455D-A5A0-BE2698CD697F}"/>
              </a:ext>
            </a:extLst>
          </p:cNvPr>
          <p:cNvPicPr>
            <a:picLocks noChangeAspect="1"/>
          </p:cNvPicPr>
          <p:nvPr/>
        </p:nvPicPr>
        <p:blipFill>
          <a:blip r:embed="rId5"/>
          <a:stretch>
            <a:fillRect/>
          </a:stretch>
        </p:blipFill>
        <p:spPr>
          <a:xfrm>
            <a:off x="6801634" y="1356986"/>
            <a:ext cx="5258842" cy="4144026"/>
          </a:xfrm>
          <a:prstGeom prst="rect">
            <a:avLst/>
          </a:prstGeom>
          <a:ln>
            <a:solidFill>
              <a:srgbClr val="4472C4"/>
            </a:solidFill>
          </a:ln>
        </p:spPr>
      </p:pic>
      <p:sp>
        <p:nvSpPr>
          <p:cNvPr id="9" name="TextBox 8">
            <a:extLst>
              <a:ext uri="{FF2B5EF4-FFF2-40B4-BE49-F238E27FC236}">
                <a16:creationId xmlns:a16="http://schemas.microsoft.com/office/drawing/2014/main" id="{76C6CFB0-BBDA-47AB-85E6-9F8545477FAC}"/>
              </a:ext>
            </a:extLst>
          </p:cNvPr>
          <p:cNvSpPr txBox="1"/>
          <p:nvPr/>
        </p:nvSpPr>
        <p:spPr>
          <a:xfrm>
            <a:off x="6415413" y="6269277"/>
            <a:ext cx="5331912"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a:hlinkClick r:id="rId6"/>
              </a:rPr>
              <a:t>https://covid19.ca.gov/vaccination-progress-data/</a:t>
            </a:r>
            <a:endParaRPr lang="en-US"/>
          </a:p>
        </p:txBody>
      </p:sp>
    </p:spTree>
    <p:extLst>
      <p:ext uri="{BB962C8B-B14F-4D97-AF65-F5344CB8AC3E}">
        <p14:creationId xmlns:p14="http://schemas.microsoft.com/office/powerpoint/2010/main" val="82218811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505E708-E31D-4FBF-9B88-4C59B2FEB474}"/>
              </a:ext>
            </a:extLst>
          </p:cNvPr>
          <p:cNvSpPr>
            <a:spLocks noGrp="1"/>
          </p:cNvSpPr>
          <p:nvPr>
            <p:ph type="title"/>
          </p:nvPr>
        </p:nvSpPr>
        <p:spPr>
          <a:xfrm>
            <a:off x="492376" y="2180215"/>
            <a:ext cx="10515600" cy="2852737"/>
          </a:xfrm>
        </p:spPr>
        <p:txBody>
          <a:bodyPr>
            <a:normAutofit/>
          </a:bodyPr>
          <a:lstStyle/>
          <a:p>
            <a:r>
              <a:rPr lang="en-US" sz="4400"/>
              <a:t>Data Improvement, Capacity Needs and Booster Doses</a:t>
            </a:r>
            <a:endParaRPr lang="en-US" sz="4800">
              <a:cs typeface="Arial"/>
            </a:endParaRPr>
          </a:p>
        </p:txBody>
      </p:sp>
      <p:sp>
        <p:nvSpPr>
          <p:cNvPr id="3" name="Content Placeholder 2">
            <a:extLst>
              <a:ext uri="{FF2B5EF4-FFF2-40B4-BE49-F238E27FC236}">
                <a16:creationId xmlns:a16="http://schemas.microsoft.com/office/drawing/2014/main" id="{B8E45892-66F8-4D01-8926-D13EE2BFA9B7}"/>
              </a:ext>
            </a:extLst>
          </p:cNvPr>
          <p:cNvSpPr>
            <a:spLocks noGrp="1"/>
          </p:cNvSpPr>
          <p:nvPr>
            <p:ph type="body" idx="1"/>
          </p:nvPr>
        </p:nvSpPr>
        <p:spPr>
          <a:xfrm>
            <a:off x="613873" y="5100435"/>
            <a:ext cx="10753725" cy="1500187"/>
          </a:xfrm>
        </p:spPr>
        <p:txBody>
          <a:bodyPr vert="horz" lIns="0" tIns="0" rIns="0" bIns="0" rtlCol="0" anchor="t">
            <a:normAutofit/>
          </a:bodyPr>
          <a:lstStyle/>
          <a:p>
            <a:r>
              <a:rPr lang="en-US">
                <a:ea typeface="+mn-lt"/>
                <a:cs typeface="+mn-lt"/>
              </a:rPr>
              <a:t>Jennifer Womack, CDPH</a:t>
            </a:r>
          </a:p>
          <a:p>
            <a:endParaRPr lang="en-US"/>
          </a:p>
        </p:txBody>
      </p:sp>
      <p:sp>
        <p:nvSpPr>
          <p:cNvPr id="4" name="Slide Number Placeholder 3">
            <a:extLst>
              <a:ext uri="{FF2B5EF4-FFF2-40B4-BE49-F238E27FC236}">
                <a16:creationId xmlns:a16="http://schemas.microsoft.com/office/drawing/2014/main" id="{4C7C1140-BFF3-46BF-8D80-A09A98C47EA5}"/>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3008729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4D7F7A-610D-487B-966C-A6EE0519AFC5}"/>
              </a:ext>
            </a:extLst>
          </p:cNvPr>
          <p:cNvSpPr>
            <a:spLocks noGrp="1"/>
          </p:cNvSpPr>
          <p:nvPr>
            <p:ph type="title"/>
          </p:nvPr>
        </p:nvSpPr>
        <p:spPr>
          <a:xfrm>
            <a:off x="378912" y="229426"/>
            <a:ext cx="11423736" cy="1346439"/>
          </a:xfrm>
        </p:spPr>
        <p:txBody>
          <a:bodyPr>
            <a:normAutofit/>
          </a:bodyPr>
          <a:lstStyle/>
          <a:p>
            <a:r>
              <a:rPr lang="en-US" sz="3600">
                <a:cs typeface="Arial"/>
              </a:rPr>
              <a:t>Data Improvements – Percentage Changes</a:t>
            </a:r>
          </a:p>
        </p:txBody>
      </p:sp>
      <p:sp>
        <p:nvSpPr>
          <p:cNvPr id="4" name="Slide Number Placeholder 3">
            <a:extLst>
              <a:ext uri="{FF2B5EF4-FFF2-40B4-BE49-F238E27FC236}">
                <a16:creationId xmlns:a16="http://schemas.microsoft.com/office/drawing/2014/main" id="{6DA5D2E1-A27F-4CA2-89E6-72B4138ECACB}"/>
              </a:ext>
            </a:extLst>
          </p:cNvPr>
          <p:cNvSpPr>
            <a:spLocks noGrp="1"/>
          </p:cNvSpPr>
          <p:nvPr>
            <p:ph type="sldNum" sz="quarter" idx="12"/>
          </p:nvPr>
        </p:nvSpPr>
        <p:spPr/>
        <p:txBody>
          <a:bodyPr/>
          <a:lstStyle/>
          <a:p>
            <a:fld id="{13D703BF-151A-0D40-8508-CABBAD09F9A9}" type="slidenum">
              <a:rPr lang="en-US" smtClean="0"/>
              <a:t>19</a:t>
            </a:fld>
            <a:endParaRPr lang="en-US"/>
          </a:p>
        </p:txBody>
      </p:sp>
      <p:sp>
        <p:nvSpPr>
          <p:cNvPr id="3" name="TextBox 2">
            <a:extLst>
              <a:ext uri="{FF2B5EF4-FFF2-40B4-BE49-F238E27FC236}">
                <a16:creationId xmlns:a16="http://schemas.microsoft.com/office/drawing/2014/main" id="{14D81240-A7DE-6249-9F62-F943BF9CCBD3}"/>
              </a:ext>
            </a:extLst>
          </p:cNvPr>
          <p:cNvSpPr txBox="1"/>
          <p:nvPr/>
        </p:nvSpPr>
        <p:spPr>
          <a:xfrm>
            <a:off x="727988" y="1573300"/>
            <a:ext cx="10566784" cy="4047262"/>
          </a:xfrm>
          <a:prstGeom prst="rect">
            <a:avLst/>
          </a:prstGeom>
          <a:noFill/>
        </p:spPr>
        <p:txBody>
          <a:bodyPr wrap="square" lIns="91440" tIns="45720" rIns="91440" bIns="45720" rtlCol="0" anchor="t">
            <a:spAutoFit/>
          </a:bodyPr>
          <a:lstStyle/>
          <a:p>
            <a:pPr marL="285750" indent="-285750">
              <a:spcBef>
                <a:spcPts val="600"/>
              </a:spcBef>
              <a:buFont typeface="Arial" panose="020B0604020202020204" pitchFamily="34" charset="0"/>
              <a:buChar char="•"/>
            </a:pPr>
            <a:r>
              <a:rPr lang="en-US" sz="2000"/>
              <a:t>Updated bridging/de-duplication logic will be applied to the COVID-19 vaccination dataset on Friday, September 17, 2021</a:t>
            </a:r>
          </a:p>
          <a:p>
            <a:pPr marL="800100" lvl="1" indent="-342900">
              <a:spcBef>
                <a:spcPts val="600"/>
              </a:spcBef>
              <a:buSzPct val="80000"/>
              <a:buFont typeface="Courier New" panose="02070309020205020404" pitchFamily="49" charset="0"/>
              <a:buChar char="o"/>
            </a:pPr>
            <a:r>
              <a:rPr lang="en-US"/>
              <a:t>Will help bridge data for individuals with more than one recipient ID across the CAIR2, SDIR, and RIDE registries</a:t>
            </a:r>
          </a:p>
          <a:p>
            <a:pPr marL="800100" lvl="1" indent="-342900">
              <a:spcBef>
                <a:spcPts val="600"/>
              </a:spcBef>
              <a:buSzPct val="80000"/>
              <a:buFont typeface="Courier New" panose="02070309020205020404" pitchFamily="49" charset="0"/>
              <a:buChar char="o"/>
            </a:pPr>
            <a:r>
              <a:rPr lang="en-US"/>
              <a:t>Logic is already being used to improve the accuracy of the DCVR</a:t>
            </a:r>
          </a:p>
          <a:p>
            <a:pPr marL="800100" lvl="1" indent="-342900">
              <a:spcBef>
                <a:spcPts val="600"/>
              </a:spcBef>
              <a:buSzPct val="80000"/>
              <a:buFont typeface="Courier New" panose="02070309020205020404" pitchFamily="49" charset="0"/>
              <a:buChar char="o"/>
            </a:pPr>
            <a:r>
              <a:rPr lang="en-US"/>
              <a:t>Counties may see decreases in coverage rates as a result</a:t>
            </a:r>
          </a:p>
          <a:p>
            <a:pPr marL="285750" indent="-285750">
              <a:spcBef>
                <a:spcPts val="600"/>
              </a:spcBef>
              <a:buFont typeface="Arial" panose="020B0604020202020204" pitchFamily="34" charset="0"/>
              <a:buChar char="•"/>
            </a:pPr>
            <a:r>
              <a:rPr lang="en-US" sz="2000"/>
              <a:t>Discrepancies between CDPH and CDC dashboards</a:t>
            </a:r>
          </a:p>
          <a:p>
            <a:pPr marL="800100" lvl="1" indent="-342900">
              <a:spcBef>
                <a:spcPts val="600"/>
              </a:spcBef>
              <a:buSzPct val="80000"/>
              <a:buFont typeface="Courier New" panose="02070309020205020404" pitchFamily="49" charset="0"/>
              <a:buChar char="o"/>
            </a:pPr>
            <a:r>
              <a:rPr lang="en-US"/>
              <a:t>CDC includes data from federal agencies (VA, DOD, BOP, IHS)</a:t>
            </a:r>
          </a:p>
          <a:p>
            <a:pPr marL="800100" lvl="1" indent="-342900">
              <a:spcBef>
                <a:spcPts val="600"/>
              </a:spcBef>
              <a:buSzPct val="80000"/>
              <a:buFont typeface="Courier New" panose="02070309020205020404" pitchFamily="49" charset="0"/>
              <a:buChar char="o"/>
            </a:pPr>
            <a:r>
              <a:rPr lang="en-US"/>
              <a:t>CDC uses different population estimates</a:t>
            </a:r>
          </a:p>
          <a:p>
            <a:pPr marL="800100" lvl="1" indent="-342900">
              <a:spcBef>
                <a:spcPts val="600"/>
              </a:spcBef>
              <a:buSzPct val="80000"/>
              <a:buFont typeface="Courier New" panose="02070309020205020404" pitchFamily="49" charset="0"/>
              <a:buChar char="o"/>
            </a:pPr>
            <a:r>
              <a:rPr lang="en-US"/>
              <a:t>Updates or deletions made to CA data are not reflected on CDC dashboards; CDC working on a way for jurisdictions to submit updates</a:t>
            </a:r>
          </a:p>
          <a:p>
            <a:endParaRPr lang="en-US"/>
          </a:p>
        </p:txBody>
      </p:sp>
    </p:spTree>
    <p:extLst>
      <p:ext uri="{BB962C8B-B14F-4D97-AF65-F5344CB8AC3E}">
        <p14:creationId xmlns:p14="http://schemas.microsoft.com/office/powerpoint/2010/main" val="3161704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612A1DC0-D52F-4F44-BFE5-C51585EFEF4D}"/>
              </a:ext>
            </a:extLst>
          </p:cNvPr>
          <p:cNvSpPr txBox="1"/>
          <p:nvPr/>
        </p:nvSpPr>
        <p:spPr>
          <a:xfrm>
            <a:off x="572661" y="472905"/>
            <a:ext cx="1166755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0479E"/>
                </a:solidFill>
                <a:effectLst/>
                <a:uLnTx/>
                <a:uFillTx/>
                <a:latin typeface="Arial"/>
                <a:ea typeface="+mn-ea"/>
                <a:cs typeface="Arial"/>
              </a:rPr>
              <a:t>Provider Office Hours Q&amp;A</a:t>
            </a:r>
          </a:p>
        </p:txBody>
      </p:sp>
      <p:grpSp>
        <p:nvGrpSpPr>
          <p:cNvPr id="6" name="Group 5">
            <a:extLst>
              <a:ext uri="{FF2B5EF4-FFF2-40B4-BE49-F238E27FC236}">
                <a16:creationId xmlns:a16="http://schemas.microsoft.com/office/drawing/2014/main" id="{750A3393-90BD-48DA-A042-CE00F3B58FC9}"/>
              </a:ext>
            </a:extLst>
          </p:cNvPr>
          <p:cNvGrpSpPr/>
          <p:nvPr/>
        </p:nvGrpSpPr>
        <p:grpSpPr>
          <a:xfrm>
            <a:off x="3647672" y="2292519"/>
            <a:ext cx="4906956" cy="3340405"/>
            <a:chOff x="737482" y="2445473"/>
            <a:chExt cx="4906956" cy="3340405"/>
          </a:xfrm>
        </p:grpSpPr>
        <p:pic>
          <p:nvPicPr>
            <p:cNvPr id="22" name="Picture 21">
              <a:extLst>
                <a:ext uri="{FF2B5EF4-FFF2-40B4-BE49-F238E27FC236}">
                  <a16:creationId xmlns:a16="http://schemas.microsoft.com/office/drawing/2014/main" id="{F02F2852-1EFE-49CD-9BD3-5AD24F712208}"/>
                </a:ext>
              </a:extLst>
            </p:cNvPr>
            <p:cNvPicPr>
              <a:picLocks noChangeAspect="1"/>
            </p:cNvPicPr>
            <p:nvPr/>
          </p:nvPicPr>
          <p:blipFill>
            <a:blip r:embed="rId3"/>
            <a:stretch>
              <a:fillRect/>
            </a:stretch>
          </p:blipFill>
          <p:spPr>
            <a:xfrm>
              <a:off x="809269" y="3150039"/>
              <a:ext cx="4835169" cy="2635839"/>
            </a:xfrm>
            <a:prstGeom prst="rect">
              <a:avLst/>
            </a:prstGeom>
          </p:spPr>
        </p:pic>
        <p:sp>
          <p:nvSpPr>
            <p:cNvPr id="23" name="Subtitle 2">
              <a:extLst>
                <a:ext uri="{FF2B5EF4-FFF2-40B4-BE49-F238E27FC236}">
                  <a16:creationId xmlns:a16="http://schemas.microsoft.com/office/drawing/2014/main" id="{1D6361C5-03A2-4707-B9FD-79A91308FFBB}"/>
                </a:ext>
              </a:extLst>
            </p:cNvPr>
            <p:cNvSpPr txBox="1">
              <a:spLocks/>
            </p:cNvSpPr>
            <p:nvPr/>
          </p:nvSpPr>
          <p:spPr>
            <a:xfrm>
              <a:off x="737482" y="2445473"/>
              <a:ext cx="4764457" cy="454238"/>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20479E">
                      <a:lumMod val="75000"/>
                    </a:srgbClr>
                  </a:solidFill>
                  <a:effectLst/>
                  <a:uLnTx/>
                  <a:uFillTx/>
                  <a:latin typeface="Arial"/>
                  <a:ea typeface="+mn-ea"/>
                  <a:cs typeface="Arial"/>
                </a:rPr>
                <a:t> Q&amp;A Panel</a:t>
              </a:r>
              <a:endParaRPr kumimoji="0" lang="en-US" sz="2400" b="0" i="0" u="none" strike="noStrike" kern="1200" cap="none" spc="0" normalizeH="0" baseline="0" noProof="0">
                <a:ln>
                  <a:noFill/>
                </a:ln>
                <a:solidFill>
                  <a:srgbClr val="20479E">
                    <a:lumMod val="75000"/>
                  </a:srgbClr>
                </a:solidFill>
                <a:effectLst/>
                <a:uLnTx/>
                <a:uFillTx/>
                <a:latin typeface="Arial"/>
                <a:ea typeface="+mn-ea"/>
                <a:cs typeface="Arial"/>
              </a:endParaRPr>
            </a:p>
          </p:txBody>
        </p:sp>
        <p:sp>
          <p:nvSpPr>
            <p:cNvPr id="24" name="Rectangle 23">
              <a:extLst>
                <a:ext uri="{FF2B5EF4-FFF2-40B4-BE49-F238E27FC236}">
                  <a16:creationId xmlns:a16="http://schemas.microsoft.com/office/drawing/2014/main" id="{74D2EE0E-DDBA-4A19-85FF-9E4E393B0FE2}"/>
                </a:ext>
              </a:extLst>
            </p:cNvPr>
            <p:cNvSpPr/>
            <p:nvPr/>
          </p:nvSpPr>
          <p:spPr>
            <a:xfrm>
              <a:off x="937405" y="3748177"/>
              <a:ext cx="3163015" cy="1365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Open the </a:t>
              </a:r>
              <a:r>
                <a:rPr kumimoji="0" lang="en-US" sz="1800" b="1" i="0" u="none" strike="noStrike" kern="1200" cap="none" spc="0" normalizeH="0" baseline="0" noProof="0">
                  <a:ln>
                    <a:noFill/>
                  </a:ln>
                  <a:solidFill>
                    <a:srgbClr val="000000"/>
                  </a:solidFill>
                  <a:effectLst/>
                  <a:uLnTx/>
                  <a:uFillTx/>
                  <a:latin typeface="Arial"/>
                  <a:ea typeface="+mn-ea"/>
                  <a:cs typeface="Arial"/>
                </a:rPr>
                <a:t>Q&amp;A </a:t>
              </a:r>
              <a:r>
                <a:rPr kumimoji="0" lang="en-US" sz="1800" b="0" i="0" u="none" strike="noStrike" kern="1200" cap="none" spc="0" normalizeH="0" baseline="0" noProof="0">
                  <a:ln>
                    <a:noFill/>
                  </a:ln>
                  <a:solidFill>
                    <a:srgbClr val="000000"/>
                  </a:solidFill>
                  <a:effectLst/>
                  <a:uLnTx/>
                  <a:uFillTx/>
                  <a:latin typeface="Arial"/>
                  <a:ea typeface="+mn-ea"/>
                  <a:cs typeface="Arial"/>
                </a:rPr>
                <a:t>panel</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Select Ask:  </a:t>
              </a:r>
              <a:r>
                <a:rPr kumimoji="0" lang="en-US" sz="1800" b="1" i="0" u="none" strike="noStrike" kern="1200" cap="none" spc="0" normalizeH="0" baseline="0" noProof="0">
                  <a:ln>
                    <a:noFill/>
                  </a:ln>
                  <a:solidFill>
                    <a:srgbClr val="000000"/>
                  </a:solidFill>
                  <a:effectLst/>
                  <a:uLnTx/>
                  <a:uFillTx/>
                  <a:latin typeface="Arial"/>
                  <a:ea typeface="+mn-ea"/>
                  <a:cs typeface="Arial"/>
                </a:rPr>
                <a:t>All Panelist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Enter Text, Click </a:t>
              </a:r>
              <a:r>
                <a:rPr kumimoji="0" lang="en-US" sz="1800" b="1" i="0" u="none" strike="noStrike" kern="1200" cap="none" spc="0" normalizeH="0" baseline="0" noProof="0">
                  <a:ln>
                    <a:noFill/>
                  </a:ln>
                  <a:solidFill>
                    <a:srgbClr val="000000"/>
                  </a:solidFill>
                  <a:effectLst/>
                  <a:uLnTx/>
                  <a:uFillTx/>
                  <a:latin typeface="Arial"/>
                  <a:ea typeface="+mn-ea"/>
                  <a:cs typeface="Arial"/>
                </a:rPr>
                <a:t>Send</a:t>
              </a:r>
            </a:p>
          </p:txBody>
        </p:sp>
      </p:grpSp>
      <p:sp>
        <p:nvSpPr>
          <p:cNvPr id="2" name="Subtitle 2">
            <a:extLst>
              <a:ext uri="{FF2B5EF4-FFF2-40B4-BE49-F238E27FC236}">
                <a16:creationId xmlns:a16="http://schemas.microsoft.com/office/drawing/2014/main" id="{9095FE62-D608-4C02-9036-E2E93C1F7268}"/>
              </a:ext>
            </a:extLst>
          </p:cNvPr>
          <p:cNvSpPr txBox="1">
            <a:spLocks/>
          </p:cNvSpPr>
          <p:nvPr/>
        </p:nvSpPr>
        <p:spPr>
          <a:xfrm>
            <a:off x="616356" y="1395037"/>
            <a:ext cx="10952176" cy="915710"/>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0000"/>
                </a:solidFill>
                <a:effectLst/>
                <a:uLnTx/>
                <a:uFillTx/>
                <a:latin typeface="Arial"/>
                <a:ea typeface="+mn-ea"/>
                <a:cs typeface="Arial"/>
              </a:rPr>
              <a:t>During the session, please use the Q&amp;A panel to comment or ask a question:</a:t>
            </a:r>
          </a:p>
        </p:txBody>
      </p:sp>
    </p:spTree>
    <p:extLst>
      <p:ext uri="{BB962C8B-B14F-4D97-AF65-F5344CB8AC3E}">
        <p14:creationId xmlns:p14="http://schemas.microsoft.com/office/powerpoint/2010/main" val="35746977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6" hidden="1">
            <a:extLst>
              <a:ext uri="{FF2B5EF4-FFF2-40B4-BE49-F238E27FC236}">
                <a16:creationId xmlns:a16="http://schemas.microsoft.com/office/drawing/2014/main" id="{8CC28D1B-4945-46AD-A979-B7EA8FEB24A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9457" name="think-cell Slide" r:id="rId7" imgW="526" imgH="526" progId="TCLayout.ActiveDocument.1">
                  <p:embed/>
                </p:oleObj>
              </mc:Choice>
              <mc:Fallback>
                <p:oleObj name="think-cell Slide" r:id="rId7" imgW="526" imgH="526" progId="TCLayout.ActiveDocument.1">
                  <p:embed/>
                  <p:pic>
                    <p:nvPicPr>
                      <p:cNvPr id="14" name="Object 6" hidden="1">
                        <a:extLst>
                          <a:ext uri="{FF2B5EF4-FFF2-40B4-BE49-F238E27FC236}">
                            <a16:creationId xmlns:a16="http://schemas.microsoft.com/office/drawing/2014/main" id="{8CC28D1B-4945-46AD-A979-B7EA8FEB24A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2. Slide Title">
            <a:extLst>
              <a:ext uri="{FF2B5EF4-FFF2-40B4-BE49-F238E27FC236}">
                <a16:creationId xmlns:a16="http://schemas.microsoft.com/office/drawing/2014/main" id="{E356239A-1CDB-4C53-883C-EF1130E50FB9}"/>
              </a:ext>
            </a:extLst>
          </p:cNvPr>
          <p:cNvSpPr>
            <a:spLocks noGrp="1"/>
          </p:cNvSpPr>
          <p:nvPr>
            <p:ph type="title"/>
            <p:custDataLst>
              <p:tags r:id="rId3"/>
            </p:custDataLst>
          </p:nvPr>
        </p:nvSpPr>
        <p:spPr>
          <a:xfrm>
            <a:off x="553972" y="277451"/>
            <a:ext cx="10123953" cy="498598"/>
          </a:xfrm>
        </p:spPr>
        <p:txBody>
          <a:bodyPr vert="horz"/>
          <a:lstStyle/>
          <a:p>
            <a:r>
              <a:rPr lang="en-US" sz="3600">
                <a:latin typeface="Arial" panose="020B0604020202020204" pitchFamily="34" charset="0"/>
                <a:cs typeface="Arial" panose="020B0604020202020204" pitchFamily="34" charset="0"/>
              </a:rPr>
              <a:t>Executive Summary</a:t>
            </a:r>
          </a:p>
        </p:txBody>
      </p:sp>
      <p:sp>
        <p:nvSpPr>
          <p:cNvPr id="11" name="TextBox 10">
            <a:extLst>
              <a:ext uri="{FF2B5EF4-FFF2-40B4-BE49-F238E27FC236}">
                <a16:creationId xmlns:a16="http://schemas.microsoft.com/office/drawing/2014/main" id="{3013FF63-29AE-4BD9-8FD5-0B4EA7EBB2A1}"/>
              </a:ext>
            </a:extLst>
          </p:cNvPr>
          <p:cNvSpPr txBox="1"/>
          <p:nvPr>
            <p:custDataLst>
              <p:tags r:id="rId4"/>
            </p:custDataLst>
          </p:nvPr>
        </p:nvSpPr>
        <p:spPr>
          <a:xfrm>
            <a:off x="480740" y="1076176"/>
            <a:ext cx="11082528" cy="5062924"/>
          </a:xfrm>
          <a:prstGeom prst="rect">
            <a:avLst/>
          </a:prstGeom>
          <a:ln w="6350">
            <a:noFill/>
            <a:miter lim="800000"/>
          </a:ln>
        </p:spPr>
        <p:txBody>
          <a:bodyPr vert="horz" wrap="square" lIns="0" tIns="0" rIns="0" bIns="0" rtlCol="0" anchor="t">
            <a:spAutoFit/>
          </a:bodyPr>
          <a:lstStyle/>
          <a:p>
            <a:pPr>
              <a:spcAft>
                <a:spcPts val="600"/>
              </a:spcAft>
            </a:pPr>
            <a:r>
              <a:rPr lang="en-US" sz="2400">
                <a:latin typeface="Arial" panose="020B0604020202020204" pitchFamily="34" charset="0"/>
                <a:cs typeface="Arial" panose="020B0604020202020204" pitchFamily="34" charset="0"/>
              </a:rPr>
              <a:t>CDPH has closely monitored the anticipated changes in eligibility and demand, and has updated scenarios of vaccine demand and administration based on latest information:</a:t>
            </a:r>
          </a:p>
          <a:p>
            <a:pPr marL="742950" lvl="1" indent="-285750">
              <a:spcAft>
                <a:spcPts val="600"/>
              </a:spcAft>
              <a:buFont typeface="Arial" panose="020B0604020202020204" pitchFamily="34" charset="0"/>
              <a:buChar char="•"/>
            </a:pPr>
            <a:r>
              <a:rPr lang="en-US" sz="2000">
                <a:latin typeface="Arial"/>
                <a:cs typeface="Arial"/>
              </a:rPr>
              <a:t>Boosters (Pfizer initially) - September 20, 2021, or later and children 5-11 years of age (Pfizer vaccine) - October 15, 2021, or later.</a:t>
            </a:r>
            <a:endParaRPr lang="en-US" sz="2000">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US" sz="2000">
                <a:latin typeface="Arial"/>
                <a:cs typeface="Arial"/>
              </a:rPr>
              <a:t>Under the Sept 8</a:t>
            </a:r>
            <a:r>
              <a:rPr lang="en-US" sz="2000" baseline="30000">
                <a:latin typeface="Arial"/>
                <a:cs typeface="Arial"/>
              </a:rPr>
              <a:t>th </a:t>
            </a:r>
            <a:r>
              <a:rPr lang="en-US" sz="2000">
                <a:latin typeface="Arial"/>
                <a:cs typeface="Arial"/>
              </a:rPr>
              <a:t>scenarios</a:t>
            </a:r>
            <a:r>
              <a:rPr lang="en-US" sz="2000" baseline="30000">
                <a:latin typeface="Arial"/>
                <a:cs typeface="Arial"/>
              </a:rPr>
              <a:t>1</a:t>
            </a:r>
            <a:r>
              <a:rPr lang="en-US" sz="2000">
                <a:latin typeface="Arial"/>
                <a:cs typeface="Arial"/>
              </a:rPr>
              <a:t>, total demand for COVID-19 vaccine may be 30-36M doses by end of 2021 and up to 63M by end of 2022</a:t>
            </a:r>
            <a:r>
              <a:rPr lang="en-US" sz="2000" baseline="30000">
                <a:latin typeface="Arial"/>
                <a:cs typeface="Arial"/>
              </a:rPr>
              <a:t>2</a:t>
            </a:r>
            <a:r>
              <a:rPr lang="en-US" sz="2000">
                <a:latin typeface="Arial"/>
                <a:cs typeface="Arial"/>
              </a:rPr>
              <a:t> (47.5M doses have been administered to date</a:t>
            </a:r>
            <a:r>
              <a:rPr lang="en-US" sz="2000" baseline="30000">
                <a:latin typeface="Arial"/>
                <a:cs typeface="Arial"/>
              </a:rPr>
              <a:t>3</a:t>
            </a:r>
            <a:r>
              <a:rPr lang="en-US" sz="2000">
                <a:latin typeface="Arial"/>
                <a:cs typeface="Arial"/>
              </a:rPr>
              <a:t>).</a:t>
            </a:r>
            <a:endParaRPr lang="en-US" sz="2000">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US" sz="2000">
                <a:latin typeface="Arial"/>
                <a:cs typeface="Arial"/>
              </a:rPr>
              <a:t>To meet this demand, California may need to increase rate of vaccine administration by 5-8x</a:t>
            </a:r>
            <a:r>
              <a:rPr lang="en-US" sz="2000" baseline="30000">
                <a:latin typeface="Arial"/>
                <a:cs typeface="Arial"/>
              </a:rPr>
              <a:t> </a:t>
            </a:r>
            <a:r>
              <a:rPr lang="en-US" sz="2000">
                <a:latin typeface="Arial"/>
                <a:cs typeface="Arial"/>
              </a:rPr>
              <a:t>(from ~80K per day to ~400-600K doses / day) within the next 4-12 weeks</a:t>
            </a:r>
            <a:r>
              <a:rPr lang="en-US" sz="2000" baseline="30000">
                <a:latin typeface="Arial"/>
                <a:cs typeface="Arial"/>
              </a:rPr>
              <a:t> 2</a:t>
            </a:r>
            <a:r>
              <a:rPr lang="en-US" sz="2000">
                <a:latin typeface="Arial"/>
                <a:cs typeface="Arial"/>
              </a:rPr>
              <a:t>, as well as prepare for equity, policy, and other considerations.</a:t>
            </a:r>
            <a:endParaRPr lang="en-US" sz="2000">
              <a:latin typeface="Arial" panose="020B0604020202020204" pitchFamily="34" charset="0"/>
              <a:cs typeface="Arial" panose="020B0604020202020204" pitchFamily="34" charset="0"/>
            </a:endParaRPr>
          </a:p>
          <a:p>
            <a:pPr lvl="1">
              <a:spcAft>
                <a:spcPts val="600"/>
              </a:spcAft>
            </a:pPr>
            <a:endParaRPr lang="en-US" sz="2400">
              <a:latin typeface="Arial" panose="020B0604020202020204" pitchFamily="34" charset="0"/>
              <a:cs typeface="Arial" panose="020B0604020202020204" pitchFamily="34" charset="0"/>
            </a:endParaRPr>
          </a:p>
          <a:p>
            <a:pPr lvl="1">
              <a:spcAft>
                <a:spcPts val="600"/>
              </a:spcAft>
            </a:pPr>
            <a:br>
              <a:rPr lang="en-US" sz="2400">
                <a:latin typeface="Arial" panose="020B0604020202020204" pitchFamily="34" charset="0"/>
                <a:cs typeface="Arial" panose="020B0604020202020204" pitchFamily="34" charset="0"/>
              </a:rPr>
            </a:br>
            <a:endParaRPr lang="en-US" sz="2400">
              <a:latin typeface="Arial" panose="020B0604020202020204" pitchFamily="34" charset="0"/>
              <a:cs typeface="Arial" panose="020B0604020202020204" pitchFamily="34" charset="0"/>
            </a:endParaRPr>
          </a:p>
        </p:txBody>
      </p:sp>
      <p:sp>
        <p:nvSpPr>
          <p:cNvPr id="19" name="4. Footnote">
            <a:extLst>
              <a:ext uri="{FF2B5EF4-FFF2-40B4-BE49-F238E27FC236}">
                <a16:creationId xmlns:a16="http://schemas.microsoft.com/office/drawing/2014/main" id="{0090DFF0-C115-4D42-95D8-C18A784DF5E6}"/>
              </a:ext>
            </a:extLst>
          </p:cNvPr>
          <p:cNvSpPr txBox="1"/>
          <p:nvPr>
            <p:custDataLst>
              <p:tags r:id="rId5"/>
            </p:custDataLst>
          </p:nvPr>
        </p:nvSpPr>
        <p:spPr>
          <a:xfrm>
            <a:off x="553972" y="6014240"/>
            <a:ext cx="1093606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a:latin typeface="Arial" panose="020B0604020202020204" pitchFamily="34" charset="0"/>
                <a:cs typeface="Arial" panose="020B0604020202020204" pitchFamily="34" charset="0"/>
                <a:sym typeface="Arial" panose="020B0604020202020204" pitchFamily="34" charset="0"/>
              </a:rPr>
              <a:t>1.	Scenarios represented are a few of many models under consideration and are not illustrative of the full scope of scenarios considered </a:t>
            </a:r>
            <a:r>
              <a:rPr lang="en-US">
                <a:latin typeface="+mj-lt"/>
                <a:cs typeface="Arial" panose="020B0604020202020204" pitchFamily="34" charset="0"/>
                <a:sym typeface="Arial" panose="020B0604020202020204" pitchFamily="34" charset="0"/>
              </a:rPr>
              <a:t>(</a:t>
            </a:r>
            <a:r>
              <a:rPr kumimoji="0" lang="en-US" strike="noStrike" kern="1200" spc="0" normalizeH="0" noProof="0">
                <a:ln>
                  <a:noFill/>
                </a:ln>
                <a:effectLst/>
                <a:uLnTx/>
                <a:uFillTx/>
                <a:latin typeface="+mj-lt"/>
              </a:rPr>
              <a:t>Source of Sept 8</a:t>
            </a:r>
            <a:r>
              <a:rPr kumimoji="0" lang="en-US" strike="noStrike" kern="1200" spc="0" normalizeH="0" baseline="30000" noProof="0">
                <a:ln>
                  <a:noFill/>
                </a:ln>
                <a:effectLst/>
                <a:uLnTx/>
                <a:uFillTx/>
                <a:latin typeface="+mj-lt"/>
              </a:rPr>
              <a:t>th</a:t>
            </a:r>
            <a:r>
              <a:rPr kumimoji="0" lang="en-US" strike="noStrike" kern="1200" spc="0" normalizeH="0" noProof="0">
                <a:ln>
                  <a:noFill/>
                </a:ln>
                <a:effectLst/>
                <a:uLnTx/>
                <a:uFillTx/>
                <a:latin typeface="+mj-lt"/>
              </a:rPr>
              <a:t> scenarios</a:t>
            </a:r>
            <a:r>
              <a:rPr lang="en-US">
                <a:latin typeface="+mj-lt"/>
              </a:rPr>
              <a:t>: Snowflake (data as of  8/16/2021), assumptions developed with CDPH working team guidance)</a:t>
            </a:r>
            <a:endParaRPr lang="en-US">
              <a:latin typeface="+mj-lt"/>
              <a:cs typeface="Arial" panose="020B0604020202020204" pitchFamily="34" charset="0"/>
              <a:sym typeface="Arial" panose="020B0604020202020204" pitchFamily="34" charset="0"/>
            </a:endParaRPr>
          </a:p>
          <a:p>
            <a:pPr lvl="0"/>
            <a:r>
              <a:rPr lang="en-US">
                <a:latin typeface="Arial" panose="020B0604020202020204" pitchFamily="34" charset="0"/>
                <a:cs typeface="Arial" panose="020B0604020202020204" pitchFamily="34" charset="0"/>
                <a:sym typeface="Arial" panose="020B0604020202020204" pitchFamily="34" charset="0"/>
              </a:rPr>
              <a:t>2.	Based on scenarios being illustrated, as developed with CDPH working team guidance. Range based on the two scenarios included in these pages.</a:t>
            </a:r>
          </a:p>
          <a:p>
            <a:pPr lvl="0"/>
            <a:r>
              <a:rPr lang="en-US">
                <a:latin typeface="Arial" panose="020B0604020202020204" pitchFamily="34" charset="0"/>
                <a:cs typeface="Arial" panose="020B0604020202020204" pitchFamily="34" charset="0"/>
                <a:sym typeface="Arial" panose="020B0604020202020204" pitchFamily="34" charset="0"/>
              </a:rPr>
              <a:t>3.	CDPH vaccine summary dashboard as of 9/8/2021</a:t>
            </a:r>
          </a:p>
        </p:txBody>
      </p:sp>
      <p:sp>
        <p:nvSpPr>
          <p:cNvPr id="21" name="Sticker">
            <a:extLst>
              <a:ext uri="{FF2B5EF4-FFF2-40B4-BE49-F238E27FC236}">
                <a16:creationId xmlns:a16="http://schemas.microsoft.com/office/drawing/2014/main" id="{BCB6A173-9216-480A-AB30-AE9C71184429}"/>
              </a:ext>
            </a:extLst>
          </p:cNvPr>
          <p:cNvSpPr txBox="1"/>
          <p:nvPr/>
        </p:nvSpPr>
        <p:spPr>
          <a:xfrm>
            <a:off x="9171459" y="6621957"/>
            <a:ext cx="2127185" cy="123111"/>
          </a:xfrm>
          <a:prstGeom prst="rect">
            <a:avLst/>
          </a:prstGeom>
          <a:noFill/>
          <a:ln w="6350">
            <a:noFill/>
            <a:miter lim="800000"/>
          </a:ln>
        </p:spPr>
        <p:txBody>
          <a:bodyPr vert="horz" wrap="none" lIns="0" tIns="0" rIns="0" bIns="0" rtlCol="0">
            <a:spAutoFit/>
          </a:bodyPr>
          <a:lstStyle>
            <a:defPPr>
              <a:defRPr lang="en-US"/>
            </a:defPPr>
            <a:lvl1pPr>
              <a:spcBef>
                <a:spcPts val="300"/>
              </a:spcBef>
              <a:spcAft>
                <a:spcPts val="300"/>
              </a:spcAft>
              <a:buNone/>
              <a:defRPr sz="800" b="1" cap="all" baseline="0"/>
            </a:lvl1pPr>
          </a:lstStyle>
          <a:p>
            <a:pPr lvl="0"/>
            <a:r>
              <a:rPr lang="en-US">
                <a:latin typeface="Arial" panose="020B0604020202020204" pitchFamily="34" charset="0"/>
                <a:cs typeface="Arial" panose="020B0604020202020204" pitchFamily="34" charset="0"/>
                <a:sym typeface="Arial" panose="020B0604020202020204" pitchFamily="34" charset="0"/>
              </a:rPr>
              <a:t>Preliminary; as of SEPTEMBER 9, 2021</a:t>
            </a:r>
          </a:p>
        </p:txBody>
      </p:sp>
    </p:spTree>
    <p:extLst>
      <p:ext uri="{BB962C8B-B14F-4D97-AF65-F5344CB8AC3E}">
        <p14:creationId xmlns:p14="http://schemas.microsoft.com/office/powerpoint/2010/main" val="272853873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D28F5C68-2726-47B3-95C0-4CDC6622A9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0481" name="think-cell Slide" r:id="rId48" imgW="592" imgH="595" progId="TCLayout.ActiveDocument.1">
                  <p:embed/>
                </p:oleObj>
              </mc:Choice>
              <mc:Fallback>
                <p:oleObj name="think-cell Slide" r:id="rId48" imgW="592" imgH="595" progId="TCLayout.ActiveDocument.1">
                  <p:embed/>
                  <p:pic>
                    <p:nvPicPr>
                      <p:cNvPr id="5" name="Object 6" hidden="1">
                        <a:extLst>
                          <a:ext uri="{FF2B5EF4-FFF2-40B4-BE49-F238E27FC236}">
                            <a16:creationId xmlns:a16="http://schemas.microsoft.com/office/drawing/2014/main" id="{D28F5C68-2726-47B3-95C0-4CDC6622A97D}"/>
                          </a:ext>
                        </a:extLst>
                      </p:cNvPr>
                      <p:cNvPicPr/>
                      <p:nvPr/>
                    </p:nvPicPr>
                    <p:blipFill>
                      <a:blip r:embed="rId49"/>
                      <a:stretch>
                        <a:fillRect/>
                      </a:stretch>
                    </p:blipFill>
                    <p:spPr>
                      <a:xfrm>
                        <a:off x="1588" y="1588"/>
                        <a:ext cx="1588" cy="1588"/>
                      </a:xfrm>
                      <a:prstGeom prst="rect">
                        <a:avLst/>
                      </a:prstGeom>
                    </p:spPr>
                  </p:pic>
                </p:oleObj>
              </mc:Fallback>
            </mc:AlternateContent>
          </a:graphicData>
        </a:graphic>
      </p:graphicFrame>
      <p:sp>
        <p:nvSpPr>
          <p:cNvPr id="60" name="5. Source">
            <a:extLst>
              <a:ext uri="{FF2B5EF4-FFF2-40B4-BE49-F238E27FC236}">
                <a16:creationId xmlns:a16="http://schemas.microsoft.com/office/drawing/2014/main" id="{7989B6E3-B17D-4422-8B64-B174996EDA91}"/>
              </a:ext>
            </a:extLst>
          </p:cNvPr>
          <p:cNvSpPr txBox="1"/>
          <p:nvPr>
            <p:custDataLst>
              <p:tags r:id="rId3"/>
            </p:custDataLst>
          </p:nvPr>
        </p:nvSpPr>
        <p:spPr>
          <a:xfrm>
            <a:off x="5541963" y="6084527"/>
            <a:ext cx="7277100" cy="769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en-US" sz="500" strike="noStrike" kern="1200" spc="0" normalizeH="0" noProof="0">
                <a:ln>
                  <a:noFill/>
                </a:ln>
                <a:effectLst/>
                <a:uLnTx/>
                <a:uFillTx/>
              </a:rPr>
              <a:t>Source</a:t>
            </a:r>
            <a:r>
              <a:rPr lang="en-US" sz="500"/>
              <a:t>: Snowflake (data as of  8/16/2021), assumptions developed with CDPH working team guidance</a:t>
            </a:r>
          </a:p>
        </p:txBody>
      </p:sp>
      <p:grpSp>
        <p:nvGrpSpPr>
          <p:cNvPr id="44" name="Group 43">
            <a:extLst>
              <a:ext uri="{FF2B5EF4-FFF2-40B4-BE49-F238E27FC236}">
                <a16:creationId xmlns:a16="http://schemas.microsoft.com/office/drawing/2014/main" id="{095FF737-5517-4181-9157-A88ECB421B94}"/>
              </a:ext>
            </a:extLst>
          </p:cNvPr>
          <p:cNvGrpSpPr/>
          <p:nvPr/>
        </p:nvGrpSpPr>
        <p:grpSpPr>
          <a:xfrm>
            <a:off x="855663" y="4271963"/>
            <a:ext cx="10547350" cy="263525"/>
            <a:chOff x="906463" y="5543550"/>
            <a:chExt cx="6383337" cy="261938"/>
          </a:xfrm>
        </p:grpSpPr>
        <p:cxnSp>
          <p:nvCxnSpPr>
            <p:cNvPr id="188" name="Straight Connector 187">
              <a:extLst>
                <a:ext uri="{FF2B5EF4-FFF2-40B4-BE49-F238E27FC236}">
                  <a16:creationId xmlns:a16="http://schemas.microsoft.com/office/drawing/2014/main" id="{96BBB83A-A199-4D4B-972C-699465105038}"/>
                </a:ext>
              </a:extLst>
            </p:cNvPr>
            <p:cNvCxnSpPr>
              <a:cxnSpLocks/>
            </p:cNvCxnSpPr>
            <p:nvPr/>
          </p:nvCxnSpPr>
          <p:spPr>
            <a:xfrm>
              <a:off x="906463" y="5546725"/>
              <a:ext cx="29733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5B5A0D3F-B614-406B-AF2E-E282F6EC60AB}"/>
                </a:ext>
              </a:extLst>
            </p:cNvPr>
            <p:cNvCxnSpPr>
              <a:cxnSpLocks/>
            </p:cNvCxnSpPr>
            <p:nvPr/>
          </p:nvCxnSpPr>
          <p:spPr>
            <a:xfrm>
              <a:off x="3997325" y="5543550"/>
              <a:ext cx="3292475"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A2718D27-356C-4487-8CFE-0CDCD9EA909C}"/>
                </a:ext>
              </a:extLst>
            </p:cNvPr>
            <p:cNvSpPr txBox="1">
              <a:spLocks/>
            </p:cNvSpPr>
            <p:nvPr/>
          </p:nvSpPr>
          <p:spPr>
            <a:xfrm>
              <a:off x="1576388" y="5627688"/>
              <a:ext cx="1633538" cy="153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2021</a:t>
              </a:r>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1" name="TextBox 190">
              <a:extLst>
                <a:ext uri="{FF2B5EF4-FFF2-40B4-BE49-F238E27FC236}">
                  <a16:creationId xmlns:a16="http://schemas.microsoft.com/office/drawing/2014/main" id="{ED0A9C12-A2FC-4C69-B9B8-333B6279F495}"/>
                </a:ext>
              </a:extLst>
            </p:cNvPr>
            <p:cNvSpPr txBox="1">
              <a:spLocks/>
            </p:cNvSpPr>
            <p:nvPr/>
          </p:nvSpPr>
          <p:spPr>
            <a:xfrm>
              <a:off x="4702175" y="5651500"/>
              <a:ext cx="1884363" cy="153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2022</a:t>
              </a:r>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90" name="ACET">
            <a:extLst>
              <a:ext uri="{FF2B5EF4-FFF2-40B4-BE49-F238E27FC236}">
                <a16:creationId xmlns:a16="http://schemas.microsoft.com/office/drawing/2014/main" id="{F9F79698-0A47-4202-8733-C8772123AE50}"/>
              </a:ext>
            </a:extLst>
          </p:cNvPr>
          <p:cNvSpPr txBox="1">
            <a:spLocks/>
          </p:cNvSpPr>
          <p:nvPr>
            <p:custDataLst>
              <p:tags r:id="rId4"/>
            </p:custDataLst>
          </p:nvPr>
        </p:nvSpPr>
        <p:spPr>
          <a:xfrm>
            <a:off x="576263" y="1350634"/>
            <a:ext cx="730091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strike="noStrike" kern="1200" spc="0" normalizeH="0" noProof="0">
                <a:ln>
                  <a:noFill/>
                </a:ln>
                <a:effectLst/>
                <a:uLnTx/>
                <a:uFillTx/>
              </a:rPr>
              <a:t>Daily administration </a:t>
            </a:r>
            <a:r>
              <a:rPr lang="en-US" sz="1400"/>
              <a:t>requirement</a:t>
            </a:r>
            <a:r>
              <a:rPr kumimoji="0" lang="en-US" sz="1400" strike="noStrike" kern="1200" spc="0" normalizeH="0" noProof="0">
                <a:ln>
                  <a:noFill/>
                </a:ln>
                <a:effectLst/>
                <a:uLnTx/>
                <a:uFillTx/>
              </a:rPr>
              <a:t>, M doses</a:t>
            </a:r>
          </a:p>
        </p:txBody>
      </p:sp>
      <p:grpSp>
        <p:nvGrpSpPr>
          <p:cNvPr id="73" name="Group 72">
            <a:extLst>
              <a:ext uri="{FF2B5EF4-FFF2-40B4-BE49-F238E27FC236}">
                <a16:creationId xmlns:a16="http://schemas.microsoft.com/office/drawing/2014/main" id="{6C8DEB84-F63B-457E-A7D1-D558E4B43B67}"/>
              </a:ext>
            </a:extLst>
          </p:cNvPr>
          <p:cNvGrpSpPr/>
          <p:nvPr/>
        </p:nvGrpSpPr>
        <p:grpSpPr>
          <a:xfrm>
            <a:off x="6310312" y="1350634"/>
            <a:ext cx="2046288" cy="215444"/>
            <a:chOff x="5937524" y="760716"/>
            <a:chExt cx="2046169" cy="215444"/>
          </a:xfrm>
        </p:grpSpPr>
        <p:sp>
          <p:nvSpPr>
            <p:cNvPr id="195" name="RectangleLegend1">
              <a:extLst>
                <a:ext uri="{FF2B5EF4-FFF2-40B4-BE49-F238E27FC236}">
                  <a16:creationId xmlns:a16="http://schemas.microsoft.com/office/drawing/2014/main" id="{DF798385-AAEE-4A1C-891D-A2A1C57EB245}"/>
                </a:ext>
              </a:extLst>
            </p:cNvPr>
            <p:cNvSpPr/>
            <p:nvPr/>
          </p:nvSpPr>
          <p:spPr>
            <a:xfrm>
              <a:off x="5937524" y="782074"/>
              <a:ext cx="172729" cy="172729"/>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00" name="Legend1">
              <a:extLst>
                <a:ext uri="{FF2B5EF4-FFF2-40B4-BE49-F238E27FC236}">
                  <a16:creationId xmlns:a16="http://schemas.microsoft.com/office/drawing/2014/main" id="{8534EEF6-0822-43B2-838C-F9FA72E4084E}"/>
                </a:ext>
              </a:extLst>
            </p:cNvPr>
            <p:cNvSpPr txBox="1"/>
            <p:nvPr/>
          </p:nvSpPr>
          <p:spPr>
            <a:xfrm>
              <a:off x="6263670" y="760716"/>
              <a:ext cx="1720023" cy="215444"/>
            </a:xfrm>
            <a:prstGeom prst="rect">
              <a:avLst/>
            </a:prstGeom>
            <a:noFill/>
            <a:ln>
              <a:noFill/>
              <a:miter lim="800000"/>
            </a:ln>
          </p:spPr>
          <p:txBody>
            <a:bodyPr wrap="none" lIns="0" tIns="0" rIns="0" bIns="0" rtlCol="0" anchor="ctr" anchorCtr="0">
              <a:spAutoFit/>
            </a:bodyPr>
            <a:lstStyle/>
            <a:p>
              <a:pPr>
                <a:spcAft>
                  <a:spcPts val="600"/>
                </a:spcAft>
              </a:pPr>
              <a:r>
                <a:rPr lang="en-US" sz="1400"/>
                <a:t>Immunocompromised</a:t>
              </a:r>
            </a:p>
          </p:txBody>
        </p:sp>
      </p:grpSp>
      <p:grpSp>
        <p:nvGrpSpPr>
          <p:cNvPr id="78" name="Group 77">
            <a:extLst>
              <a:ext uri="{FF2B5EF4-FFF2-40B4-BE49-F238E27FC236}">
                <a16:creationId xmlns:a16="http://schemas.microsoft.com/office/drawing/2014/main" id="{F7323682-F2B7-49B9-8CCF-E907C88CFBDA}"/>
              </a:ext>
            </a:extLst>
          </p:cNvPr>
          <p:cNvGrpSpPr/>
          <p:nvPr/>
        </p:nvGrpSpPr>
        <p:grpSpPr>
          <a:xfrm>
            <a:off x="8642350" y="1350634"/>
            <a:ext cx="630238" cy="215444"/>
            <a:chOff x="5937524" y="1140214"/>
            <a:chExt cx="629114" cy="215444"/>
          </a:xfrm>
        </p:grpSpPr>
        <p:sp>
          <p:nvSpPr>
            <p:cNvPr id="196" name="RectangleLegend2">
              <a:extLst>
                <a:ext uri="{FF2B5EF4-FFF2-40B4-BE49-F238E27FC236}">
                  <a16:creationId xmlns:a16="http://schemas.microsoft.com/office/drawing/2014/main" id="{11BBC4FA-4113-467F-80E3-D024830EFF26}"/>
                </a:ext>
              </a:extLst>
            </p:cNvPr>
            <p:cNvSpPr/>
            <p:nvPr/>
          </p:nvSpPr>
          <p:spPr>
            <a:xfrm>
              <a:off x="5937524" y="116157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01" name="Legend2">
              <a:extLst>
                <a:ext uri="{FF2B5EF4-FFF2-40B4-BE49-F238E27FC236}">
                  <a16:creationId xmlns:a16="http://schemas.microsoft.com/office/drawing/2014/main" id="{F66628D3-55FB-450E-B1BB-448678067100}"/>
                </a:ext>
              </a:extLst>
            </p:cNvPr>
            <p:cNvSpPr txBox="1"/>
            <p:nvPr/>
          </p:nvSpPr>
          <p:spPr>
            <a:xfrm>
              <a:off x="6263670" y="1140214"/>
              <a:ext cx="302968" cy="215444"/>
            </a:xfrm>
            <a:prstGeom prst="rect">
              <a:avLst/>
            </a:prstGeom>
            <a:noFill/>
            <a:ln>
              <a:noFill/>
              <a:miter lim="800000"/>
            </a:ln>
          </p:spPr>
          <p:txBody>
            <a:bodyPr wrap="none" lIns="0" tIns="0" rIns="0" bIns="0" rtlCol="0" anchor="ctr" anchorCtr="0">
              <a:spAutoFit/>
            </a:bodyPr>
            <a:lstStyle/>
            <a:p>
              <a:pPr>
                <a:spcAft>
                  <a:spcPts val="600"/>
                </a:spcAft>
              </a:pPr>
              <a:r>
                <a:rPr lang="en-US" sz="1400"/>
                <a:t>65+</a:t>
              </a:r>
            </a:p>
          </p:txBody>
        </p:sp>
      </p:grpSp>
      <p:grpSp>
        <p:nvGrpSpPr>
          <p:cNvPr id="79" name="Group 78">
            <a:extLst>
              <a:ext uri="{FF2B5EF4-FFF2-40B4-BE49-F238E27FC236}">
                <a16:creationId xmlns:a16="http://schemas.microsoft.com/office/drawing/2014/main" id="{10D6DB69-9E7B-49FE-BFDA-3AEE67CABCFE}"/>
              </a:ext>
            </a:extLst>
          </p:cNvPr>
          <p:cNvGrpSpPr/>
          <p:nvPr/>
        </p:nvGrpSpPr>
        <p:grpSpPr>
          <a:xfrm>
            <a:off x="10620374" y="1350634"/>
            <a:ext cx="1062038" cy="215444"/>
            <a:chOff x="5937524" y="1519712"/>
            <a:chExt cx="1061925" cy="215444"/>
          </a:xfrm>
        </p:grpSpPr>
        <p:sp>
          <p:nvSpPr>
            <p:cNvPr id="197" name="RectangleLegend3">
              <a:extLst>
                <a:ext uri="{FF2B5EF4-FFF2-40B4-BE49-F238E27FC236}">
                  <a16:creationId xmlns:a16="http://schemas.microsoft.com/office/drawing/2014/main" id="{854F5957-2C5D-48CE-B221-C97075D2E526}"/>
                </a:ext>
              </a:extLst>
            </p:cNvPr>
            <p:cNvSpPr/>
            <p:nvPr/>
          </p:nvSpPr>
          <p:spPr>
            <a:xfrm>
              <a:off x="5937524" y="1535168"/>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02" name="Legend3">
              <a:extLst>
                <a:ext uri="{FF2B5EF4-FFF2-40B4-BE49-F238E27FC236}">
                  <a16:creationId xmlns:a16="http://schemas.microsoft.com/office/drawing/2014/main" id="{612B8313-1619-4D83-999A-D40750819B82}"/>
                </a:ext>
              </a:extLst>
            </p:cNvPr>
            <p:cNvSpPr txBox="1"/>
            <p:nvPr/>
          </p:nvSpPr>
          <p:spPr>
            <a:xfrm>
              <a:off x="6263670" y="1519712"/>
              <a:ext cx="735779" cy="215444"/>
            </a:xfrm>
            <a:prstGeom prst="rect">
              <a:avLst/>
            </a:prstGeom>
            <a:noFill/>
            <a:ln>
              <a:noFill/>
              <a:miter lim="800000"/>
            </a:ln>
          </p:spPr>
          <p:txBody>
            <a:bodyPr wrap="none" lIns="0" tIns="0" rIns="0" bIns="0" rtlCol="0" anchor="ctr" anchorCtr="0">
              <a:spAutoFit/>
            </a:bodyPr>
            <a:lstStyle/>
            <a:p>
              <a:pPr>
                <a:spcAft>
                  <a:spcPts val="600"/>
                </a:spcAft>
              </a:pPr>
              <a:r>
                <a:rPr lang="en-US" sz="1400"/>
                <a:t>Under 12</a:t>
              </a:r>
            </a:p>
          </p:txBody>
        </p:sp>
      </p:grpSp>
      <p:grpSp>
        <p:nvGrpSpPr>
          <p:cNvPr id="80" name="Group 79">
            <a:extLst>
              <a:ext uri="{FF2B5EF4-FFF2-40B4-BE49-F238E27FC236}">
                <a16:creationId xmlns:a16="http://schemas.microsoft.com/office/drawing/2014/main" id="{C59B5CD5-2D67-4114-AD78-4B40065DB0EF}"/>
              </a:ext>
            </a:extLst>
          </p:cNvPr>
          <p:cNvGrpSpPr/>
          <p:nvPr/>
        </p:nvGrpSpPr>
        <p:grpSpPr>
          <a:xfrm>
            <a:off x="9558338" y="1350634"/>
            <a:ext cx="782638" cy="215444"/>
            <a:chOff x="5937524" y="1891133"/>
            <a:chExt cx="783002" cy="215444"/>
          </a:xfrm>
        </p:grpSpPr>
        <p:sp>
          <p:nvSpPr>
            <p:cNvPr id="198" name="RectangleLegend4">
              <a:extLst>
                <a:ext uri="{FF2B5EF4-FFF2-40B4-BE49-F238E27FC236}">
                  <a16:creationId xmlns:a16="http://schemas.microsoft.com/office/drawing/2014/main" id="{2F33ABCC-B846-43E3-BF1E-348F82175655}"/>
                </a:ext>
              </a:extLst>
            </p:cNvPr>
            <p:cNvSpPr/>
            <p:nvPr/>
          </p:nvSpPr>
          <p:spPr>
            <a:xfrm>
              <a:off x="5937524" y="1908764"/>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03" name="Legend4">
              <a:extLst>
                <a:ext uri="{FF2B5EF4-FFF2-40B4-BE49-F238E27FC236}">
                  <a16:creationId xmlns:a16="http://schemas.microsoft.com/office/drawing/2014/main" id="{95AD1786-46EC-4D42-BF46-CC766D99F5E3}"/>
                </a:ext>
              </a:extLst>
            </p:cNvPr>
            <p:cNvSpPr txBox="1"/>
            <p:nvPr/>
          </p:nvSpPr>
          <p:spPr>
            <a:xfrm>
              <a:off x="6263670" y="1891133"/>
              <a:ext cx="456856" cy="215444"/>
            </a:xfrm>
            <a:prstGeom prst="rect">
              <a:avLst/>
            </a:prstGeom>
            <a:noFill/>
            <a:ln>
              <a:noFill/>
              <a:miter lim="800000"/>
            </a:ln>
          </p:spPr>
          <p:txBody>
            <a:bodyPr wrap="none" lIns="0" tIns="0" rIns="0" bIns="0" rtlCol="0" anchor="ctr" anchorCtr="0">
              <a:spAutoFit/>
            </a:bodyPr>
            <a:lstStyle/>
            <a:p>
              <a:pPr>
                <a:spcAft>
                  <a:spcPts val="600"/>
                </a:spcAft>
              </a:pPr>
              <a:r>
                <a:rPr lang="en-US" sz="1400"/>
                <a:t>12-64</a:t>
              </a:r>
            </a:p>
          </p:txBody>
        </p:sp>
      </p:grpSp>
      <p:sp>
        <p:nvSpPr>
          <p:cNvPr id="70" name="ACET">
            <a:extLst>
              <a:ext uri="{FF2B5EF4-FFF2-40B4-BE49-F238E27FC236}">
                <a16:creationId xmlns:a16="http://schemas.microsoft.com/office/drawing/2014/main" id="{53CA32B8-8290-40F1-BD7E-924C6C9E66F0}"/>
              </a:ext>
            </a:extLst>
          </p:cNvPr>
          <p:cNvSpPr txBox="1">
            <a:spLocks/>
          </p:cNvSpPr>
          <p:nvPr>
            <p:custDataLst>
              <p:tags r:id="rId5"/>
            </p:custDataLst>
          </p:nvPr>
        </p:nvSpPr>
        <p:spPr>
          <a:xfrm>
            <a:off x="576262" y="4670341"/>
            <a:ext cx="1752600"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strike="noStrike" kern="1200" spc="0" normalizeH="0" noProof="0">
                <a:ln>
                  <a:noFill/>
                </a:ln>
                <a:effectLst/>
                <a:uLnTx/>
                <a:uFillTx/>
              </a:rPr>
              <a:t>Timeline assumptions</a:t>
            </a:r>
            <a:r>
              <a:rPr kumimoji="0" lang="en-US" sz="1400" strike="noStrike" kern="1200" spc="0" normalizeH="0" baseline="30000" noProof="0">
                <a:ln>
                  <a:noFill/>
                </a:ln>
                <a:effectLst/>
                <a:uLnTx/>
                <a:uFillTx/>
              </a:rPr>
              <a:t>1,4,5</a:t>
            </a:r>
          </a:p>
        </p:txBody>
      </p:sp>
      <p:grpSp>
        <p:nvGrpSpPr>
          <p:cNvPr id="77" name="Group 76">
            <a:extLst>
              <a:ext uri="{FF2B5EF4-FFF2-40B4-BE49-F238E27FC236}">
                <a16:creationId xmlns:a16="http://schemas.microsoft.com/office/drawing/2014/main" id="{7F94F9F0-054A-465E-9C35-C2D640EC4ABF}"/>
              </a:ext>
            </a:extLst>
          </p:cNvPr>
          <p:cNvGrpSpPr/>
          <p:nvPr/>
        </p:nvGrpSpPr>
        <p:grpSpPr>
          <a:xfrm>
            <a:off x="2100263" y="4670341"/>
            <a:ext cx="3417888" cy="334710"/>
            <a:chOff x="8024597" y="4953064"/>
            <a:chExt cx="3416898" cy="334710"/>
          </a:xfrm>
        </p:grpSpPr>
        <p:sp>
          <p:nvSpPr>
            <p:cNvPr id="81" name="TextBox 80">
              <a:extLst>
                <a:ext uri="{FF2B5EF4-FFF2-40B4-BE49-F238E27FC236}">
                  <a16:creationId xmlns:a16="http://schemas.microsoft.com/office/drawing/2014/main" id="{DF234A5A-DF68-41FA-BCD0-0E17FA2F1E90}"/>
                </a:ext>
              </a:extLst>
            </p:cNvPr>
            <p:cNvSpPr txBox="1"/>
            <p:nvPr/>
          </p:nvSpPr>
          <p:spPr>
            <a:xfrm>
              <a:off x="8357972" y="4979997"/>
              <a:ext cx="3083523"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t>Immunocompromised population eligible to receive boosters</a:t>
              </a:r>
              <a:r>
                <a:rPr lang="en-US" sz="1000" b="1" baseline="30000">
                  <a:solidFill>
                    <a:srgbClr val="000000"/>
                  </a:solidFill>
                </a:rPr>
                <a:t>4</a:t>
              </a:r>
              <a:endParaRPr lang="en-US" sz="1000" b="1"/>
            </a:p>
          </p:txBody>
        </p:sp>
        <p:sp>
          <p:nvSpPr>
            <p:cNvPr id="84" name="TrackerNumBlue 53">
              <a:extLst>
                <a:ext uri="{FF2B5EF4-FFF2-40B4-BE49-F238E27FC236}">
                  <a16:creationId xmlns:a16="http://schemas.microsoft.com/office/drawing/2014/main" id="{7CDE135C-B5E8-4F55-8BD1-EE7313905910}"/>
                </a:ext>
              </a:extLst>
            </p:cNvPr>
            <p:cNvSpPr>
              <a:spLocks/>
            </p:cNvSpPr>
            <p:nvPr>
              <p:custDataLst>
                <p:tags r:id="rId45"/>
              </p:custDataLst>
            </p:nvPr>
          </p:nvSpPr>
          <p:spPr>
            <a:xfrm>
              <a:off x="8024597" y="4953064"/>
              <a:ext cx="279340" cy="279340"/>
            </a:xfrm>
            <a:prstGeom prst="ellipse">
              <a:avLst/>
            </a:prstGeom>
            <a:solidFill>
              <a:schemeClr val="bg2">
                <a:lumMod val="85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1</a:t>
              </a:r>
            </a:p>
          </p:txBody>
        </p:sp>
      </p:grpSp>
      <p:sp>
        <p:nvSpPr>
          <p:cNvPr id="86" name="TextBox 85">
            <a:extLst>
              <a:ext uri="{FF2B5EF4-FFF2-40B4-BE49-F238E27FC236}">
                <a16:creationId xmlns:a16="http://schemas.microsoft.com/office/drawing/2014/main" id="{38BF6E10-84C4-43FC-AD1A-C72ED6918828}"/>
              </a:ext>
            </a:extLst>
          </p:cNvPr>
          <p:cNvSpPr txBox="1">
            <a:spLocks/>
          </p:cNvSpPr>
          <p:nvPr/>
        </p:nvSpPr>
        <p:spPr>
          <a:xfrm>
            <a:off x="9242426" y="4716521"/>
            <a:ext cx="2970213" cy="46166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b="1"/>
              <a:t>5-11 age group eligible to receive vaccines</a:t>
            </a:r>
            <a:r>
              <a:rPr lang="en-US" sz="1000" b="1" baseline="30000">
                <a:solidFill>
                  <a:srgbClr val="000000"/>
                </a:solidFill>
              </a:rPr>
              <a:t>4</a:t>
            </a:r>
            <a:endParaRPr lang="en-US" sz="1000" b="1"/>
          </a:p>
        </p:txBody>
      </p:sp>
      <p:grpSp>
        <p:nvGrpSpPr>
          <p:cNvPr id="88" name="Group 87">
            <a:extLst>
              <a:ext uri="{FF2B5EF4-FFF2-40B4-BE49-F238E27FC236}">
                <a16:creationId xmlns:a16="http://schemas.microsoft.com/office/drawing/2014/main" id="{6E7E32E2-E10C-4603-BCB8-8195580F7B5B}"/>
              </a:ext>
            </a:extLst>
          </p:cNvPr>
          <p:cNvGrpSpPr/>
          <p:nvPr/>
        </p:nvGrpSpPr>
        <p:grpSpPr>
          <a:xfrm>
            <a:off x="2105025" y="5407216"/>
            <a:ext cx="3130550" cy="340183"/>
            <a:chOff x="7001300" y="4953064"/>
            <a:chExt cx="3130550" cy="340183"/>
          </a:xfrm>
        </p:grpSpPr>
        <p:sp>
          <p:nvSpPr>
            <p:cNvPr id="89" name="TextBox 88">
              <a:extLst>
                <a:ext uri="{FF2B5EF4-FFF2-40B4-BE49-F238E27FC236}">
                  <a16:creationId xmlns:a16="http://schemas.microsoft.com/office/drawing/2014/main" id="{73DABA09-D624-4E5A-9EEC-4C73DA29F052}"/>
                </a:ext>
              </a:extLst>
            </p:cNvPr>
            <p:cNvSpPr txBox="1"/>
            <p:nvPr/>
          </p:nvSpPr>
          <p:spPr>
            <a:xfrm>
              <a:off x="7334675" y="4985470"/>
              <a:ext cx="2797175"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b="1"/>
                <a:t>Booster vaccinations for 16-64 age group begins to rapidly scale</a:t>
              </a:r>
            </a:p>
          </p:txBody>
        </p:sp>
        <p:sp>
          <p:nvSpPr>
            <p:cNvPr id="91" name="TrackerNumBlue 53">
              <a:extLst>
                <a:ext uri="{FF2B5EF4-FFF2-40B4-BE49-F238E27FC236}">
                  <a16:creationId xmlns:a16="http://schemas.microsoft.com/office/drawing/2014/main" id="{F1EA6BD8-3FEA-43D5-99B3-01F5DB1715FE}"/>
                </a:ext>
              </a:extLst>
            </p:cNvPr>
            <p:cNvSpPr/>
            <p:nvPr>
              <p:custDataLst>
                <p:tags r:id="rId44"/>
              </p:custDataLst>
            </p:nvPr>
          </p:nvSpPr>
          <p:spPr>
            <a:xfrm>
              <a:off x="7001300" y="4953064"/>
              <a:ext cx="279340" cy="279340"/>
            </a:xfrm>
            <a:prstGeom prst="ellipse">
              <a:avLst/>
            </a:prstGeom>
            <a:solidFill>
              <a:schemeClr val="bg2">
                <a:lumMod val="85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4</a:t>
              </a:r>
            </a:p>
          </p:txBody>
        </p:sp>
      </p:grpSp>
      <p:grpSp>
        <p:nvGrpSpPr>
          <p:cNvPr id="92" name="Group 91">
            <a:extLst>
              <a:ext uri="{FF2B5EF4-FFF2-40B4-BE49-F238E27FC236}">
                <a16:creationId xmlns:a16="http://schemas.microsoft.com/office/drawing/2014/main" id="{5328F45F-3ED3-42CF-8E69-8EF50FA70B97}"/>
              </a:ext>
            </a:extLst>
          </p:cNvPr>
          <p:cNvGrpSpPr/>
          <p:nvPr/>
        </p:nvGrpSpPr>
        <p:grpSpPr>
          <a:xfrm>
            <a:off x="5353050" y="5407216"/>
            <a:ext cx="3003550" cy="279340"/>
            <a:chOff x="8024596" y="5387434"/>
            <a:chExt cx="3004581" cy="279340"/>
          </a:xfrm>
        </p:grpSpPr>
        <p:sp>
          <p:nvSpPr>
            <p:cNvPr id="93" name="TextBox 92">
              <a:extLst>
                <a:ext uri="{FF2B5EF4-FFF2-40B4-BE49-F238E27FC236}">
                  <a16:creationId xmlns:a16="http://schemas.microsoft.com/office/drawing/2014/main" id="{61633869-FE80-493A-8DFA-BEF15061F341}"/>
                </a:ext>
              </a:extLst>
            </p:cNvPr>
            <p:cNvSpPr txBox="1"/>
            <p:nvPr/>
          </p:nvSpPr>
          <p:spPr>
            <a:xfrm>
              <a:off x="8357972" y="5433614"/>
              <a:ext cx="267120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b="1"/>
                <a:t>0-4  age group eligible to receive vaccines</a:t>
              </a:r>
              <a:r>
                <a:rPr lang="en-US" sz="1000" b="1" baseline="30000">
                  <a:solidFill>
                    <a:srgbClr val="000000"/>
                  </a:solidFill>
                </a:rPr>
                <a:t>4</a:t>
              </a:r>
              <a:endParaRPr lang="en-US" sz="1000" b="1"/>
            </a:p>
          </p:txBody>
        </p:sp>
        <p:sp>
          <p:nvSpPr>
            <p:cNvPr id="94" name="TrackerNumBlue 53">
              <a:extLst>
                <a:ext uri="{FF2B5EF4-FFF2-40B4-BE49-F238E27FC236}">
                  <a16:creationId xmlns:a16="http://schemas.microsoft.com/office/drawing/2014/main" id="{29D2D9E5-1C98-4596-9058-9C2F16C8259D}"/>
                </a:ext>
              </a:extLst>
            </p:cNvPr>
            <p:cNvSpPr>
              <a:spLocks/>
            </p:cNvSpPr>
            <p:nvPr>
              <p:custDataLst>
                <p:tags r:id="rId43"/>
              </p:custDataLst>
            </p:nvPr>
          </p:nvSpPr>
          <p:spPr>
            <a:xfrm>
              <a:off x="8024596" y="5387434"/>
              <a:ext cx="279340" cy="279340"/>
            </a:xfrm>
            <a:prstGeom prst="ellipse">
              <a:avLst/>
            </a:prstGeom>
            <a:solidFill>
              <a:schemeClr val="bg2">
                <a:lumMod val="85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5</a:t>
              </a:r>
            </a:p>
          </p:txBody>
        </p:sp>
      </p:grpSp>
      <p:grpSp>
        <p:nvGrpSpPr>
          <p:cNvPr id="15" name="Group 14">
            <a:extLst>
              <a:ext uri="{FF2B5EF4-FFF2-40B4-BE49-F238E27FC236}">
                <a16:creationId xmlns:a16="http://schemas.microsoft.com/office/drawing/2014/main" id="{47D07E00-F7BE-4859-B3FD-350587B7B604}"/>
              </a:ext>
            </a:extLst>
          </p:cNvPr>
          <p:cNvGrpSpPr/>
          <p:nvPr/>
        </p:nvGrpSpPr>
        <p:grpSpPr>
          <a:xfrm>
            <a:off x="5351463" y="4670341"/>
            <a:ext cx="3024188" cy="461665"/>
            <a:chOff x="5340417" y="4734179"/>
            <a:chExt cx="3024564" cy="461665"/>
          </a:xfrm>
        </p:grpSpPr>
        <p:sp>
          <p:nvSpPr>
            <p:cNvPr id="87" name="TrackerNumBlue 53">
              <a:extLst>
                <a:ext uri="{FF2B5EF4-FFF2-40B4-BE49-F238E27FC236}">
                  <a16:creationId xmlns:a16="http://schemas.microsoft.com/office/drawing/2014/main" id="{E56D0D9E-EC8C-4EEC-BBEF-ED44E1F9A637}"/>
                </a:ext>
              </a:extLst>
            </p:cNvPr>
            <p:cNvSpPr/>
            <p:nvPr>
              <p:custDataLst>
                <p:tags r:id="rId42"/>
              </p:custDataLst>
            </p:nvPr>
          </p:nvSpPr>
          <p:spPr>
            <a:xfrm>
              <a:off x="5340417" y="4734179"/>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2</a:t>
              </a:r>
            </a:p>
          </p:txBody>
        </p:sp>
        <p:sp>
          <p:nvSpPr>
            <p:cNvPr id="95" name="TextBox 94">
              <a:extLst>
                <a:ext uri="{FF2B5EF4-FFF2-40B4-BE49-F238E27FC236}">
                  <a16:creationId xmlns:a16="http://schemas.microsoft.com/office/drawing/2014/main" id="{40F3BED9-6A23-43D5-A68A-BD20E015AD22}"/>
                </a:ext>
              </a:extLst>
            </p:cNvPr>
            <p:cNvSpPr txBox="1"/>
            <p:nvPr/>
          </p:nvSpPr>
          <p:spPr>
            <a:xfrm>
              <a:off x="5673793" y="4734179"/>
              <a:ext cx="2691188" cy="461665"/>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t>Booster approved for all age groups 8 months after full vaccination (Pfizer on Sept 20, </a:t>
              </a:r>
              <a:r>
                <a:rPr lang="en-US" sz="1000" b="1" err="1"/>
                <a:t>Moderna</a:t>
              </a:r>
              <a:r>
                <a:rPr lang="en-US" sz="1000" b="1"/>
                <a:t> on Oct 4)</a:t>
              </a:r>
              <a:r>
                <a:rPr lang="en-US" sz="1000" b="1" baseline="30000">
                  <a:solidFill>
                    <a:srgbClr val="000000"/>
                  </a:solidFill>
                </a:rPr>
                <a:t>4</a:t>
              </a:r>
              <a:endParaRPr lang="en-US" sz="1000" b="1"/>
            </a:p>
          </p:txBody>
        </p:sp>
      </p:grpSp>
      <p:sp>
        <p:nvSpPr>
          <p:cNvPr id="96" name="TrackerNumBlue 53">
            <a:extLst>
              <a:ext uri="{FF2B5EF4-FFF2-40B4-BE49-F238E27FC236}">
                <a16:creationId xmlns:a16="http://schemas.microsoft.com/office/drawing/2014/main" id="{EC00DD22-B5AB-4F85-8765-9A5DF54C520A}"/>
              </a:ext>
            </a:extLst>
          </p:cNvPr>
          <p:cNvSpPr/>
          <p:nvPr>
            <p:custDataLst>
              <p:tags r:id="rId6"/>
            </p:custDataLst>
          </p:nvPr>
        </p:nvSpPr>
        <p:spPr>
          <a:xfrm>
            <a:off x="8909050" y="4670341"/>
            <a:ext cx="279400" cy="279340"/>
          </a:xfrm>
          <a:prstGeom prst="ellipse">
            <a:avLst/>
          </a:prstGeom>
          <a:solidFill>
            <a:schemeClr val="tx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3</a:t>
            </a:r>
          </a:p>
        </p:txBody>
      </p:sp>
      <p:grpSp>
        <p:nvGrpSpPr>
          <p:cNvPr id="97" name="Group 96">
            <a:extLst>
              <a:ext uri="{FF2B5EF4-FFF2-40B4-BE49-F238E27FC236}">
                <a16:creationId xmlns:a16="http://schemas.microsoft.com/office/drawing/2014/main" id="{10531E6B-6122-493E-8E1F-65B6ACB0147E}"/>
              </a:ext>
            </a:extLst>
          </p:cNvPr>
          <p:cNvGrpSpPr/>
          <p:nvPr/>
        </p:nvGrpSpPr>
        <p:grpSpPr>
          <a:xfrm>
            <a:off x="8909049" y="5407216"/>
            <a:ext cx="3005138" cy="307777"/>
            <a:chOff x="8024596" y="5387434"/>
            <a:chExt cx="3004581" cy="307777"/>
          </a:xfrm>
        </p:grpSpPr>
        <p:sp>
          <p:nvSpPr>
            <p:cNvPr id="98" name="TextBox 97">
              <a:extLst>
                <a:ext uri="{FF2B5EF4-FFF2-40B4-BE49-F238E27FC236}">
                  <a16:creationId xmlns:a16="http://schemas.microsoft.com/office/drawing/2014/main" id="{3D566217-2449-4393-B15B-94E6F73B9BB9}"/>
                </a:ext>
              </a:extLst>
            </p:cNvPr>
            <p:cNvSpPr txBox="1"/>
            <p:nvPr/>
          </p:nvSpPr>
          <p:spPr>
            <a:xfrm>
              <a:off x="8357972" y="5387434"/>
              <a:ext cx="2671205"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t>First members of under 12 population become eligible to receive boosters</a:t>
              </a:r>
              <a:r>
                <a:rPr lang="en-US" sz="1000" b="1" baseline="30000">
                  <a:solidFill>
                    <a:srgbClr val="000000"/>
                  </a:solidFill>
                </a:rPr>
                <a:t>4</a:t>
              </a:r>
              <a:endParaRPr lang="en-US" sz="1000" b="1"/>
            </a:p>
          </p:txBody>
        </p:sp>
        <p:sp>
          <p:nvSpPr>
            <p:cNvPr id="99" name="TrackerNumBlue 53">
              <a:extLst>
                <a:ext uri="{FF2B5EF4-FFF2-40B4-BE49-F238E27FC236}">
                  <a16:creationId xmlns:a16="http://schemas.microsoft.com/office/drawing/2014/main" id="{02E36B38-0AEB-46E6-A16E-610F3B03A856}"/>
                </a:ext>
              </a:extLst>
            </p:cNvPr>
            <p:cNvSpPr>
              <a:spLocks/>
            </p:cNvSpPr>
            <p:nvPr>
              <p:custDataLst>
                <p:tags r:id="rId41"/>
              </p:custDataLst>
            </p:nvPr>
          </p:nvSpPr>
          <p:spPr>
            <a:xfrm>
              <a:off x="8024596" y="5387434"/>
              <a:ext cx="279340" cy="279340"/>
            </a:xfrm>
            <a:prstGeom prst="ellipse">
              <a:avLst/>
            </a:prstGeom>
            <a:solidFill>
              <a:schemeClr val="bg2">
                <a:lumMod val="85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6</a:t>
              </a:r>
            </a:p>
          </p:txBody>
        </p:sp>
      </p:grpSp>
      <p:graphicFrame>
        <p:nvGraphicFramePr>
          <p:cNvPr id="83" name="Chart 82">
            <a:extLst>
              <a:ext uri="{FF2B5EF4-FFF2-40B4-BE49-F238E27FC236}">
                <a16:creationId xmlns:a16="http://schemas.microsoft.com/office/drawing/2014/main" id="{4AC0C1D4-D124-449A-B87D-32FDCF737738}"/>
              </a:ext>
            </a:extLst>
          </p:cNvPr>
          <p:cNvGraphicFramePr/>
          <p:nvPr>
            <p:custDataLst>
              <p:tags r:id="rId7"/>
            </p:custDataLst>
          </p:nvPr>
        </p:nvGraphicFramePr>
        <p:xfrm>
          <a:off x="849313" y="2011363"/>
          <a:ext cx="10629900" cy="2089150"/>
        </p:xfrm>
        <a:graphic>
          <a:graphicData uri="http://schemas.openxmlformats.org/drawingml/2006/chart">
            <c:chart xmlns:c="http://schemas.openxmlformats.org/drawingml/2006/chart" xmlns:r="http://schemas.openxmlformats.org/officeDocument/2006/relationships" r:id="rId50"/>
          </a:graphicData>
        </a:graphic>
      </p:graphicFrame>
      <p:sp>
        <p:nvSpPr>
          <p:cNvPr id="104" name="Text Placeholder 4">
            <a:extLst>
              <a:ext uri="{FF2B5EF4-FFF2-40B4-BE49-F238E27FC236}">
                <a16:creationId xmlns:a16="http://schemas.microsoft.com/office/drawing/2014/main" id="{4C1F3293-4EFE-461D-940D-7EE66BAE31C5}"/>
              </a:ext>
            </a:extLst>
          </p:cNvPr>
          <p:cNvSpPr>
            <a:spLocks noGrp="1"/>
          </p:cNvSpPr>
          <p:nvPr>
            <p:custDataLst>
              <p:tags r:id="rId8"/>
            </p:custDataLst>
          </p:nvPr>
        </p:nvSpPr>
        <p:spPr bwMode="gray">
          <a:xfrm>
            <a:off x="671513" y="32210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6B38A66-3A8F-4B13-BD4E-29F741DD5182}" type="datetime'0''''''''''''''.''''''3'''''''''''">
              <a:rPr lang="en-US" altLang="en-US" sz="1000" smtClean="0">
                <a:solidFill>
                  <a:srgbClr val="000000"/>
                </a:solidFill>
                <a:cs typeface="+mn-cs"/>
              </a:rPr>
              <a:pPr algn="r">
                <a:spcBef>
                  <a:spcPct val="0"/>
                </a:spcBef>
                <a:spcAft>
                  <a:spcPct val="0"/>
                </a:spcAft>
              </a:pPr>
              <a:t>0.3</a:t>
            </a:fld>
            <a:endParaRPr lang="en-US" sz="1000">
              <a:solidFill>
                <a:srgbClr val="000000"/>
              </a:solidFill>
              <a:cs typeface="+mn-cs"/>
            </a:endParaRPr>
          </a:p>
        </p:txBody>
      </p:sp>
      <p:sp>
        <p:nvSpPr>
          <p:cNvPr id="127" name="Text Placeholder 4">
            <a:extLst>
              <a:ext uri="{FF2B5EF4-FFF2-40B4-BE49-F238E27FC236}">
                <a16:creationId xmlns:a16="http://schemas.microsoft.com/office/drawing/2014/main" id="{4C1F3293-4EFE-461D-940D-7EE66BAE31C5}"/>
              </a:ext>
            </a:extLst>
          </p:cNvPr>
          <p:cNvSpPr>
            <a:spLocks noGrp="1"/>
          </p:cNvSpPr>
          <p:nvPr>
            <p:custDataLst>
              <p:tags r:id="rId9"/>
            </p:custDataLst>
          </p:nvPr>
        </p:nvSpPr>
        <p:spPr bwMode="gray">
          <a:xfrm>
            <a:off x="671513" y="22590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52CF5959-0E4F-479D-9C8F-89D40AB52CD4}" type="datetime'''''''''''''''0''''''''''''''''''''''''''.''''''''''''''7'''">
              <a:rPr lang="en-US" altLang="en-US" sz="1000" smtClean="0">
                <a:solidFill>
                  <a:srgbClr val="000000"/>
                </a:solidFill>
                <a:effectLst/>
                <a:cs typeface="+mn-cs"/>
              </a:rPr>
              <a:pPr algn="r">
                <a:spcBef>
                  <a:spcPct val="0"/>
                </a:spcBef>
                <a:spcAft>
                  <a:spcPct val="0"/>
                </a:spcAft>
              </a:pPr>
              <a:t>0.7</a:t>
            </a:fld>
            <a:endParaRPr lang="en-US" sz="1000">
              <a:solidFill>
                <a:srgbClr val="000000"/>
              </a:solidFill>
              <a:cs typeface="+mn-cs"/>
            </a:endParaRPr>
          </a:p>
        </p:txBody>
      </p:sp>
      <p:sp>
        <p:nvSpPr>
          <p:cNvPr id="108" name="Text Placeholder 4">
            <a:extLst>
              <a:ext uri="{FF2B5EF4-FFF2-40B4-BE49-F238E27FC236}">
                <a16:creationId xmlns:a16="http://schemas.microsoft.com/office/drawing/2014/main" id="{4C1F3293-4EFE-461D-940D-7EE66BAE31C5}"/>
              </a:ext>
            </a:extLst>
          </p:cNvPr>
          <p:cNvSpPr>
            <a:spLocks noGrp="1"/>
          </p:cNvSpPr>
          <p:nvPr>
            <p:custDataLst>
              <p:tags r:id="rId10"/>
            </p:custDataLst>
          </p:nvPr>
        </p:nvSpPr>
        <p:spPr bwMode="gray">
          <a:xfrm>
            <a:off x="671513" y="27400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05EBE39-6426-4536-A72B-0A1E41F3FD53}" type="datetime'''''''''''''''0''''''''''''''''''''''''''.''5'''''''''''">
              <a:rPr lang="en-US" altLang="en-US" sz="1000" smtClean="0">
                <a:solidFill>
                  <a:srgbClr val="000000"/>
                </a:solidFill>
                <a:cs typeface="+mn-cs"/>
              </a:rPr>
              <a:pPr algn="r">
                <a:spcBef>
                  <a:spcPct val="0"/>
                </a:spcBef>
                <a:spcAft>
                  <a:spcPct val="0"/>
                </a:spcAft>
              </a:pPr>
              <a:t>0.5</a:t>
            </a:fld>
            <a:endParaRPr lang="en-US" sz="1000">
              <a:solidFill>
                <a:srgbClr val="000000"/>
              </a:solidFill>
              <a:cs typeface="+mn-cs"/>
            </a:endParaRPr>
          </a:p>
        </p:txBody>
      </p:sp>
      <p:sp>
        <p:nvSpPr>
          <p:cNvPr id="126" name="Text Placeholder 4">
            <a:extLst>
              <a:ext uri="{FF2B5EF4-FFF2-40B4-BE49-F238E27FC236}">
                <a16:creationId xmlns:a16="http://schemas.microsoft.com/office/drawing/2014/main" id="{4C1F3293-4EFE-461D-940D-7EE66BAE31C5}"/>
              </a:ext>
            </a:extLst>
          </p:cNvPr>
          <p:cNvSpPr>
            <a:spLocks noGrp="1"/>
          </p:cNvSpPr>
          <p:nvPr>
            <p:custDataLst>
              <p:tags r:id="rId11"/>
            </p:custDataLst>
          </p:nvPr>
        </p:nvSpPr>
        <p:spPr bwMode="gray">
          <a:xfrm>
            <a:off x="671513" y="24987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246ABC6F-E130-4F80-BD91-86CCD9EFFA55}" type="datetime'''''0''''''''''.''''''''''''''''''''''''''''6'''''''''''''">
              <a:rPr lang="en-US" altLang="en-US" sz="1000" smtClean="0">
                <a:solidFill>
                  <a:srgbClr val="000000"/>
                </a:solidFill>
                <a:effectLst/>
                <a:cs typeface="+mn-cs"/>
              </a:rPr>
              <a:pPr algn="r">
                <a:spcBef>
                  <a:spcPct val="0"/>
                </a:spcBef>
                <a:spcAft>
                  <a:spcPct val="0"/>
                </a:spcAft>
              </a:pPr>
              <a:t>0.6</a:t>
            </a:fld>
            <a:endParaRPr lang="en-US" sz="1000">
              <a:solidFill>
                <a:srgbClr val="000000"/>
              </a:solidFill>
              <a:cs typeface="+mn-cs"/>
            </a:endParaRPr>
          </a:p>
        </p:txBody>
      </p:sp>
      <p:sp>
        <p:nvSpPr>
          <p:cNvPr id="140" name="Text Placeholder 4">
            <a:extLst>
              <a:ext uri="{FF2B5EF4-FFF2-40B4-BE49-F238E27FC236}">
                <a16:creationId xmlns:a16="http://schemas.microsoft.com/office/drawing/2014/main" id="{6A42610D-9230-4575-A560-8EF5B7C3E6C8}"/>
              </a:ext>
            </a:extLst>
          </p:cNvPr>
          <p:cNvSpPr>
            <a:spLocks noGrp="1"/>
          </p:cNvSpPr>
          <p:nvPr>
            <p:custDataLst>
              <p:tags r:id="rId12"/>
            </p:custDataLst>
          </p:nvPr>
        </p:nvSpPr>
        <p:spPr bwMode="gray">
          <a:xfrm>
            <a:off x="776288" y="394176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buClr>
                <a:srgbClr val="000000"/>
              </a:buClr>
              <a:defRPr/>
            </a:pPr>
            <a:fld id="{BCB70ABA-1946-4500-969D-D283D6214A2C}" type="datetime'''0'''''''''''''''''''''''''''''''''''''''''''''''''''''''''">
              <a:rPr lang="en-US" altLang="en-US" sz="1000" smtClean="0">
                <a:solidFill>
                  <a:srgbClr val="000000"/>
                </a:solidFill>
                <a:cs typeface="+mn-cs"/>
              </a:rPr>
              <a:pPr lvl="0" algn="r">
                <a:spcBef>
                  <a:spcPct val="0"/>
                </a:spcBef>
                <a:spcAft>
                  <a:spcPct val="0"/>
                </a:spcAft>
                <a:buClr>
                  <a:srgbClr val="000000"/>
                </a:buClr>
                <a:defRPr/>
              </a:pPr>
              <a:t>0</a:t>
            </a:fld>
            <a:endParaRPr kumimoji="0" lang="en-US" sz="1000" b="0" i="0" strike="noStrike" kern="1200" cap="none" spc="0" normalizeH="0" baseline="0" noProof="0">
              <a:ln>
                <a:noFill/>
              </a:ln>
              <a:solidFill>
                <a:srgbClr val="000000"/>
              </a:solidFill>
              <a:effectLst/>
              <a:uLnTx/>
              <a:uFillTx/>
              <a:cs typeface="+mn-cs"/>
            </a:endParaRPr>
          </a:p>
        </p:txBody>
      </p:sp>
      <p:sp>
        <p:nvSpPr>
          <p:cNvPr id="103"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671513" y="37020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7ABDF2D2-7055-4614-B8BA-2C8F66984698}" type="datetime'''''''''''0''''''''''''.''''''''''''''''''''''''1'''''''">
              <a:rPr lang="en-US" altLang="en-US" sz="1000" smtClean="0">
                <a:solidFill>
                  <a:srgbClr val="000000"/>
                </a:solidFill>
                <a:cs typeface="+mn-cs"/>
              </a:rPr>
              <a:pPr algn="r">
                <a:spcBef>
                  <a:spcPct val="0"/>
                </a:spcBef>
                <a:spcAft>
                  <a:spcPct val="0"/>
                </a:spcAft>
              </a:pPr>
              <a:t>0.1</a:t>
            </a:fld>
            <a:endParaRPr lang="en-US" sz="1000">
              <a:solidFill>
                <a:srgbClr val="000000"/>
              </a:solidFill>
              <a:cs typeface="+mn-cs"/>
            </a:endParaRPr>
          </a:p>
        </p:txBody>
      </p:sp>
      <p:sp>
        <p:nvSpPr>
          <p:cNvPr id="146" name="Text Placeholder 4">
            <a:extLst>
              <a:ext uri="{FF2B5EF4-FFF2-40B4-BE49-F238E27FC236}">
                <a16:creationId xmlns:a16="http://schemas.microsoft.com/office/drawing/2014/main" id="{7A471181-3786-4744-B511-F1FCB73D833D}"/>
              </a:ext>
            </a:extLst>
          </p:cNvPr>
          <p:cNvSpPr>
            <a:spLocks noGrp="1"/>
          </p:cNvSpPr>
          <p:nvPr>
            <p:custDataLst>
              <p:tags r:id="rId14"/>
            </p:custDataLst>
          </p:nvPr>
        </p:nvSpPr>
        <p:spPr bwMode="gray">
          <a:xfrm>
            <a:off x="671513" y="34607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A1560C7-B4FB-4C5A-8912-95FD84AF6F82}" type="datetime'''''''0''''''''''''.''''''''2'''''''''''''''''''''''">
              <a:rPr lang="en-US" altLang="en-US" sz="1000" smtClean="0">
                <a:solidFill>
                  <a:srgbClr val="000000"/>
                </a:solidFill>
                <a:cs typeface="+mn-cs"/>
              </a:rPr>
              <a:pPr algn="r">
                <a:spcBef>
                  <a:spcPct val="0"/>
                </a:spcBef>
                <a:spcAft>
                  <a:spcPct val="0"/>
                </a:spcAft>
              </a:pPr>
              <a:t>0.2</a:t>
            </a:fld>
            <a:endParaRPr lang="en-US" sz="1000">
              <a:solidFill>
                <a:srgbClr val="000000"/>
              </a:solidFill>
              <a:cs typeface="+mn-cs"/>
            </a:endParaRPr>
          </a:p>
        </p:txBody>
      </p:sp>
      <p:sp>
        <p:nvSpPr>
          <p:cNvPr id="148" name="Text Placeholder 4">
            <a:extLst>
              <a:ext uri="{FF2B5EF4-FFF2-40B4-BE49-F238E27FC236}">
                <a16:creationId xmlns:a16="http://schemas.microsoft.com/office/drawing/2014/main" id="{CEE000AC-15D4-4770-A9EF-0A0534DE3600}"/>
              </a:ext>
            </a:extLst>
          </p:cNvPr>
          <p:cNvSpPr>
            <a:spLocks noGrp="1"/>
          </p:cNvSpPr>
          <p:nvPr>
            <p:custDataLst>
              <p:tags r:id="rId15"/>
            </p:custDataLst>
          </p:nvPr>
        </p:nvSpPr>
        <p:spPr bwMode="gray">
          <a:xfrm>
            <a:off x="671513" y="29797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C334E05-0773-4438-B049-B2B945E11CB0}" type="datetime'''''0.''''''''''''''''''''''''''4'''">
              <a:rPr lang="en-US" altLang="en-US" sz="1000" smtClean="0">
                <a:solidFill>
                  <a:srgbClr val="000000"/>
                </a:solidFill>
                <a:cs typeface="+mn-cs"/>
              </a:rPr>
              <a:pPr algn="r">
                <a:spcBef>
                  <a:spcPct val="0"/>
                </a:spcBef>
                <a:spcAft>
                  <a:spcPct val="0"/>
                </a:spcAft>
              </a:pPr>
              <a:t>0.4</a:t>
            </a:fld>
            <a:endParaRPr lang="en-US" sz="1000">
              <a:solidFill>
                <a:srgbClr val="000000"/>
              </a:solidFill>
              <a:cs typeface="+mn-cs"/>
            </a:endParaRPr>
          </a:p>
        </p:txBody>
      </p:sp>
      <p:sp>
        <p:nvSpPr>
          <p:cNvPr id="101"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671513" y="20177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ACE468BB-EFAC-492E-AEEB-70AAD666D702}" type="datetime'''''''''''''''''''''0''''''.''''''''''''''8'''''">
              <a:rPr lang="en-US" altLang="en-US" sz="1000" smtClean="0">
                <a:solidFill>
                  <a:srgbClr val="000000"/>
                </a:solidFill>
                <a:effectLst/>
                <a:cs typeface="+mn-cs"/>
              </a:rPr>
              <a:pPr algn="r">
                <a:spcBef>
                  <a:spcPct val="0"/>
                </a:spcBef>
                <a:spcAft>
                  <a:spcPct val="0"/>
                </a:spcAft>
              </a:pPr>
              <a:t>0.8</a:t>
            </a:fld>
            <a:endParaRPr lang="en-US" sz="1000">
              <a:solidFill>
                <a:srgbClr val="000000"/>
              </a:solidFill>
              <a:cs typeface="+mn-cs"/>
            </a:endParaRPr>
          </a:p>
        </p:txBody>
      </p:sp>
      <p:cxnSp>
        <p:nvCxnSpPr>
          <p:cNvPr id="4" name="Straight Connector 3">
            <a:extLst>
              <a:ext uri="{FF2B5EF4-FFF2-40B4-BE49-F238E27FC236}">
                <a16:creationId xmlns:a16="http://schemas.microsoft.com/office/drawing/2014/main" id="{7CC927C6-77E8-4FC7-990B-7F6DB0D61B32}"/>
              </a:ext>
            </a:extLst>
          </p:cNvPr>
          <p:cNvCxnSpPr/>
          <p:nvPr>
            <p:custDataLst>
              <p:tags r:id="rId17"/>
            </p:custDataLst>
          </p:nvPr>
        </p:nvCxnSpPr>
        <p:spPr bwMode="auto">
          <a:xfrm>
            <a:off x="931863" y="3825875"/>
            <a:ext cx="10464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70ADD2B6-F190-4BD5-B618-8C46C3F6E886}"/>
              </a:ext>
            </a:extLst>
          </p:cNvPr>
          <p:cNvCxnSpPr/>
          <p:nvPr>
            <p:custDataLst>
              <p:tags r:id="rId18"/>
            </p:custDataLst>
          </p:nvPr>
        </p:nvCxnSpPr>
        <p:spPr bwMode="auto">
          <a:xfrm>
            <a:off x="931863" y="3127375"/>
            <a:ext cx="10464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52" name="Text Placeholder 4">
            <a:extLst>
              <a:ext uri="{FF2B5EF4-FFF2-40B4-BE49-F238E27FC236}">
                <a16:creationId xmlns:a16="http://schemas.microsoft.com/office/drawing/2014/main" id="{B52C1EDD-9CBD-4FA5-B0D1-A62DCDE5B1A6}"/>
              </a:ext>
            </a:extLst>
          </p:cNvPr>
          <p:cNvSpPr>
            <a:spLocks noGrp="1"/>
          </p:cNvSpPr>
          <p:nvPr>
            <p:custDataLst>
              <p:tags r:id="rId19"/>
            </p:custDataLst>
          </p:nvPr>
        </p:nvSpPr>
        <p:spPr bwMode="auto">
          <a:xfrm>
            <a:off x="1062038" y="4060825"/>
            <a:ext cx="215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63622214-47B5-4709-8908-5C25D86F7D2F}" type="datetime'''''J''''a''''''''''''''''''n'''''''''''''''''">
              <a:rPr lang="en-US" altLang="en-US" sz="1000" smtClean="0">
                <a:solidFill>
                  <a:srgbClr val="000000"/>
                </a:solidFill>
                <a:cs typeface="+mn-cs"/>
              </a:rPr>
              <a:pPr lvl="0" algn="ctr">
                <a:spcBef>
                  <a:spcPct val="0"/>
                </a:spcBef>
                <a:spcAft>
                  <a:spcPct val="0"/>
                </a:spcAft>
                <a:buClr>
                  <a:srgbClr val="000000"/>
                </a:buClr>
                <a:defRPr/>
              </a:pPr>
              <a:t>Jan</a:t>
            </a:fld>
            <a:r>
              <a:rPr kumimoji="0" lang="en-US" alt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56" name="Text Placeholder 4">
            <a:extLst>
              <a:ext uri="{FF2B5EF4-FFF2-40B4-BE49-F238E27FC236}">
                <a16:creationId xmlns:a16="http://schemas.microsoft.com/office/drawing/2014/main" id="{E1BF9E95-78AF-4AB4-A776-C7064D7D2045}"/>
              </a:ext>
            </a:extLst>
          </p:cNvPr>
          <p:cNvSpPr>
            <a:spLocks noGrp="1"/>
          </p:cNvSpPr>
          <p:nvPr>
            <p:custDataLst>
              <p:tags r:id="rId20"/>
            </p:custDataLst>
          </p:nvPr>
        </p:nvSpPr>
        <p:spPr bwMode="auto">
          <a:xfrm>
            <a:off x="2328863" y="40608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7B0F91FE-4331-4B88-A6A4-6CC049F40B92}" type="datetime'''''A''''p''''''r'''''''''''''''">
              <a:rPr lang="en-US" altLang="en-US" sz="1000" smtClean="0">
                <a:solidFill>
                  <a:srgbClr val="000000"/>
                </a:solidFill>
                <a:cs typeface="+mn-cs"/>
              </a:rPr>
              <a:pPr lvl="0" algn="ctr">
                <a:spcBef>
                  <a:spcPct val="0"/>
                </a:spcBef>
                <a:spcAft>
                  <a:spcPct val="0"/>
                </a:spcAft>
                <a:buClr>
                  <a:srgbClr val="000000"/>
                </a:buClr>
                <a:defRPr/>
              </a:pPr>
              <a:t>Apr</a:t>
            </a:fld>
            <a:endParaRPr kumimoji="0" lang="en-US" sz="1000" b="0" i="0" strike="noStrike" kern="1200" cap="none" spc="0" normalizeH="0" baseline="0" noProof="0">
              <a:ln>
                <a:noFill/>
              </a:ln>
              <a:solidFill>
                <a:srgbClr val="000000"/>
              </a:solidFill>
              <a:effectLst/>
              <a:uLnTx/>
              <a:uFillTx/>
              <a:cs typeface="+mn-cs"/>
            </a:endParaRPr>
          </a:p>
        </p:txBody>
      </p:sp>
      <p:sp>
        <p:nvSpPr>
          <p:cNvPr id="157" name="Text Placeholder 4">
            <a:extLst>
              <a:ext uri="{FF2B5EF4-FFF2-40B4-BE49-F238E27FC236}">
                <a16:creationId xmlns:a16="http://schemas.microsoft.com/office/drawing/2014/main" id="{83D10E1D-E991-4ED4-B43F-4B3AAE22B95D}"/>
              </a:ext>
            </a:extLst>
          </p:cNvPr>
          <p:cNvSpPr>
            <a:spLocks noGrp="1"/>
          </p:cNvSpPr>
          <p:nvPr>
            <p:custDataLst>
              <p:tags r:id="rId21"/>
            </p:custDataLst>
          </p:nvPr>
        </p:nvSpPr>
        <p:spPr bwMode="auto">
          <a:xfrm>
            <a:off x="3622675" y="40608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89C65FDA-FBEC-435F-B0C4-A7DC0D6E31C1}" type="datetime'J''''''''''''''ul'''''''''">
              <a:rPr lang="en-US" altLang="en-US" sz="1000" smtClean="0">
                <a:solidFill>
                  <a:srgbClr val="000000"/>
                </a:solidFill>
                <a:cs typeface="+mn-cs"/>
              </a:rPr>
              <a:pPr lvl="0" algn="ctr">
                <a:spcBef>
                  <a:spcPct val="0"/>
                </a:spcBef>
                <a:spcAft>
                  <a:spcPct val="0"/>
                </a:spcAft>
                <a:buClr>
                  <a:srgbClr val="000000"/>
                </a:buClr>
                <a:defRPr/>
              </a:pPr>
              <a:t>Jul</a:t>
            </a:fld>
            <a:endParaRPr kumimoji="0" lang="en-US" sz="1000" b="0" i="0" strike="noStrike" kern="1200" cap="none" spc="0" normalizeH="0" baseline="0" noProof="0">
              <a:ln>
                <a:noFill/>
              </a:ln>
              <a:solidFill>
                <a:srgbClr val="000000"/>
              </a:solidFill>
              <a:effectLst/>
              <a:uLnTx/>
              <a:uFillTx/>
              <a:cs typeface="+mn-cs"/>
            </a:endParaRPr>
          </a:p>
        </p:txBody>
      </p:sp>
      <p:sp>
        <p:nvSpPr>
          <p:cNvPr id="151" name="Text Placeholder 4">
            <a:extLst>
              <a:ext uri="{FF2B5EF4-FFF2-40B4-BE49-F238E27FC236}">
                <a16:creationId xmlns:a16="http://schemas.microsoft.com/office/drawing/2014/main" id="{6936848E-05DE-4136-A777-FEE2091C43E0}"/>
              </a:ext>
            </a:extLst>
          </p:cNvPr>
          <p:cNvSpPr>
            <a:spLocks noGrp="1"/>
          </p:cNvSpPr>
          <p:nvPr>
            <p:custDataLst>
              <p:tags r:id="rId22"/>
            </p:custDataLst>
          </p:nvPr>
        </p:nvSpPr>
        <p:spPr bwMode="auto">
          <a:xfrm>
            <a:off x="4895850" y="40608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6AD11E7A-90A6-45CE-805F-047743394AEF}" type="datetime'''''''''Oc''''''''''''''''''''''''t'''''''''">
              <a:rPr lang="en-US" altLang="en-US" sz="1000" smtClean="0">
                <a:solidFill>
                  <a:srgbClr val="000000"/>
                </a:solidFill>
                <a:cs typeface="+mn-cs"/>
              </a:rPr>
              <a:pPr lvl="0" algn="ctr">
                <a:spcBef>
                  <a:spcPct val="0"/>
                </a:spcBef>
                <a:spcAft>
                  <a:spcPct val="0"/>
                </a:spcAft>
                <a:buClr>
                  <a:srgbClr val="000000"/>
                </a:buClr>
                <a:defRPr/>
              </a:pPr>
              <a:t>Oct</a:t>
            </a:fld>
            <a:endParaRPr kumimoji="0" lang="en-US" sz="1000" b="0" i="0" strike="noStrike" kern="1200" cap="none" spc="0" normalizeH="0" baseline="0" noProof="0">
              <a:ln>
                <a:noFill/>
              </a:ln>
              <a:solidFill>
                <a:srgbClr val="000000"/>
              </a:solidFill>
              <a:effectLst/>
              <a:uLnTx/>
              <a:uFillTx/>
              <a:cs typeface="+mn-cs"/>
            </a:endParaRPr>
          </a:p>
        </p:txBody>
      </p:sp>
      <p:sp>
        <p:nvSpPr>
          <p:cNvPr id="155" name="Text Placeholder 4">
            <a:extLst>
              <a:ext uri="{FF2B5EF4-FFF2-40B4-BE49-F238E27FC236}">
                <a16:creationId xmlns:a16="http://schemas.microsoft.com/office/drawing/2014/main" id="{ED42FD41-B696-4E03-87E9-55D29890CBE3}"/>
              </a:ext>
            </a:extLst>
          </p:cNvPr>
          <p:cNvSpPr>
            <a:spLocks noGrp="1"/>
          </p:cNvSpPr>
          <p:nvPr>
            <p:custDataLst>
              <p:tags r:id="rId23"/>
            </p:custDataLst>
          </p:nvPr>
        </p:nvSpPr>
        <p:spPr bwMode="auto">
          <a:xfrm>
            <a:off x="6183313" y="4060825"/>
            <a:ext cx="215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1A9C7CBC-6CCC-47BB-ADEC-E06BFB9D4A64}" type="datetime'J''''''''a''''''''''''n'''''''''''''''''''''''''''''''''''''''">
              <a:rPr lang="en-US" altLang="en-US" sz="1000" smtClean="0">
                <a:solidFill>
                  <a:srgbClr val="000000"/>
                </a:solidFill>
                <a:cs typeface="+mn-cs"/>
              </a:rPr>
              <a:pPr lvl="0" algn="ctr">
                <a:spcBef>
                  <a:spcPct val="0"/>
                </a:spcBef>
                <a:spcAft>
                  <a:spcPct val="0"/>
                </a:spcAft>
                <a:buClr>
                  <a:srgbClr val="000000"/>
                </a:buClr>
                <a:defRPr/>
              </a:pPr>
              <a:t>Jan</a:t>
            </a:fld>
            <a:endParaRPr kumimoji="0" lang="en-US" sz="1000" b="0" i="0" strike="noStrike" kern="1200" cap="none" spc="0" normalizeH="0" baseline="0" noProof="0">
              <a:ln>
                <a:noFill/>
              </a:ln>
              <a:solidFill>
                <a:srgbClr val="000000"/>
              </a:solidFill>
              <a:effectLst/>
              <a:uLnTx/>
              <a:uFillTx/>
              <a:cs typeface="+mn-cs"/>
            </a:endParaRPr>
          </a:p>
        </p:txBody>
      </p:sp>
      <p:sp>
        <p:nvSpPr>
          <p:cNvPr id="159" name="Text Placeholder 4">
            <a:extLst>
              <a:ext uri="{FF2B5EF4-FFF2-40B4-BE49-F238E27FC236}">
                <a16:creationId xmlns:a16="http://schemas.microsoft.com/office/drawing/2014/main" id="{5DC84823-A349-4C31-8E05-65A263676D2E}"/>
              </a:ext>
            </a:extLst>
          </p:cNvPr>
          <p:cNvSpPr>
            <a:spLocks noGrp="1"/>
          </p:cNvSpPr>
          <p:nvPr>
            <p:custDataLst>
              <p:tags r:id="rId24"/>
            </p:custDataLst>
          </p:nvPr>
        </p:nvSpPr>
        <p:spPr bwMode="auto">
          <a:xfrm>
            <a:off x="7448550" y="40608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180CCEB9-3D2F-4B8E-821E-EBF2177398E6}" type="datetime'''''''''''''''''A''p''r'''''''''''''''''''''">
              <a:rPr lang="en-US" altLang="en-US" sz="1000" smtClean="0">
                <a:solidFill>
                  <a:srgbClr val="000000"/>
                </a:solidFill>
                <a:cs typeface="+mn-cs"/>
              </a:rPr>
              <a:pPr lvl="0" algn="ctr">
                <a:spcBef>
                  <a:spcPct val="0"/>
                </a:spcBef>
                <a:spcAft>
                  <a:spcPct val="0"/>
                </a:spcAft>
                <a:buClr>
                  <a:srgbClr val="000000"/>
                </a:buClr>
                <a:defRPr/>
              </a:pPr>
              <a:t>Apr</a:t>
            </a:fld>
            <a:endParaRPr kumimoji="0" lang="en-US" sz="1000" b="0" i="0" strike="noStrike" kern="1200" cap="none" spc="0" normalizeH="0" baseline="0" noProof="0">
              <a:ln>
                <a:noFill/>
              </a:ln>
              <a:solidFill>
                <a:srgbClr val="000000"/>
              </a:solidFill>
              <a:effectLst/>
              <a:uLnTx/>
              <a:uFillTx/>
              <a:cs typeface="+mn-cs"/>
            </a:endParaRPr>
          </a:p>
        </p:txBody>
      </p:sp>
      <p:sp>
        <p:nvSpPr>
          <p:cNvPr id="160" name="Text Placeholder 4">
            <a:extLst>
              <a:ext uri="{FF2B5EF4-FFF2-40B4-BE49-F238E27FC236}">
                <a16:creationId xmlns:a16="http://schemas.microsoft.com/office/drawing/2014/main" id="{B8F9749C-742B-4122-ADF6-21F321BF463B}"/>
              </a:ext>
            </a:extLst>
          </p:cNvPr>
          <p:cNvSpPr>
            <a:spLocks noGrp="1"/>
          </p:cNvSpPr>
          <p:nvPr>
            <p:custDataLst>
              <p:tags r:id="rId25"/>
            </p:custDataLst>
          </p:nvPr>
        </p:nvSpPr>
        <p:spPr bwMode="auto">
          <a:xfrm>
            <a:off x="8742363" y="40608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94667CA7-A608-4E12-B3FF-02A5D0ADB122}" type="datetime'J''''''''''u''''''''''''''''''''l'''">
              <a:rPr lang="en-US" altLang="en-US" sz="1000" smtClean="0">
                <a:solidFill>
                  <a:srgbClr val="000000"/>
                </a:solidFill>
                <a:cs typeface="+mn-cs"/>
              </a:rPr>
              <a:pPr lvl="0" algn="ctr">
                <a:spcBef>
                  <a:spcPct val="0"/>
                </a:spcBef>
                <a:spcAft>
                  <a:spcPct val="0"/>
                </a:spcAft>
                <a:buClr>
                  <a:srgbClr val="000000"/>
                </a:buClr>
                <a:defRPr/>
              </a:pPr>
              <a:t>Jul</a:t>
            </a:fld>
            <a:endParaRPr kumimoji="0" lang="en-US" sz="1000" b="0" i="0" strike="noStrike" kern="1200" cap="none" spc="0" normalizeH="0" baseline="0" noProof="0">
              <a:ln>
                <a:noFill/>
              </a:ln>
              <a:solidFill>
                <a:srgbClr val="000000"/>
              </a:solidFill>
              <a:effectLst/>
              <a:uLnTx/>
              <a:uFillTx/>
              <a:cs typeface="+mn-cs"/>
            </a:endParaRPr>
          </a:p>
        </p:txBody>
      </p:sp>
      <p:sp>
        <p:nvSpPr>
          <p:cNvPr id="162" name="Text Placeholder 4">
            <a:extLst>
              <a:ext uri="{FF2B5EF4-FFF2-40B4-BE49-F238E27FC236}">
                <a16:creationId xmlns:a16="http://schemas.microsoft.com/office/drawing/2014/main" id="{0E6F2183-73F0-4E86-82B1-88A820E366CA}"/>
              </a:ext>
            </a:extLst>
          </p:cNvPr>
          <p:cNvSpPr>
            <a:spLocks noGrp="1"/>
          </p:cNvSpPr>
          <p:nvPr>
            <p:custDataLst>
              <p:tags r:id="rId26"/>
            </p:custDataLst>
          </p:nvPr>
        </p:nvSpPr>
        <p:spPr bwMode="auto">
          <a:xfrm>
            <a:off x="10015538" y="40608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391B3582-DD92-459F-A089-68753777BCC0}" type="datetime'''''''''''''''''Oc''''''''''''t'''''''''''''''''">
              <a:rPr lang="en-US" altLang="en-US" sz="1000" smtClean="0">
                <a:solidFill>
                  <a:srgbClr val="000000"/>
                </a:solidFill>
                <a:cs typeface="+mn-cs"/>
              </a:rPr>
              <a:pPr lvl="0" algn="ctr">
                <a:spcBef>
                  <a:spcPct val="0"/>
                </a:spcBef>
                <a:spcAft>
                  <a:spcPct val="0"/>
                </a:spcAft>
                <a:buClr>
                  <a:srgbClr val="000000"/>
                </a:buClr>
                <a:defRPr/>
              </a:pPr>
              <a:t>Oct</a:t>
            </a:fld>
            <a:endParaRPr kumimoji="0" lang="en-US" sz="1000" b="0" i="0" strike="noStrike" kern="1200" cap="none" spc="0" normalizeH="0" baseline="0" noProof="0">
              <a:ln>
                <a:noFill/>
              </a:ln>
              <a:solidFill>
                <a:srgbClr val="000000"/>
              </a:solidFill>
              <a:effectLst/>
              <a:uLnTx/>
              <a:uFillTx/>
              <a:cs typeface="+mn-cs"/>
            </a:endParaRPr>
          </a:p>
        </p:txBody>
      </p:sp>
      <p:sp>
        <p:nvSpPr>
          <p:cNvPr id="163" name="Text Placeholder 4">
            <a:extLst>
              <a:ext uri="{FF2B5EF4-FFF2-40B4-BE49-F238E27FC236}">
                <a16:creationId xmlns:a16="http://schemas.microsoft.com/office/drawing/2014/main" id="{8EB18F53-0E99-471D-916B-64CD266C077A}"/>
              </a:ext>
            </a:extLst>
          </p:cNvPr>
          <p:cNvSpPr>
            <a:spLocks noGrp="1"/>
          </p:cNvSpPr>
          <p:nvPr>
            <p:custDataLst>
              <p:tags r:id="rId27"/>
            </p:custDataLst>
          </p:nvPr>
        </p:nvSpPr>
        <p:spPr bwMode="auto">
          <a:xfrm>
            <a:off x="11277600" y="4060825"/>
            <a:ext cx="238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7D9FABAB-43BA-4E0A-9837-573FFF303076}" type="datetime'''''''''''''''''''''''De''''''''''''''''''c'''">
              <a:rPr lang="en-US" altLang="en-US" sz="1000" smtClean="0">
                <a:solidFill>
                  <a:srgbClr val="000000"/>
                </a:solidFill>
                <a:cs typeface="+mn-cs"/>
              </a:rPr>
              <a:pPr lvl="0" algn="ctr">
                <a:spcBef>
                  <a:spcPct val="0"/>
                </a:spcBef>
                <a:spcAft>
                  <a:spcPct val="0"/>
                </a:spcAft>
                <a:buClr>
                  <a:srgbClr val="000000"/>
                </a:buClr>
                <a:defRPr/>
              </a:pPr>
              <a:t>Dec</a:t>
            </a:fld>
            <a:endParaRPr kumimoji="0" lang="en-US" sz="1000" b="0" i="0" strike="noStrike" kern="1200" cap="none" spc="0" normalizeH="0" baseline="0" noProof="0">
              <a:ln>
                <a:noFill/>
              </a:ln>
              <a:solidFill>
                <a:srgbClr val="000000"/>
              </a:solidFill>
              <a:effectLst/>
              <a:uLnTx/>
              <a:uFillTx/>
              <a:cs typeface="+mn-cs"/>
            </a:endParaRPr>
          </a:p>
        </p:txBody>
      </p:sp>
      <p:sp>
        <p:nvSpPr>
          <p:cNvPr id="134" name="TrackerNumBlue 53">
            <a:extLst>
              <a:ext uri="{FF2B5EF4-FFF2-40B4-BE49-F238E27FC236}">
                <a16:creationId xmlns:a16="http://schemas.microsoft.com/office/drawing/2014/main" id="{6086484B-B4B1-4EE9-B903-E052F66E767F}"/>
              </a:ext>
            </a:extLst>
          </p:cNvPr>
          <p:cNvSpPr/>
          <p:nvPr>
            <p:custDataLst>
              <p:tags r:id="rId28"/>
            </p:custDataLst>
          </p:nvPr>
        </p:nvSpPr>
        <p:spPr>
          <a:xfrm>
            <a:off x="4165600" y="1909040"/>
            <a:ext cx="279400" cy="279329"/>
          </a:xfrm>
          <a:prstGeom prst="ellipse">
            <a:avLst/>
          </a:prstGeom>
          <a:solidFill>
            <a:schemeClr val="bg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1</a:t>
            </a:r>
          </a:p>
        </p:txBody>
      </p:sp>
      <p:sp>
        <p:nvSpPr>
          <p:cNvPr id="135" name="TrackerNumBlue 53">
            <a:extLst>
              <a:ext uri="{FF2B5EF4-FFF2-40B4-BE49-F238E27FC236}">
                <a16:creationId xmlns:a16="http://schemas.microsoft.com/office/drawing/2014/main" id="{56845060-6222-4062-8414-3E27ABD6B7A3}"/>
              </a:ext>
            </a:extLst>
          </p:cNvPr>
          <p:cNvSpPr/>
          <p:nvPr>
            <p:custDataLst>
              <p:tags r:id="rId29"/>
            </p:custDataLst>
          </p:nvPr>
        </p:nvSpPr>
        <p:spPr>
          <a:xfrm>
            <a:off x="5070475" y="1909040"/>
            <a:ext cx="279400" cy="279329"/>
          </a:xfrm>
          <a:prstGeom prst="ellipse">
            <a:avLst/>
          </a:prstGeom>
          <a:solidFill>
            <a:schemeClr val="tx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3</a:t>
            </a:r>
          </a:p>
        </p:txBody>
      </p:sp>
      <p:sp>
        <p:nvSpPr>
          <p:cNvPr id="136" name="TrackerNumBlue 53">
            <a:extLst>
              <a:ext uri="{FF2B5EF4-FFF2-40B4-BE49-F238E27FC236}">
                <a16:creationId xmlns:a16="http://schemas.microsoft.com/office/drawing/2014/main" id="{EECEA0AC-69F0-461D-AC28-87D96F94CB6F}"/>
              </a:ext>
            </a:extLst>
          </p:cNvPr>
          <p:cNvSpPr/>
          <p:nvPr>
            <p:custDataLst>
              <p:tags r:id="rId30"/>
            </p:custDataLst>
          </p:nvPr>
        </p:nvSpPr>
        <p:spPr>
          <a:xfrm>
            <a:off x="4692650" y="1909040"/>
            <a:ext cx="279400" cy="279329"/>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2</a:t>
            </a:r>
          </a:p>
        </p:txBody>
      </p:sp>
      <p:cxnSp>
        <p:nvCxnSpPr>
          <p:cNvPr id="137" name="LineBasicVerticalDefault 40">
            <a:extLst>
              <a:ext uri="{FF2B5EF4-FFF2-40B4-BE49-F238E27FC236}">
                <a16:creationId xmlns:a16="http://schemas.microsoft.com/office/drawing/2014/main" id="{86C3778C-5557-4CD8-AB4B-7C72515BE323}"/>
              </a:ext>
            </a:extLst>
          </p:cNvPr>
          <p:cNvCxnSpPr>
            <a:cxnSpLocks/>
          </p:cNvCxnSpPr>
          <p:nvPr>
            <p:custDataLst>
              <p:tags r:id="rId31"/>
            </p:custDataLst>
          </p:nvPr>
        </p:nvCxnSpPr>
        <p:spPr>
          <a:xfrm>
            <a:off x="4300538"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8" name="LineBasicVerticalDefault 40">
            <a:extLst>
              <a:ext uri="{FF2B5EF4-FFF2-40B4-BE49-F238E27FC236}">
                <a16:creationId xmlns:a16="http://schemas.microsoft.com/office/drawing/2014/main" id="{BFBA3DAD-0A27-4BCE-8FB3-DCEBCC3066DC}"/>
              </a:ext>
            </a:extLst>
          </p:cNvPr>
          <p:cNvCxnSpPr>
            <a:cxnSpLocks/>
          </p:cNvCxnSpPr>
          <p:nvPr>
            <p:custDataLst>
              <p:tags r:id="rId32"/>
            </p:custDataLst>
          </p:nvPr>
        </p:nvCxnSpPr>
        <p:spPr>
          <a:xfrm>
            <a:off x="5202238"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1" name="LineBasicVerticalDefault 40">
            <a:extLst>
              <a:ext uri="{FF2B5EF4-FFF2-40B4-BE49-F238E27FC236}">
                <a16:creationId xmlns:a16="http://schemas.microsoft.com/office/drawing/2014/main" id="{93CDB330-75AD-43A2-84AC-899454A8BB28}"/>
              </a:ext>
            </a:extLst>
          </p:cNvPr>
          <p:cNvCxnSpPr>
            <a:cxnSpLocks/>
          </p:cNvCxnSpPr>
          <p:nvPr>
            <p:custDataLst>
              <p:tags r:id="rId33"/>
            </p:custDataLst>
          </p:nvPr>
        </p:nvCxnSpPr>
        <p:spPr>
          <a:xfrm>
            <a:off x="4833938" y="2209800"/>
            <a:ext cx="0" cy="1798556"/>
          </a:xfrm>
          <a:prstGeom prst="straightConnector1">
            <a:avLst/>
          </a:prstGeom>
          <a:ln w="222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42" name="LineBasicVerticalDefault 40">
            <a:extLst>
              <a:ext uri="{FF2B5EF4-FFF2-40B4-BE49-F238E27FC236}">
                <a16:creationId xmlns:a16="http://schemas.microsoft.com/office/drawing/2014/main" id="{1BC930F5-067E-441E-BE2B-42DB3824103F}"/>
              </a:ext>
            </a:extLst>
          </p:cNvPr>
          <p:cNvCxnSpPr>
            <a:cxnSpLocks/>
          </p:cNvCxnSpPr>
          <p:nvPr>
            <p:custDataLst>
              <p:tags r:id="rId34"/>
            </p:custDataLst>
          </p:nvPr>
        </p:nvCxnSpPr>
        <p:spPr>
          <a:xfrm>
            <a:off x="7816850"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3" name="TrackerNumBlue 53">
            <a:extLst>
              <a:ext uri="{FF2B5EF4-FFF2-40B4-BE49-F238E27FC236}">
                <a16:creationId xmlns:a16="http://schemas.microsoft.com/office/drawing/2014/main" id="{1AE3753E-8AB4-42B6-BEBC-15B7F120E61A}"/>
              </a:ext>
            </a:extLst>
          </p:cNvPr>
          <p:cNvSpPr/>
          <p:nvPr>
            <p:custDataLst>
              <p:tags r:id="rId35"/>
            </p:custDataLst>
          </p:nvPr>
        </p:nvSpPr>
        <p:spPr>
          <a:xfrm>
            <a:off x="7680325" y="1909040"/>
            <a:ext cx="279400" cy="279329"/>
          </a:xfrm>
          <a:prstGeom prst="ellipse">
            <a:avLst/>
          </a:prstGeom>
          <a:solidFill>
            <a:schemeClr val="bg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6</a:t>
            </a:r>
          </a:p>
        </p:txBody>
      </p:sp>
      <p:sp>
        <p:nvSpPr>
          <p:cNvPr id="144" name="TrackerNumBlue 53">
            <a:extLst>
              <a:ext uri="{FF2B5EF4-FFF2-40B4-BE49-F238E27FC236}">
                <a16:creationId xmlns:a16="http://schemas.microsoft.com/office/drawing/2014/main" id="{0F10B088-0242-453E-95D0-2AD20E75F220}"/>
              </a:ext>
            </a:extLst>
          </p:cNvPr>
          <p:cNvSpPr/>
          <p:nvPr>
            <p:custDataLst>
              <p:tags r:id="rId36"/>
            </p:custDataLst>
          </p:nvPr>
        </p:nvSpPr>
        <p:spPr>
          <a:xfrm>
            <a:off x="5356225" y="1909040"/>
            <a:ext cx="279400" cy="279329"/>
          </a:xfrm>
          <a:prstGeom prst="ellipse">
            <a:avLst/>
          </a:prstGeom>
          <a:solidFill>
            <a:schemeClr val="bg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4</a:t>
            </a:r>
          </a:p>
        </p:txBody>
      </p:sp>
      <p:cxnSp>
        <p:nvCxnSpPr>
          <p:cNvPr id="145" name="LineBasicVerticalDefault 40">
            <a:extLst>
              <a:ext uri="{FF2B5EF4-FFF2-40B4-BE49-F238E27FC236}">
                <a16:creationId xmlns:a16="http://schemas.microsoft.com/office/drawing/2014/main" id="{982B4447-EE76-4929-837A-5EB90DB24377}"/>
              </a:ext>
            </a:extLst>
          </p:cNvPr>
          <p:cNvCxnSpPr>
            <a:cxnSpLocks/>
          </p:cNvCxnSpPr>
          <p:nvPr>
            <p:custDataLst>
              <p:tags r:id="rId37"/>
            </p:custDataLst>
          </p:nvPr>
        </p:nvCxnSpPr>
        <p:spPr>
          <a:xfrm>
            <a:off x="5481638"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47" name="TrackerNumBlue 53">
            <a:extLst>
              <a:ext uri="{FF2B5EF4-FFF2-40B4-BE49-F238E27FC236}">
                <a16:creationId xmlns:a16="http://schemas.microsoft.com/office/drawing/2014/main" id="{B5E4B62C-FDF5-4C78-B70C-45AA7436A8F8}"/>
              </a:ext>
            </a:extLst>
          </p:cNvPr>
          <p:cNvSpPr/>
          <p:nvPr>
            <p:custDataLst>
              <p:tags r:id="rId38"/>
            </p:custDataLst>
          </p:nvPr>
        </p:nvSpPr>
        <p:spPr>
          <a:xfrm>
            <a:off x="5718175" y="1909040"/>
            <a:ext cx="279400" cy="279329"/>
          </a:xfrm>
          <a:prstGeom prst="ellipse">
            <a:avLst/>
          </a:prstGeom>
          <a:solidFill>
            <a:schemeClr val="bg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5</a:t>
            </a:r>
          </a:p>
        </p:txBody>
      </p:sp>
      <p:cxnSp>
        <p:nvCxnSpPr>
          <p:cNvPr id="149" name="LineBasicVerticalDefault 40">
            <a:extLst>
              <a:ext uri="{FF2B5EF4-FFF2-40B4-BE49-F238E27FC236}">
                <a16:creationId xmlns:a16="http://schemas.microsoft.com/office/drawing/2014/main" id="{D9B521A6-B761-4668-B90A-CB9A37A856D1}"/>
              </a:ext>
            </a:extLst>
          </p:cNvPr>
          <p:cNvCxnSpPr>
            <a:cxnSpLocks/>
          </p:cNvCxnSpPr>
          <p:nvPr>
            <p:custDataLst>
              <p:tags r:id="rId39"/>
            </p:custDataLst>
          </p:nvPr>
        </p:nvCxnSpPr>
        <p:spPr>
          <a:xfrm>
            <a:off x="5873750"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71" name="Rectangle 170">
            <a:extLst>
              <a:ext uri="{FF2B5EF4-FFF2-40B4-BE49-F238E27FC236}">
                <a16:creationId xmlns:a16="http://schemas.microsoft.com/office/drawing/2014/main" id="{D445912E-DEEA-4FB2-B647-D3C7BC73D898}"/>
              </a:ext>
            </a:extLst>
          </p:cNvPr>
          <p:cNvSpPr/>
          <p:nvPr/>
        </p:nvSpPr>
        <p:spPr>
          <a:xfrm>
            <a:off x="8229600" y="1820690"/>
            <a:ext cx="2374900" cy="1276055"/>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buClr>
                <a:srgbClr val="000000"/>
              </a:buClr>
            </a:pPr>
            <a:r>
              <a:rPr lang="en-US" sz="1100">
                <a:solidFill>
                  <a:srgbClr val="000000"/>
                </a:solidFill>
              </a:rPr>
              <a:t>If </a:t>
            </a:r>
            <a:r>
              <a:rPr lang="en-US" sz="1100" b="1" err="1">
                <a:solidFill>
                  <a:schemeClr val="accent1"/>
                </a:solidFill>
              </a:rPr>
              <a:t>Moderna</a:t>
            </a:r>
            <a:r>
              <a:rPr lang="en-US" sz="1100" b="1">
                <a:solidFill>
                  <a:schemeClr val="accent1"/>
                </a:solidFill>
              </a:rPr>
              <a:t> booster is approved 2 weeks after Pfizer</a:t>
            </a:r>
            <a:r>
              <a:rPr lang="en-US" sz="1100" baseline="30000">
                <a:solidFill>
                  <a:srgbClr val="000000"/>
                </a:solidFill>
              </a:rPr>
              <a:t>3 </a:t>
            </a:r>
            <a:r>
              <a:rPr lang="en-US" sz="1100">
                <a:solidFill>
                  <a:srgbClr val="000000"/>
                </a:solidFill>
              </a:rPr>
              <a:t>and administered 8 months after full vaccination, peak daily demand may be </a:t>
            </a:r>
            <a:r>
              <a:rPr lang="en-US" sz="1100" b="1">
                <a:solidFill>
                  <a:schemeClr val="accent1"/>
                </a:solidFill>
              </a:rPr>
              <a:t>~370K doses per day </a:t>
            </a:r>
            <a:r>
              <a:rPr lang="en-US" sz="1100">
                <a:solidFill>
                  <a:srgbClr val="000000"/>
                </a:solidFill>
              </a:rPr>
              <a:t>and State may remain within historical peak of 410k doses per day</a:t>
            </a:r>
            <a:r>
              <a:rPr lang="en-US" sz="1100" b="1" baseline="30000">
                <a:solidFill>
                  <a:srgbClr val="000000"/>
                </a:solidFill>
              </a:rPr>
              <a:t>4</a:t>
            </a:r>
            <a:endParaRPr lang="en-US" sz="1600">
              <a:solidFill>
                <a:srgbClr val="000000"/>
              </a:solidFill>
            </a:endParaRPr>
          </a:p>
        </p:txBody>
      </p:sp>
      <p:sp>
        <p:nvSpPr>
          <p:cNvPr id="106" name="TextBox 105">
            <a:extLst>
              <a:ext uri="{FF2B5EF4-FFF2-40B4-BE49-F238E27FC236}">
                <a16:creationId xmlns:a16="http://schemas.microsoft.com/office/drawing/2014/main" id="{B4BA261C-227F-46AB-BE6E-311C1CA68C67}"/>
              </a:ext>
            </a:extLst>
          </p:cNvPr>
          <p:cNvSpPr txBox="1"/>
          <p:nvPr/>
        </p:nvSpPr>
        <p:spPr>
          <a:xfrm>
            <a:off x="10687050" y="2756860"/>
            <a:ext cx="1181100"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Potential peak:</a:t>
            </a:r>
            <a:br>
              <a:rPr lang="en-US" sz="1100"/>
            </a:br>
            <a:r>
              <a:rPr lang="en-US" sz="1100"/>
              <a:t>~370k doses/day</a:t>
            </a:r>
            <a:r>
              <a:rPr lang="en-US" sz="1100" b="1" baseline="30000">
                <a:solidFill>
                  <a:srgbClr val="000000"/>
                </a:solidFill>
              </a:rPr>
              <a:t>4</a:t>
            </a:r>
            <a:endParaRPr lang="en-US" sz="1100"/>
          </a:p>
        </p:txBody>
      </p:sp>
      <p:sp>
        <p:nvSpPr>
          <p:cNvPr id="107" name="TextBox 106">
            <a:extLst>
              <a:ext uri="{FF2B5EF4-FFF2-40B4-BE49-F238E27FC236}">
                <a16:creationId xmlns:a16="http://schemas.microsoft.com/office/drawing/2014/main" id="{32C0FE88-93FE-4558-8542-FA3006AAA146}"/>
              </a:ext>
            </a:extLst>
          </p:cNvPr>
          <p:cNvSpPr txBox="1"/>
          <p:nvPr/>
        </p:nvSpPr>
        <p:spPr>
          <a:xfrm>
            <a:off x="10669589" y="3447422"/>
            <a:ext cx="1179513"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Current admin.:</a:t>
            </a:r>
            <a:br>
              <a:rPr lang="en-US" sz="1100"/>
            </a:br>
            <a:r>
              <a:rPr lang="en-US" sz="1100"/>
              <a:t>~80k doses/day</a:t>
            </a:r>
            <a:r>
              <a:rPr lang="en-US" sz="1100" b="1" baseline="30000">
                <a:solidFill>
                  <a:srgbClr val="000000"/>
                </a:solidFill>
              </a:rPr>
              <a:t>5</a:t>
            </a:r>
            <a:endParaRPr lang="en-US" sz="1100"/>
          </a:p>
        </p:txBody>
      </p:sp>
      <p:sp>
        <p:nvSpPr>
          <p:cNvPr id="117" name="Sticker">
            <a:extLst>
              <a:ext uri="{FF2B5EF4-FFF2-40B4-BE49-F238E27FC236}">
                <a16:creationId xmlns:a16="http://schemas.microsoft.com/office/drawing/2014/main" id="{D9C9094A-DA98-4243-B81D-D39358DC48E2}"/>
              </a:ext>
            </a:extLst>
          </p:cNvPr>
          <p:cNvSpPr txBox="1"/>
          <p:nvPr/>
        </p:nvSpPr>
        <p:spPr>
          <a:xfrm>
            <a:off x="9100609" y="6558284"/>
            <a:ext cx="2415116" cy="123111"/>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lvl="0"/>
            <a:r>
              <a:rPr lang="en-US"/>
              <a:t>Preliminary; as of SEPTEMBER 9, 2021</a:t>
            </a:r>
          </a:p>
        </p:txBody>
      </p:sp>
      <p:sp>
        <p:nvSpPr>
          <p:cNvPr id="8" name="Title 7">
            <a:extLst>
              <a:ext uri="{FF2B5EF4-FFF2-40B4-BE49-F238E27FC236}">
                <a16:creationId xmlns:a16="http://schemas.microsoft.com/office/drawing/2014/main" id="{9007CB5C-A5E8-4AB8-918E-B349C97B1318}"/>
              </a:ext>
            </a:extLst>
          </p:cNvPr>
          <p:cNvSpPr>
            <a:spLocks noGrp="1"/>
          </p:cNvSpPr>
          <p:nvPr>
            <p:ph type="title"/>
          </p:nvPr>
        </p:nvSpPr>
        <p:spPr>
          <a:xfrm>
            <a:off x="551272" y="199253"/>
            <a:ext cx="11464876" cy="886397"/>
          </a:xfrm>
        </p:spPr>
        <p:txBody>
          <a:bodyPr vert="horz" wrap="square">
            <a:spAutoFit/>
          </a:bodyPr>
          <a:lstStyle/>
          <a:p>
            <a:r>
              <a:rPr lang="en-US" sz="3200">
                <a:latin typeface="Arial" panose="020B0604020202020204" pitchFamily="34" charset="0"/>
                <a:cs typeface="Arial" panose="020B0604020202020204" pitchFamily="34" charset="0"/>
              </a:rPr>
              <a:t>Scenario: Daily administration requirement for 8-months booster eligibility</a:t>
            </a:r>
            <a:r>
              <a:rPr lang="en-US" sz="3200" baseline="30000">
                <a:latin typeface="Arial" panose="020B0604020202020204" pitchFamily="34" charset="0"/>
                <a:cs typeface="Arial" panose="020B0604020202020204" pitchFamily="34" charset="0"/>
              </a:rPr>
              <a:t>1,2</a:t>
            </a:r>
            <a:endParaRPr lang="en-US" sz="3200">
              <a:latin typeface="Arial" panose="020B0604020202020204" pitchFamily="34" charset="0"/>
              <a:cs typeface="Arial" panose="020B0604020202020204" pitchFamily="34" charset="0"/>
            </a:endParaRPr>
          </a:p>
        </p:txBody>
      </p:sp>
      <p:sp>
        <p:nvSpPr>
          <p:cNvPr id="82" name="Legend1">
            <a:extLst>
              <a:ext uri="{FF2B5EF4-FFF2-40B4-BE49-F238E27FC236}">
                <a16:creationId xmlns:a16="http://schemas.microsoft.com/office/drawing/2014/main" id="{C317CAE1-8F48-4ED1-80DB-24A4AE6F1800}"/>
              </a:ext>
            </a:extLst>
          </p:cNvPr>
          <p:cNvSpPr txBox="1"/>
          <p:nvPr/>
        </p:nvSpPr>
        <p:spPr>
          <a:xfrm>
            <a:off x="8181975" y="908704"/>
            <a:ext cx="3667125" cy="184666"/>
          </a:xfrm>
          <a:prstGeom prst="rect">
            <a:avLst/>
          </a:prstGeom>
          <a:noFill/>
          <a:ln>
            <a:noFill/>
            <a:miter lim="800000"/>
          </a:ln>
        </p:spPr>
        <p:txBody>
          <a:bodyPr wrap="square" lIns="0" tIns="0" rIns="0" bIns="0" rtlCol="0" anchor="ctr" anchorCtr="0">
            <a:spAutoFit/>
          </a:bodyPr>
          <a:lstStyle/>
          <a:p>
            <a:pPr>
              <a:spcAft>
                <a:spcPts val="600"/>
              </a:spcAft>
            </a:pPr>
            <a:r>
              <a:rPr lang="en-US" sz="1200" b="1">
                <a:solidFill>
                  <a:schemeClr val="accent1"/>
                </a:solidFill>
              </a:rPr>
              <a:t>Aa:</a:t>
            </a:r>
            <a:r>
              <a:rPr lang="en-US" sz="1200"/>
              <a:t>  Blue text indicates defining variables and outputs</a:t>
            </a:r>
          </a:p>
        </p:txBody>
      </p:sp>
      <p:sp>
        <p:nvSpPr>
          <p:cNvPr id="85" name="4. Footnote">
            <a:extLst>
              <a:ext uri="{FF2B5EF4-FFF2-40B4-BE49-F238E27FC236}">
                <a16:creationId xmlns:a16="http://schemas.microsoft.com/office/drawing/2014/main" id="{31839906-54AC-41DE-B4FA-EFAC2D8674F2}"/>
              </a:ext>
            </a:extLst>
          </p:cNvPr>
          <p:cNvSpPr txBox="1"/>
          <p:nvPr>
            <p:custDataLst>
              <p:tags r:id="rId40"/>
            </p:custDataLst>
          </p:nvPr>
        </p:nvSpPr>
        <p:spPr>
          <a:xfrm>
            <a:off x="598488" y="6038360"/>
            <a:ext cx="7278688"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500"/>
              <a:t>1.	Scenario represented is one of many models under consideration, and is not illustrative of the full scope of scenarios considered</a:t>
            </a:r>
          </a:p>
          <a:p>
            <a:pPr lvl="0"/>
            <a:r>
              <a:rPr lang="en-US" sz="500"/>
              <a:t>2.	See detailed scenario assumptions page for additional scenario details</a:t>
            </a:r>
          </a:p>
          <a:p>
            <a:pPr lvl="0"/>
            <a:r>
              <a:rPr lang="en-US" sz="500"/>
              <a:t>3.	https://www.cnn.com/2021/09/05/health/coronavirus-fauci-moderna-vaccine-booster/index.html</a:t>
            </a:r>
          </a:p>
          <a:p>
            <a:pPr lvl="0"/>
            <a:r>
              <a:rPr lang="en-US" sz="500"/>
              <a:t>4.	Based on scenario being illustrated, as developed with CDPH working team guidance</a:t>
            </a:r>
          </a:p>
          <a:p>
            <a:pPr lvl="0"/>
            <a:r>
              <a:rPr lang="en-US" sz="500"/>
              <a:t>5.	Based on historical data as of August 16 2021 (latest historical data available at time of scenario modeling)</a:t>
            </a:r>
          </a:p>
        </p:txBody>
      </p:sp>
    </p:spTree>
    <p:extLst>
      <p:ext uri="{BB962C8B-B14F-4D97-AF65-F5344CB8AC3E}">
        <p14:creationId xmlns:p14="http://schemas.microsoft.com/office/powerpoint/2010/main" val="371963251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D28F5C68-2726-47B3-95C0-4CDC6622A97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2529" name="think-cell Slide" r:id="rId49" imgW="592" imgH="595" progId="TCLayout.ActiveDocument.1">
                  <p:embed/>
                </p:oleObj>
              </mc:Choice>
              <mc:Fallback>
                <p:oleObj name="think-cell Slide" r:id="rId49" imgW="592" imgH="595" progId="TCLayout.ActiveDocument.1">
                  <p:embed/>
                  <p:pic>
                    <p:nvPicPr>
                      <p:cNvPr id="5" name="Object 6" hidden="1">
                        <a:extLst>
                          <a:ext uri="{FF2B5EF4-FFF2-40B4-BE49-F238E27FC236}">
                            <a16:creationId xmlns:a16="http://schemas.microsoft.com/office/drawing/2014/main" id="{D28F5C68-2726-47B3-95C0-4CDC6622A97D}"/>
                          </a:ext>
                        </a:extLst>
                      </p:cNvPr>
                      <p:cNvPicPr/>
                      <p:nvPr/>
                    </p:nvPicPr>
                    <p:blipFill>
                      <a:blip r:embed="rId50"/>
                      <a:stretch>
                        <a:fillRect/>
                      </a:stretch>
                    </p:blipFill>
                    <p:spPr>
                      <a:xfrm>
                        <a:off x="1588" y="1588"/>
                        <a:ext cx="1588" cy="1588"/>
                      </a:xfrm>
                      <a:prstGeom prst="rect">
                        <a:avLst/>
                      </a:prstGeom>
                    </p:spPr>
                  </p:pic>
                </p:oleObj>
              </mc:Fallback>
            </mc:AlternateContent>
          </a:graphicData>
        </a:graphic>
      </p:graphicFrame>
      <p:sp>
        <p:nvSpPr>
          <p:cNvPr id="60" name="5. Source">
            <a:extLst>
              <a:ext uri="{FF2B5EF4-FFF2-40B4-BE49-F238E27FC236}">
                <a16:creationId xmlns:a16="http://schemas.microsoft.com/office/drawing/2014/main" id="{7989B6E3-B17D-4422-8B64-B174996EDA91}"/>
              </a:ext>
            </a:extLst>
          </p:cNvPr>
          <p:cNvSpPr txBox="1"/>
          <p:nvPr>
            <p:custDataLst>
              <p:tags r:id="rId3"/>
            </p:custDataLst>
          </p:nvPr>
        </p:nvSpPr>
        <p:spPr>
          <a:xfrm>
            <a:off x="5530072" y="6084527"/>
            <a:ext cx="7277861" cy="769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b"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defRPr/>
            </a:pPr>
            <a:r>
              <a:rPr kumimoji="0" lang="en-US" sz="500" strike="noStrike" kern="1200" spc="0" normalizeH="0" noProof="0">
                <a:ln>
                  <a:noFill/>
                </a:ln>
                <a:effectLst/>
                <a:uLnTx/>
                <a:uFillTx/>
              </a:rPr>
              <a:t>Source</a:t>
            </a:r>
            <a:r>
              <a:rPr lang="en-US" sz="500"/>
              <a:t>: Snowflake (data as of  8/16/2021), assumptions developed with CDPH working team guidance</a:t>
            </a:r>
          </a:p>
        </p:txBody>
      </p:sp>
      <p:grpSp>
        <p:nvGrpSpPr>
          <p:cNvPr id="44" name="Group 43">
            <a:extLst>
              <a:ext uri="{FF2B5EF4-FFF2-40B4-BE49-F238E27FC236}">
                <a16:creationId xmlns:a16="http://schemas.microsoft.com/office/drawing/2014/main" id="{095FF737-5517-4181-9157-A88ECB421B94}"/>
              </a:ext>
            </a:extLst>
          </p:cNvPr>
          <p:cNvGrpSpPr/>
          <p:nvPr/>
        </p:nvGrpSpPr>
        <p:grpSpPr>
          <a:xfrm>
            <a:off x="844549" y="4271963"/>
            <a:ext cx="10547350" cy="263525"/>
            <a:chOff x="906463" y="5543550"/>
            <a:chExt cx="6383337" cy="261938"/>
          </a:xfrm>
        </p:grpSpPr>
        <p:cxnSp>
          <p:nvCxnSpPr>
            <p:cNvPr id="188" name="Straight Connector 187">
              <a:extLst>
                <a:ext uri="{FF2B5EF4-FFF2-40B4-BE49-F238E27FC236}">
                  <a16:creationId xmlns:a16="http://schemas.microsoft.com/office/drawing/2014/main" id="{96BBB83A-A199-4D4B-972C-699465105038}"/>
                </a:ext>
              </a:extLst>
            </p:cNvPr>
            <p:cNvCxnSpPr>
              <a:cxnSpLocks/>
            </p:cNvCxnSpPr>
            <p:nvPr/>
          </p:nvCxnSpPr>
          <p:spPr>
            <a:xfrm>
              <a:off x="906463" y="5546725"/>
              <a:ext cx="2973388"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cxnSp>
          <p:nvCxnSpPr>
            <p:cNvPr id="189" name="Straight Connector 188">
              <a:extLst>
                <a:ext uri="{FF2B5EF4-FFF2-40B4-BE49-F238E27FC236}">
                  <a16:creationId xmlns:a16="http://schemas.microsoft.com/office/drawing/2014/main" id="{5B5A0D3F-B614-406B-AF2E-E282F6EC60AB}"/>
                </a:ext>
              </a:extLst>
            </p:cNvPr>
            <p:cNvCxnSpPr>
              <a:cxnSpLocks/>
            </p:cNvCxnSpPr>
            <p:nvPr/>
          </p:nvCxnSpPr>
          <p:spPr>
            <a:xfrm>
              <a:off x="3997325" y="5543550"/>
              <a:ext cx="3292475" cy="0"/>
            </a:xfrm>
            <a:prstGeom prst="line">
              <a:avLst/>
            </a:prstGeom>
            <a:ln w="6350" cap="flat">
              <a:solidFill>
                <a:schemeClr val="tx1"/>
              </a:solidFill>
              <a:miter lim="800000"/>
              <a:tailEnd type="none"/>
            </a:ln>
          </p:spPr>
          <p:style>
            <a:lnRef idx="1">
              <a:schemeClr val="accent1"/>
            </a:lnRef>
            <a:fillRef idx="0">
              <a:schemeClr val="accent1"/>
            </a:fillRef>
            <a:effectRef idx="0">
              <a:schemeClr val="accent1"/>
            </a:effectRef>
            <a:fontRef idx="minor">
              <a:schemeClr val="tx1"/>
            </a:fontRef>
          </p:style>
        </p:cxnSp>
        <p:sp>
          <p:nvSpPr>
            <p:cNvPr id="190" name="TextBox 189">
              <a:extLst>
                <a:ext uri="{FF2B5EF4-FFF2-40B4-BE49-F238E27FC236}">
                  <a16:creationId xmlns:a16="http://schemas.microsoft.com/office/drawing/2014/main" id="{A2718D27-356C-4487-8CFE-0CDCD9EA909C}"/>
                </a:ext>
              </a:extLst>
            </p:cNvPr>
            <p:cNvSpPr txBox="1">
              <a:spLocks/>
            </p:cNvSpPr>
            <p:nvPr/>
          </p:nvSpPr>
          <p:spPr>
            <a:xfrm>
              <a:off x="1576388" y="5627688"/>
              <a:ext cx="1633538" cy="153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2021</a:t>
              </a:r>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91" name="TextBox 190">
              <a:extLst>
                <a:ext uri="{FF2B5EF4-FFF2-40B4-BE49-F238E27FC236}">
                  <a16:creationId xmlns:a16="http://schemas.microsoft.com/office/drawing/2014/main" id="{ED0A9C12-A2FC-4C69-B9B8-333B6279F495}"/>
                </a:ext>
              </a:extLst>
            </p:cNvPr>
            <p:cNvSpPr txBox="1">
              <a:spLocks/>
            </p:cNvSpPr>
            <p:nvPr/>
          </p:nvSpPr>
          <p:spPr>
            <a:xfrm>
              <a:off x="4702175" y="5651500"/>
              <a:ext cx="1884363" cy="1539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ct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0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2022</a:t>
              </a:r>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grpSp>
      <p:sp>
        <p:nvSpPr>
          <p:cNvPr id="90" name="ACET">
            <a:extLst>
              <a:ext uri="{FF2B5EF4-FFF2-40B4-BE49-F238E27FC236}">
                <a16:creationId xmlns:a16="http://schemas.microsoft.com/office/drawing/2014/main" id="{F9F79698-0A47-4202-8733-C8772123AE50}"/>
              </a:ext>
            </a:extLst>
          </p:cNvPr>
          <p:cNvSpPr txBox="1">
            <a:spLocks/>
          </p:cNvSpPr>
          <p:nvPr>
            <p:custDataLst>
              <p:tags r:id="rId4"/>
            </p:custDataLst>
          </p:nvPr>
        </p:nvSpPr>
        <p:spPr>
          <a:xfrm>
            <a:off x="565447" y="1350634"/>
            <a:ext cx="7300913" cy="215444"/>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strike="noStrike" kern="1200" spc="0" normalizeH="0" noProof="0">
                <a:ln>
                  <a:noFill/>
                </a:ln>
                <a:effectLst/>
                <a:uLnTx/>
                <a:uFillTx/>
              </a:rPr>
              <a:t>Daily administration </a:t>
            </a:r>
            <a:r>
              <a:rPr lang="en-US" sz="1400"/>
              <a:t>requirement</a:t>
            </a:r>
            <a:r>
              <a:rPr kumimoji="0" lang="en-US" sz="1400" strike="noStrike" kern="1200" spc="0" normalizeH="0" noProof="0">
                <a:ln>
                  <a:noFill/>
                </a:ln>
                <a:effectLst/>
                <a:uLnTx/>
                <a:uFillTx/>
              </a:rPr>
              <a:t>, M doses</a:t>
            </a:r>
          </a:p>
        </p:txBody>
      </p:sp>
      <p:sp>
        <p:nvSpPr>
          <p:cNvPr id="139" name="Sticker">
            <a:extLst>
              <a:ext uri="{FF2B5EF4-FFF2-40B4-BE49-F238E27FC236}">
                <a16:creationId xmlns:a16="http://schemas.microsoft.com/office/drawing/2014/main" id="{31BDF657-34F0-49B5-9CE9-5D96EB910324}"/>
              </a:ext>
            </a:extLst>
          </p:cNvPr>
          <p:cNvSpPr txBox="1"/>
          <p:nvPr/>
        </p:nvSpPr>
        <p:spPr>
          <a:xfrm>
            <a:off x="8957838" y="6514386"/>
            <a:ext cx="2624497" cy="123111"/>
          </a:xfrm>
          <a:prstGeom prst="rect">
            <a:avLst/>
          </a:prstGeom>
          <a:noFill/>
          <a:ln w="6350">
            <a:noFill/>
            <a:miter lim="800000"/>
          </a:ln>
        </p:spPr>
        <p:txBody>
          <a:bodyPr vert="horz" wrap="square" lIns="0" tIns="0" rIns="0" bIns="0" rtlCol="0">
            <a:spAutoFit/>
          </a:bodyPr>
          <a:lstStyle>
            <a:defPPr>
              <a:defRPr lang="en-US"/>
            </a:defPPr>
            <a:lvl1pPr>
              <a:spcBef>
                <a:spcPts val="300"/>
              </a:spcBef>
              <a:spcAft>
                <a:spcPts val="300"/>
              </a:spcAft>
              <a:buNone/>
              <a:defRPr sz="800" b="1" cap="all" baseline="0"/>
            </a:lvl1pPr>
          </a:lstStyle>
          <a:p>
            <a:pPr lvl="0"/>
            <a:r>
              <a:rPr lang="en-US"/>
              <a:t>Preliminary; as of SEPTEMBER 9, 2021</a:t>
            </a:r>
          </a:p>
        </p:txBody>
      </p:sp>
      <p:grpSp>
        <p:nvGrpSpPr>
          <p:cNvPr id="73" name="Group 72">
            <a:extLst>
              <a:ext uri="{FF2B5EF4-FFF2-40B4-BE49-F238E27FC236}">
                <a16:creationId xmlns:a16="http://schemas.microsoft.com/office/drawing/2014/main" id="{6C8DEB84-F63B-457E-A7D1-D558E4B43B67}"/>
              </a:ext>
            </a:extLst>
          </p:cNvPr>
          <p:cNvGrpSpPr/>
          <p:nvPr/>
        </p:nvGrpSpPr>
        <p:grpSpPr>
          <a:xfrm>
            <a:off x="6299817" y="1350634"/>
            <a:ext cx="2046169" cy="215444"/>
            <a:chOff x="5937524" y="760716"/>
            <a:chExt cx="2046169" cy="215444"/>
          </a:xfrm>
        </p:grpSpPr>
        <p:sp>
          <p:nvSpPr>
            <p:cNvPr id="195" name="RectangleLegend1">
              <a:extLst>
                <a:ext uri="{FF2B5EF4-FFF2-40B4-BE49-F238E27FC236}">
                  <a16:creationId xmlns:a16="http://schemas.microsoft.com/office/drawing/2014/main" id="{DF798385-AAEE-4A1C-891D-A2A1C57EB245}"/>
                </a:ext>
              </a:extLst>
            </p:cNvPr>
            <p:cNvSpPr/>
            <p:nvPr/>
          </p:nvSpPr>
          <p:spPr>
            <a:xfrm>
              <a:off x="5937524" y="782074"/>
              <a:ext cx="172729" cy="172729"/>
            </a:xfrm>
            <a:prstGeom prst="rect">
              <a:avLst/>
            </a:prstGeom>
            <a:solidFill>
              <a:srgbClr val="FF0000"/>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00" name="Legend1">
              <a:extLst>
                <a:ext uri="{FF2B5EF4-FFF2-40B4-BE49-F238E27FC236}">
                  <a16:creationId xmlns:a16="http://schemas.microsoft.com/office/drawing/2014/main" id="{8534EEF6-0822-43B2-838C-F9FA72E4084E}"/>
                </a:ext>
              </a:extLst>
            </p:cNvPr>
            <p:cNvSpPr txBox="1"/>
            <p:nvPr/>
          </p:nvSpPr>
          <p:spPr>
            <a:xfrm>
              <a:off x="6263670" y="760716"/>
              <a:ext cx="1720023" cy="215444"/>
            </a:xfrm>
            <a:prstGeom prst="rect">
              <a:avLst/>
            </a:prstGeom>
            <a:noFill/>
            <a:ln>
              <a:noFill/>
              <a:miter lim="800000"/>
            </a:ln>
          </p:spPr>
          <p:txBody>
            <a:bodyPr wrap="none" lIns="0" tIns="0" rIns="0" bIns="0" rtlCol="0" anchor="ctr" anchorCtr="0">
              <a:spAutoFit/>
            </a:bodyPr>
            <a:lstStyle/>
            <a:p>
              <a:pPr>
                <a:spcAft>
                  <a:spcPts val="600"/>
                </a:spcAft>
              </a:pPr>
              <a:r>
                <a:rPr lang="en-US" sz="1400"/>
                <a:t>Immunocompromised</a:t>
              </a:r>
            </a:p>
          </p:txBody>
        </p:sp>
      </p:grpSp>
      <p:grpSp>
        <p:nvGrpSpPr>
          <p:cNvPr id="78" name="Group 77">
            <a:extLst>
              <a:ext uri="{FF2B5EF4-FFF2-40B4-BE49-F238E27FC236}">
                <a16:creationId xmlns:a16="http://schemas.microsoft.com/office/drawing/2014/main" id="{F7323682-F2B7-49B9-8CCF-E907C88CFBDA}"/>
              </a:ext>
            </a:extLst>
          </p:cNvPr>
          <p:cNvGrpSpPr/>
          <p:nvPr/>
        </p:nvGrpSpPr>
        <p:grpSpPr>
          <a:xfrm>
            <a:off x="8631692" y="1350634"/>
            <a:ext cx="629114" cy="215444"/>
            <a:chOff x="5937524" y="1140214"/>
            <a:chExt cx="629114" cy="215444"/>
          </a:xfrm>
        </p:grpSpPr>
        <p:sp>
          <p:nvSpPr>
            <p:cNvPr id="196" name="RectangleLegend2">
              <a:extLst>
                <a:ext uri="{FF2B5EF4-FFF2-40B4-BE49-F238E27FC236}">
                  <a16:creationId xmlns:a16="http://schemas.microsoft.com/office/drawing/2014/main" id="{11BBC4FA-4113-467F-80E3-D024830EFF26}"/>
                </a:ext>
              </a:extLst>
            </p:cNvPr>
            <p:cNvSpPr/>
            <p:nvPr/>
          </p:nvSpPr>
          <p:spPr>
            <a:xfrm>
              <a:off x="5937524" y="1161572"/>
              <a:ext cx="172729" cy="172729"/>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01" name="Legend2">
              <a:extLst>
                <a:ext uri="{FF2B5EF4-FFF2-40B4-BE49-F238E27FC236}">
                  <a16:creationId xmlns:a16="http://schemas.microsoft.com/office/drawing/2014/main" id="{F66628D3-55FB-450E-B1BB-448678067100}"/>
                </a:ext>
              </a:extLst>
            </p:cNvPr>
            <p:cNvSpPr txBox="1"/>
            <p:nvPr/>
          </p:nvSpPr>
          <p:spPr>
            <a:xfrm>
              <a:off x="6263670" y="1140214"/>
              <a:ext cx="302968" cy="215444"/>
            </a:xfrm>
            <a:prstGeom prst="rect">
              <a:avLst/>
            </a:prstGeom>
            <a:noFill/>
            <a:ln>
              <a:noFill/>
              <a:miter lim="800000"/>
            </a:ln>
          </p:spPr>
          <p:txBody>
            <a:bodyPr wrap="none" lIns="0" tIns="0" rIns="0" bIns="0" rtlCol="0" anchor="ctr" anchorCtr="0">
              <a:spAutoFit/>
            </a:bodyPr>
            <a:lstStyle/>
            <a:p>
              <a:pPr>
                <a:spcAft>
                  <a:spcPts val="600"/>
                </a:spcAft>
              </a:pPr>
              <a:r>
                <a:rPr lang="en-US" sz="1400"/>
                <a:t>65+</a:t>
              </a:r>
            </a:p>
          </p:txBody>
        </p:sp>
      </p:grpSp>
      <p:grpSp>
        <p:nvGrpSpPr>
          <p:cNvPr id="79" name="Group 78">
            <a:extLst>
              <a:ext uri="{FF2B5EF4-FFF2-40B4-BE49-F238E27FC236}">
                <a16:creationId xmlns:a16="http://schemas.microsoft.com/office/drawing/2014/main" id="{10D6DB69-9E7B-49FE-BFDA-3AEE67CABCFE}"/>
              </a:ext>
            </a:extLst>
          </p:cNvPr>
          <p:cNvGrpSpPr/>
          <p:nvPr/>
        </p:nvGrpSpPr>
        <p:grpSpPr>
          <a:xfrm>
            <a:off x="10609008" y="1350634"/>
            <a:ext cx="1061925" cy="215444"/>
            <a:chOff x="5937524" y="1519712"/>
            <a:chExt cx="1061925" cy="215444"/>
          </a:xfrm>
        </p:grpSpPr>
        <p:sp>
          <p:nvSpPr>
            <p:cNvPr id="197" name="RectangleLegend3">
              <a:extLst>
                <a:ext uri="{FF2B5EF4-FFF2-40B4-BE49-F238E27FC236}">
                  <a16:creationId xmlns:a16="http://schemas.microsoft.com/office/drawing/2014/main" id="{854F5957-2C5D-48CE-B221-C97075D2E526}"/>
                </a:ext>
              </a:extLst>
            </p:cNvPr>
            <p:cNvSpPr/>
            <p:nvPr/>
          </p:nvSpPr>
          <p:spPr>
            <a:xfrm>
              <a:off x="5937524" y="1535168"/>
              <a:ext cx="172729" cy="172729"/>
            </a:xfrm>
            <a:prstGeom prst="rect">
              <a:avLst/>
            </a:prstGeom>
            <a:solidFill>
              <a:schemeClr val="accent4"/>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02" name="Legend3">
              <a:extLst>
                <a:ext uri="{FF2B5EF4-FFF2-40B4-BE49-F238E27FC236}">
                  <a16:creationId xmlns:a16="http://schemas.microsoft.com/office/drawing/2014/main" id="{612B8313-1619-4D83-999A-D40750819B82}"/>
                </a:ext>
              </a:extLst>
            </p:cNvPr>
            <p:cNvSpPr txBox="1"/>
            <p:nvPr/>
          </p:nvSpPr>
          <p:spPr>
            <a:xfrm>
              <a:off x="6263670" y="1519712"/>
              <a:ext cx="735779" cy="215444"/>
            </a:xfrm>
            <a:prstGeom prst="rect">
              <a:avLst/>
            </a:prstGeom>
            <a:noFill/>
            <a:ln>
              <a:noFill/>
              <a:miter lim="800000"/>
            </a:ln>
          </p:spPr>
          <p:txBody>
            <a:bodyPr wrap="none" lIns="0" tIns="0" rIns="0" bIns="0" rtlCol="0" anchor="ctr" anchorCtr="0">
              <a:spAutoFit/>
            </a:bodyPr>
            <a:lstStyle/>
            <a:p>
              <a:pPr>
                <a:spcAft>
                  <a:spcPts val="600"/>
                </a:spcAft>
              </a:pPr>
              <a:r>
                <a:rPr lang="en-US" sz="1400"/>
                <a:t>Under 12</a:t>
              </a:r>
            </a:p>
          </p:txBody>
        </p:sp>
      </p:grpSp>
      <p:grpSp>
        <p:nvGrpSpPr>
          <p:cNvPr id="80" name="Group 79">
            <a:extLst>
              <a:ext uri="{FF2B5EF4-FFF2-40B4-BE49-F238E27FC236}">
                <a16:creationId xmlns:a16="http://schemas.microsoft.com/office/drawing/2014/main" id="{C59B5CD5-2D67-4114-AD78-4B40065DB0EF}"/>
              </a:ext>
            </a:extLst>
          </p:cNvPr>
          <p:cNvGrpSpPr/>
          <p:nvPr/>
        </p:nvGrpSpPr>
        <p:grpSpPr>
          <a:xfrm>
            <a:off x="9546512" y="1350634"/>
            <a:ext cx="783002" cy="215444"/>
            <a:chOff x="5937524" y="1891133"/>
            <a:chExt cx="783002" cy="215444"/>
          </a:xfrm>
        </p:grpSpPr>
        <p:sp>
          <p:nvSpPr>
            <p:cNvPr id="198" name="RectangleLegend4">
              <a:extLst>
                <a:ext uri="{FF2B5EF4-FFF2-40B4-BE49-F238E27FC236}">
                  <a16:creationId xmlns:a16="http://schemas.microsoft.com/office/drawing/2014/main" id="{2F33ABCC-B846-43E3-BF1E-348F82175655}"/>
                </a:ext>
              </a:extLst>
            </p:cNvPr>
            <p:cNvSpPr/>
            <p:nvPr/>
          </p:nvSpPr>
          <p:spPr>
            <a:xfrm>
              <a:off x="5937524" y="1908764"/>
              <a:ext cx="172729" cy="172729"/>
            </a:xfrm>
            <a:prstGeom prst="rect">
              <a:avLst/>
            </a:prstGeom>
            <a:solidFill>
              <a:schemeClr val="accent2"/>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a:solidFill>
                  <a:schemeClr val="tx1"/>
                </a:solidFill>
              </a:endParaRPr>
            </a:p>
          </p:txBody>
        </p:sp>
        <p:sp>
          <p:nvSpPr>
            <p:cNvPr id="203" name="Legend4">
              <a:extLst>
                <a:ext uri="{FF2B5EF4-FFF2-40B4-BE49-F238E27FC236}">
                  <a16:creationId xmlns:a16="http://schemas.microsoft.com/office/drawing/2014/main" id="{95AD1786-46EC-4D42-BF46-CC766D99F5E3}"/>
                </a:ext>
              </a:extLst>
            </p:cNvPr>
            <p:cNvSpPr txBox="1"/>
            <p:nvPr/>
          </p:nvSpPr>
          <p:spPr>
            <a:xfrm>
              <a:off x="6263670" y="1891133"/>
              <a:ext cx="456856" cy="215444"/>
            </a:xfrm>
            <a:prstGeom prst="rect">
              <a:avLst/>
            </a:prstGeom>
            <a:noFill/>
            <a:ln>
              <a:noFill/>
              <a:miter lim="800000"/>
            </a:ln>
          </p:spPr>
          <p:txBody>
            <a:bodyPr wrap="none" lIns="0" tIns="0" rIns="0" bIns="0" rtlCol="0" anchor="ctr" anchorCtr="0">
              <a:spAutoFit/>
            </a:bodyPr>
            <a:lstStyle/>
            <a:p>
              <a:pPr>
                <a:spcAft>
                  <a:spcPts val="600"/>
                </a:spcAft>
              </a:pPr>
              <a:r>
                <a:rPr lang="en-US" sz="1400"/>
                <a:t>12-64</a:t>
              </a:r>
            </a:p>
          </p:txBody>
        </p:sp>
      </p:grpSp>
      <p:sp>
        <p:nvSpPr>
          <p:cNvPr id="70" name="ACET">
            <a:extLst>
              <a:ext uri="{FF2B5EF4-FFF2-40B4-BE49-F238E27FC236}">
                <a16:creationId xmlns:a16="http://schemas.microsoft.com/office/drawing/2014/main" id="{53CA32B8-8290-40F1-BD7E-924C6C9E66F0}"/>
              </a:ext>
            </a:extLst>
          </p:cNvPr>
          <p:cNvSpPr txBox="1">
            <a:spLocks/>
          </p:cNvSpPr>
          <p:nvPr>
            <p:custDataLst>
              <p:tags r:id="rId5"/>
            </p:custDataLst>
          </p:nvPr>
        </p:nvSpPr>
        <p:spPr>
          <a:xfrm>
            <a:off x="565447" y="4725817"/>
            <a:ext cx="1752303" cy="430887"/>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lvl="0" indent="0">
              <a:lnSpc>
                <a:spcPct val="100000"/>
              </a:lnSpc>
              <a:spcBef>
                <a:spcPts val="0"/>
              </a:spcBef>
              <a:spcAft>
                <a:spcPts val="600"/>
              </a:spcAft>
              <a:buFont typeface="Segoe UI" panose="020B0502040204020203" pitchFamily="34" charset="0"/>
              <a:buChar char="​"/>
              <a:defRPr sz="1600" b="1">
                <a:cs typeface="Arial" panose="020B0604020202020204" pitchFamily="34" charset="0"/>
              </a:defRPr>
            </a:lvl1pPr>
            <a:lvl2pPr marL="228600" lvl="1" indent="-225425">
              <a:lnSpc>
                <a:spcPct val="100000"/>
              </a:lnSpc>
              <a:spcBef>
                <a:spcPts val="0"/>
              </a:spcBef>
              <a:spcAft>
                <a:spcPts val="300"/>
              </a:spcAft>
              <a:buSzPct val="110000"/>
              <a:buFont typeface="Wingdings" panose="05000000000000000000" pitchFamily="2" charset="2"/>
              <a:buChar char=""/>
              <a:defRPr sz="1600"/>
            </a:lvl2pPr>
            <a:lvl3pPr marL="442913" lvl="2" indent="-214313">
              <a:lnSpc>
                <a:spcPct val="100000"/>
              </a:lnSpc>
              <a:spcBef>
                <a:spcPts val="0"/>
              </a:spcBef>
              <a:spcAft>
                <a:spcPts val="300"/>
              </a:spcAft>
              <a:buSzPct val="110000"/>
              <a:buFont typeface="Arial" panose="020B0604020202020204" pitchFamily="34" charset="0"/>
              <a:buChar char="‒"/>
              <a:defRPr sz="1600"/>
            </a:lvl3pPr>
            <a:lvl4pPr marL="598488" lvl="3" indent="-152400">
              <a:lnSpc>
                <a:spcPct val="100000"/>
              </a:lnSpc>
              <a:spcBef>
                <a:spcPts val="0"/>
              </a:spcBef>
              <a:spcAft>
                <a:spcPts val="300"/>
              </a:spcAft>
              <a:buFont typeface="Arial" panose="020B0604020202020204" pitchFamily="34" charset="0"/>
              <a:buChar char="•"/>
              <a:defRPr sz="1600"/>
            </a:lvl4pPr>
            <a:lvl5pPr marL="817563" lvl="4" indent="-147638">
              <a:lnSpc>
                <a:spcPct val="100000"/>
              </a:lnSpc>
              <a:spcBef>
                <a:spcPts val="0"/>
              </a:spcBef>
              <a:spcAft>
                <a:spcPts val="300"/>
              </a:spcAft>
              <a:buSzPct val="100000"/>
              <a:buFont typeface="Arial" panose="020B0604020202020204" pitchFamily="34" charset="0"/>
              <a:buChar char="̶"/>
              <a:defRPr sz="160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R="0" lvl="0" defTabSz="914400" rtl="0" eaLnBrk="1" fontAlgn="auto" latinLnBrk="0" hangingPunct="1">
              <a:lnSpc>
                <a:spcPct val="100000"/>
              </a:lnSpc>
              <a:spcBef>
                <a:spcPts val="0"/>
              </a:spcBef>
              <a:spcAft>
                <a:spcPts val="600"/>
              </a:spcAft>
              <a:buClrTx/>
              <a:buSzTx/>
              <a:buFont typeface="Segoe UI" panose="020B0502040204020203" pitchFamily="34" charset="0"/>
              <a:buChar char="​"/>
              <a:tabLst/>
              <a:defRPr/>
            </a:pPr>
            <a:r>
              <a:rPr kumimoji="0" lang="en-US" sz="1400" strike="noStrike" kern="1200" spc="0" normalizeH="0" noProof="0">
                <a:ln>
                  <a:noFill/>
                </a:ln>
                <a:effectLst/>
                <a:uLnTx/>
                <a:uFillTx/>
              </a:rPr>
              <a:t>Timeline assumptions</a:t>
            </a:r>
            <a:r>
              <a:rPr kumimoji="0" lang="en-US" sz="1400" strike="noStrike" kern="1200" spc="0" normalizeH="0" baseline="30000" noProof="0">
                <a:ln>
                  <a:noFill/>
                </a:ln>
                <a:effectLst/>
                <a:uLnTx/>
                <a:uFillTx/>
              </a:rPr>
              <a:t>1,4,5</a:t>
            </a:r>
            <a:r>
              <a:rPr kumimoji="0" lang="en-US" sz="1400" strike="noStrike" kern="1200" spc="0" normalizeH="0" noProof="0">
                <a:ln>
                  <a:noFill/>
                </a:ln>
                <a:effectLst/>
                <a:uLnTx/>
                <a:uFillTx/>
              </a:rPr>
              <a:t> </a:t>
            </a:r>
          </a:p>
        </p:txBody>
      </p:sp>
      <p:grpSp>
        <p:nvGrpSpPr>
          <p:cNvPr id="77" name="Group 76">
            <a:extLst>
              <a:ext uri="{FF2B5EF4-FFF2-40B4-BE49-F238E27FC236}">
                <a16:creationId xmlns:a16="http://schemas.microsoft.com/office/drawing/2014/main" id="{7F94F9F0-054A-465E-9C35-C2D640EC4ABF}"/>
              </a:ext>
            </a:extLst>
          </p:cNvPr>
          <p:cNvGrpSpPr/>
          <p:nvPr/>
        </p:nvGrpSpPr>
        <p:grpSpPr>
          <a:xfrm>
            <a:off x="2089707" y="4685929"/>
            <a:ext cx="3416898" cy="334710"/>
            <a:chOff x="8024597" y="4953064"/>
            <a:chExt cx="3416898" cy="334710"/>
          </a:xfrm>
        </p:grpSpPr>
        <p:sp>
          <p:nvSpPr>
            <p:cNvPr id="81" name="TextBox 80">
              <a:extLst>
                <a:ext uri="{FF2B5EF4-FFF2-40B4-BE49-F238E27FC236}">
                  <a16:creationId xmlns:a16="http://schemas.microsoft.com/office/drawing/2014/main" id="{DF234A5A-DF68-41FA-BCD0-0E17FA2F1E90}"/>
                </a:ext>
              </a:extLst>
            </p:cNvPr>
            <p:cNvSpPr txBox="1"/>
            <p:nvPr/>
          </p:nvSpPr>
          <p:spPr>
            <a:xfrm>
              <a:off x="8357972" y="4979997"/>
              <a:ext cx="3083523"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t>Immunocompromised population eligible to receive boosters</a:t>
              </a:r>
              <a:r>
                <a:rPr lang="en-US" sz="1000" b="1" baseline="30000">
                  <a:solidFill>
                    <a:srgbClr val="000000"/>
                  </a:solidFill>
                </a:rPr>
                <a:t>4</a:t>
              </a:r>
              <a:endParaRPr lang="en-US" sz="1000" b="1"/>
            </a:p>
          </p:txBody>
        </p:sp>
        <p:sp>
          <p:nvSpPr>
            <p:cNvPr id="84" name="TrackerNumBlue 53">
              <a:extLst>
                <a:ext uri="{FF2B5EF4-FFF2-40B4-BE49-F238E27FC236}">
                  <a16:creationId xmlns:a16="http://schemas.microsoft.com/office/drawing/2014/main" id="{7CDE135C-B5E8-4F55-8BD1-EE7313905910}"/>
                </a:ext>
              </a:extLst>
            </p:cNvPr>
            <p:cNvSpPr>
              <a:spLocks/>
            </p:cNvSpPr>
            <p:nvPr>
              <p:custDataLst>
                <p:tags r:id="rId46"/>
              </p:custDataLst>
            </p:nvPr>
          </p:nvSpPr>
          <p:spPr>
            <a:xfrm>
              <a:off x="8024597" y="4953064"/>
              <a:ext cx="279340" cy="279340"/>
            </a:xfrm>
            <a:prstGeom prst="ellipse">
              <a:avLst/>
            </a:prstGeom>
            <a:solidFill>
              <a:schemeClr val="bg2">
                <a:lumMod val="85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1</a:t>
              </a:r>
            </a:p>
          </p:txBody>
        </p:sp>
      </p:grpSp>
      <p:sp>
        <p:nvSpPr>
          <p:cNvPr id="86" name="TextBox 85">
            <a:extLst>
              <a:ext uri="{FF2B5EF4-FFF2-40B4-BE49-F238E27FC236}">
                <a16:creationId xmlns:a16="http://schemas.microsoft.com/office/drawing/2014/main" id="{38BF6E10-84C4-43FC-AD1A-C72ED6918828}"/>
              </a:ext>
            </a:extLst>
          </p:cNvPr>
          <p:cNvSpPr txBox="1">
            <a:spLocks/>
          </p:cNvSpPr>
          <p:nvPr/>
        </p:nvSpPr>
        <p:spPr>
          <a:xfrm>
            <a:off x="9231570" y="4732109"/>
            <a:ext cx="2970528" cy="461665"/>
          </a:xfrm>
          <a:prstGeom prst="rect">
            <a:avLst/>
          </a:prstGeom>
        </p:spPr>
        <p:txBody>
          <a:bodyPr vert="horz" wrap="square" lIns="0" tIns="0" rIns="0" bIns="0" rtlCol="0">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b="1"/>
              <a:t>5-11 age group eligible to receive vaccines</a:t>
            </a:r>
            <a:r>
              <a:rPr lang="en-US" sz="1000" b="1" baseline="30000">
                <a:solidFill>
                  <a:srgbClr val="000000"/>
                </a:solidFill>
              </a:rPr>
              <a:t>4</a:t>
            </a:r>
            <a:endParaRPr lang="en-US" sz="1000" b="1"/>
          </a:p>
        </p:txBody>
      </p:sp>
      <p:sp>
        <p:nvSpPr>
          <p:cNvPr id="87" name="TrackerNumBlue 53">
            <a:extLst>
              <a:ext uri="{FF2B5EF4-FFF2-40B4-BE49-F238E27FC236}">
                <a16:creationId xmlns:a16="http://schemas.microsoft.com/office/drawing/2014/main" id="{E56D0D9E-EC8C-4EEC-BBEF-ED44E1F9A637}"/>
              </a:ext>
            </a:extLst>
          </p:cNvPr>
          <p:cNvSpPr/>
          <p:nvPr>
            <p:custDataLst>
              <p:tags r:id="rId6"/>
            </p:custDataLst>
          </p:nvPr>
        </p:nvSpPr>
        <p:spPr>
          <a:xfrm>
            <a:off x="5340417" y="4685929"/>
            <a:ext cx="279340" cy="279340"/>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2</a:t>
            </a:r>
          </a:p>
        </p:txBody>
      </p:sp>
      <p:grpSp>
        <p:nvGrpSpPr>
          <p:cNvPr id="88" name="Group 87">
            <a:extLst>
              <a:ext uri="{FF2B5EF4-FFF2-40B4-BE49-F238E27FC236}">
                <a16:creationId xmlns:a16="http://schemas.microsoft.com/office/drawing/2014/main" id="{6E7E32E2-E10C-4603-BCB8-8195580F7B5B}"/>
              </a:ext>
            </a:extLst>
          </p:cNvPr>
          <p:cNvGrpSpPr/>
          <p:nvPr/>
        </p:nvGrpSpPr>
        <p:grpSpPr>
          <a:xfrm>
            <a:off x="2094346" y="5399197"/>
            <a:ext cx="3130550" cy="340183"/>
            <a:chOff x="7001300" y="4953064"/>
            <a:chExt cx="3130550" cy="340183"/>
          </a:xfrm>
        </p:grpSpPr>
        <p:sp>
          <p:nvSpPr>
            <p:cNvPr id="89" name="TextBox 88">
              <a:extLst>
                <a:ext uri="{FF2B5EF4-FFF2-40B4-BE49-F238E27FC236}">
                  <a16:creationId xmlns:a16="http://schemas.microsoft.com/office/drawing/2014/main" id="{73DABA09-D624-4E5A-9EEC-4C73DA29F052}"/>
                </a:ext>
              </a:extLst>
            </p:cNvPr>
            <p:cNvSpPr txBox="1"/>
            <p:nvPr/>
          </p:nvSpPr>
          <p:spPr>
            <a:xfrm>
              <a:off x="7334675" y="4985470"/>
              <a:ext cx="2797175"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b="1"/>
                <a:t>Booster vaccinations for 16-64 age group begins to rapidly scale</a:t>
              </a:r>
            </a:p>
          </p:txBody>
        </p:sp>
        <p:sp>
          <p:nvSpPr>
            <p:cNvPr id="91" name="TrackerNumBlue 53">
              <a:extLst>
                <a:ext uri="{FF2B5EF4-FFF2-40B4-BE49-F238E27FC236}">
                  <a16:creationId xmlns:a16="http://schemas.microsoft.com/office/drawing/2014/main" id="{F1EA6BD8-3FEA-43D5-99B3-01F5DB1715FE}"/>
                </a:ext>
              </a:extLst>
            </p:cNvPr>
            <p:cNvSpPr/>
            <p:nvPr>
              <p:custDataLst>
                <p:tags r:id="rId45"/>
              </p:custDataLst>
            </p:nvPr>
          </p:nvSpPr>
          <p:spPr>
            <a:xfrm>
              <a:off x="7001300" y="4953064"/>
              <a:ext cx="279340" cy="279340"/>
            </a:xfrm>
            <a:prstGeom prst="ellipse">
              <a:avLst/>
            </a:prstGeom>
            <a:solidFill>
              <a:schemeClr val="bg2">
                <a:lumMod val="85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4</a:t>
              </a:r>
            </a:p>
          </p:txBody>
        </p:sp>
      </p:grpSp>
      <p:grpSp>
        <p:nvGrpSpPr>
          <p:cNvPr id="92" name="Group 91">
            <a:extLst>
              <a:ext uri="{FF2B5EF4-FFF2-40B4-BE49-F238E27FC236}">
                <a16:creationId xmlns:a16="http://schemas.microsoft.com/office/drawing/2014/main" id="{5328F45F-3ED3-42CF-8E69-8EF50FA70B97}"/>
              </a:ext>
            </a:extLst>
          </p:cNvPr>
          <p:cNvGrpSpPr/>
          <p:nvPr/>
        </p:nvGrpSpPr>
        <p:grpSpPr>
          <a:xfrm>
            <a:off x="5341405" y="5399197"/>
            <a:ext cx="3004581" cy="279340"/>
            <a:chOff x="8024596" y="5387434"/>
            <a:chExt cx="3004581" cy="279340"/>
          </a:xfrm>
        </p:grpSpPr>
        <p:sp>
          <p:nvSpPr>
            <p:cNvPr id="93" name="TextBox 92">
              <a:extLst>
                <a:ext uri="{FF2B5EF4-FFF2-40B4-BE49-F238E27FC236}">
                  <a16:creationId xmlns:a16="http://schemas.microsoft.com/office/drawing/2014/main" id="{61633869-FE80-493A-8DFA-BEF15061F341}"/>
                </a:ext>
              </a:extLst>
            </p:cNvPr>
            <p:cNvSpPr txBox="1"/>
            <p:nvPr/>
          </p:nvSpPr>
          <p:spPr>
            <a:xfrm>
              <a:off x="8357972" y="5442850"/>
              <a:ext cx="2671205" cy="153888"/>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None/>
              </a:pPr>
              <a:r>
                <a:rPr lang="en-US" sz="1000" b="1"/>
                <a:t>0-4  age group eligible to receive vaccines</a:t>
              </a:r>
              <a:r>
                <a:rPr lang="en-US" sz="1000" b="1" baseline="30000">
                  <a:solidFill>
                    <a:srgbClr val="000000"/>
                  </a:solidFill>
                </a:rPr>
                <a:t>4</a:t>
              </a:r>
              <a:endParaRPr lang="en-US" sz="1000" b="1"/>
            </a:p>
          </p:txBody>
        </p:sp>
        <p:sp>
          <p:nvSpPr>
            <p:cNvPr id="94" name="TrackerNumBlue 53">
              <a:extLst>
                <a:ext uri="{FF2B5EF4-FFF2-40B4-BE49-F238E27FC236}">
                  <a16:creationId xmlns:a16="http://schemas.microsoft.com/office/drawing/2014/main" id="{29D2D9E5-1C98-4596-9058-9C2F16C8259D}"/>
                </a:ext>
              </a:extLst>
            </p:cNvPr>
            <p:cNvSpPr>
              <a:spLocks/>
            </p:cNvSpPr>
            <p:nvPr>
              <p:custDataLst>
                <p:tags r:id="rId44"/>
              </p:custDataLst>
            </p:nvPr>
          </p:nvSpPr>
          <p:spPr>
            <a:xfrm>
              <a:off x="8024596" y="5387434"/>
              <a:ext cx="279340" cy="279340"/>
            </a:xfrm>
            <a:prstGeom prst="ellipse">
              <a:avLst/>
            </a:prstGeom>
            <a:solidFill>
              <a:schemeClr val="bg2">
                <a:lumMod val="85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5</a:t>
              </a:r>
            </a:p>
          </p:txBody>
        </p:sp>
      </p:grpSp>
      <p:sp>
        <p:nvSpPr>
          <p:cNvPr id="95" name="TextBox 94">
            <a:extLst>
              <a:ext uri="{FF2B5EF4-FFF2-40B4-BE49-F238E27FC236}">
                <a16:creationId xmlns:a16="http://schemas.microsoft.com/office/drawing/2014/main" id="{40F3BED9-6A23-43D5-A68A-BD20E015AD22}"/>
              </a:ext>
            </a:extLst>
          </p:cNvPr>
          <p:cNvSpPr txBox="1"/>
          <p:nvPr/>
        </p:nvSpPr>
        <p:spPr>
          <a:xfrm>
            <a:off x="5673793" y="4685929"/>
            <a:ext cx="2691188" cy="615553"/>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t>Booster approved for all age groups 6 months after full vaccination (Pfizer on Sept 20, </a:t>
            </a:r>
            <a:r>
              <a:rPr lang="en-US" sz="1000" b="1" err="1"/>
              <a:t>Moderna</a:t>
            </a:r>
            <a:r>
              <a:rPr lang="en-US" sz="1000" b="1"/>
              <a:t> on Oct 4); accumulated demand met within 2 weeks</a:t>
            </a:r>
            <a:r>
              <a:rPr lang="en-US" sz="1000" b="1" baseline="30000">
                <a:solidFill>
                  <a:srgbClr val="000000"/>
                </a:solidFill>
              </a:rPr>
              <a:t>4</a:t>
            </a:r>
            <a:endParaRPr lang="en-US" sz="1000" b="1"/>
          </a:p>
        </p:txBody>
      </p:sp>
      <p:sp>
        <p:nvSpPr>
          <p:cNvPr id="96" name="TrackerNumBlue 53">
            <a:extLst>
              <a:ext uri="{FF2B5EF4-FFF2-40B4-BE49-F238E27FC236}">
                <a16:creationId xmlns:a16="http://schemas.microsoft.com/office/drawing/2014/main" id="{EC00DD22-B5AB-4F85-8765-9A5DF54C520A}"/>
              </a:ext>
            </a:extLst>
          </p:cNvPr>
          <p:cNvSpPr/>
          <p:nvPr>
            <p:custDataLst>
              <p:tags r:id="rId7"/>
            </p:custDataLst>
          </p:nvPr>
        </p:nvSpPr>
        <p:spPr>
          <a:xfrm>
            <a:off x="8898194" y="4685929"/>
            <a:ext cx="279340" cy="279340"/>
          </a:xfrm>
          <a:prstGeom prst="ellipse">
            <a:avLst/>
          </a:prstGeom>
          <a:solidFill>
            <a:schemeClr val="tx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3</a:t>
            </a:r>
          </a:p>
        </p:txBody>
      </p:sp>
      <p:grpSp>
        <p:nvGrpSpPr>
          <p:cNvPr id="97" name="Group 96">
            <a:extLst>
              <a:ext uri="{FF2B5EF4-FFF2-40B4-BE49-F238E27FC236}">
                <a16:creationId xmlns:a16="http://schemas.microsoft.com/office/drawing/2014/main" id="{10531E6B-6122-493E-8E1F-65B6ACB0147E}"/>
              </a:ext>
            </a:extLst>
          </p:cNvPr>
          <p:cNvGrpSpPr/>
          <p:nvPr/>
        </p:nvGrpSpPr>
        <p:grpSpPr>
          <a:xfrm>
            <a:off x="8898194" y="5399197"/>
            <a:ext cx="3004581" cy="307777"/>
            <a:chOff x="8024596" y="5387434"/>
            <a:chExt cx="3004581" cy="307777"/>
          </a:xfrm>
        </p:grpSpPr>
        <p:sp>
          <p:nvSpPr>
            <p:cNvPr id="98" name="TextBox 97">
              <a:extLst>
                <a:ext uri="{FF2B5EF4-FFF2-40B4-BE49-F238E27FC236}">
                  <a16:creationId xmlns:a16="http://schemas.microsoft.com/office/drawing/2014/main" id="{3D566217-2449-4393-B15B-94E6F73B9BB9}"/>
                </a:ext>
              </a:extLst>
            </p:cNvPr>
            <p:cNvSpPr txBox="1"/>
            <p:nvPr/>
          </p:nvSpPr>
          <p:spPr>
            <a:xfrm>
              <a:off x="8357972" y="5387434"/>
              <a:ext cx="2671205" cy="307777"/>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000" b="1"/>
                <a:t>First members of under 12 population become eligible to receive boosters</a:t>
              </a:r>
              <a:r>
                <a:rPr lang="en-US" sz="1000" b="1" baseline="30000">
                  <a:solidFill>
                    <a:srgbClr val="000000"/>
                  </a:solidFill>
                </a:rPr>
                <a:t>4</a:t>
              </a:r>
              <a:endParaRPr lang="en-US" sz="1000" b="1"/>
            </a:p>
          </p:txBody>
        </p:sp>
        <p:sp>
          <p:nvSpPr>
            <p:cNvPr id="99" name="TrackerNumBlue 53">
              <a:extLst>
                <a:ext uri="{FF2B5EF4-FFF2-40B4-BE49-F238E27FC236}">
                  <a16:creationId xmlns:a16="http://schemas.microsoft.com/office/drawing/2014/main" id="{02E36B38-0AEB-46E6-A16E-610F3B03A856}"/>
                </a:ext>
              </a:extLst>
            </p:cNvPr>
            <p:cNvSpPr>
              <a:spLocks/>
            </p:cNvSpPr>
            <p:nvPr>
              <p:custDataLst>
                <p:tags r:id="rId43"/>
              </p:custDataLst>
            </p:nvPr>
          </p:nvSpPr>
          <p:spPr>
            <a:xfrm>
              <a:off x="8024596" y="5387434"/>
              <a:ext cx="279340" cy="279340"/>
            </a:xfrm>
            <a:prstGeom prst="ellipse">
              <a:avLst/>
            </a:prstGeom>
            <a:solidFill>
              <a:schemeClr val="bg2">
                <a:lumMod val="85000"/>
              </a:schemeClr>
            </a:solidFill>
            <a:ln w="6350" cap="sq" cmpd="sng" algn="ctr">
              <a:noFill/>
              <a:prstDash val="solid"/>
              <a:miter lim="800000"/>
            </a:ln>
            <a:effectLst/>
            <a:extLst>
              <a:ext uri="{91240B29-F687-4F45-9708-019B960494DF}">
                <a14:hiddenLine xmlns:a14="http://schemas.microsoft.com/office/drawing/2010/main" w="6350" cap="sq" cmpd="sng" algn="ctr">
                  <a:solidFill>
                    <a:schemeClr val="accent1"/>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6</a:t>
              </a:r>
            </a:p>
          </p:txBody>
        </p:sp>
      </p:grpSp>
      <p:graphicFrame>
        <p:nvGraphicFramePr>
          <p:cNvPr id="119" name="Chart 118">
            <a:extLst>
              <a:ext uri="{FF2B5EF4-FFF2-40B4-BE49-F238E27FC236}">
                <a16:creationId xmlns:a16="http://schemas.microsoft.com/office/drawing/2014/main" id="{14DA26DD-306D-4D14-BAD1-936704978B4E}"/>
              </a:ext>
            </a:extLst>
          </p:cNvPr>
          <p:cNvGraphicFramePr/>
          <p:nvPr>
            <p:custDataLst>
              <p:tags r:id="rId8"/>
            </p:custDataLst>
          </p:nvPr>
        </p:nvGraphicFramePr>
        <p:xfrm>
          <a:off x="838200" y="2011363"/>
          <a:ext cx="10629900" cy="2089150"/>
        </p:xfrm>
        <a:graphic>
          <a:graphicData uri="http://schemas.openxmlformats.org/drawingml/2006/chart">
            <c:chart xmlns:c="http://schemas.openxmlformats.org/drawingml/2006/chart" xmlns:r="http://schemas.openxmlformats.org/officeDocument/2006/relationships" r:id="rId51"/>
          </a:graphicData>
        </a:graphic>
      </p:graphicFrame>
      <p:sp>
        <p:nvSpPr>
          <p:cNvPr id="140" name="Text Placeholder 4">
            <a:extLst>
              <a:ext uri="{FF2B5EF4-FFF2-40B4-BE49-F238E27FC236}">
                <a16:creationId xmlns:a16="http://schemas.microsoft.com/office/drawing/2014/main" id="{6A42610D-9230-4575-A560-8EF5B7C3E6C8}"/>
              </a:ext>
            </a:extLst>
          </p:cNvPr>
          <p:cNvSpPr>
            <a:spLocks noGrp="1"/>
          </p:cNvSpPr>
          <p:nvPr>
            <p:custDataLst>
              <p:tags r:id="rId9"/>
            </p:custDataLst>
          </p:nvPr>
        </p:nvSpPr>
        <p:spPr bwMode="gray">
          <a:xfrm>
            <a:off x="765175" y="3941763"/>
            <a:ext cx="698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r">
              <a:spcBef>
                <a:spcPct val="0"/>
              </a:spcBef>
              <a:spcAft>
                <a:spcPct val="0"/>
              </a:spcAft>
              <a:buClr>
                <a:srgbClr val="000000"/>
              </a:buClr>
              <a:defRPr/>
            </a:pPr>
            <a:fld id="{E5C36DC1-9F1A-4C1C-B964-C7AAE7129AEA}" type="datetime'''''''''''''''''''''''0'''''''''''''''''''''''">
              <a:rPr lang="en-US" altLang="en-US" sz="1000" smtClean="0">
                <a:solidFill>
                  <a:srgbClr val="000000"/>
                </a:solidFill>
                <a:cs typeface="+mn-cs"/>
              </a:rPr>
              <a:pPr lvl="0" algn="r">
                <a:spcBef>
                  <a:spcPct val="0"/>
                </a:spcBef>
                <a:spcAft>
                  <a:spcPct val="0"/>
                </a:spcAft>
                <a:buClr>
                  <a:srgbClr val="000000"/>
                </a:buClr>
                <a:defRPr/>
              </a:pPr>
              <a:t>0</a:t>
            </a:fld>
            <a:endParaRPr kumimoji="0" lang="en-US" sz="1000" b="0" i="0" strike="noStrike" kern="1200" cap="none" spc="0" normalizeH="0" baseline="0" noProof="0">
              <a:ln>
                <a:noFill/>
              </a:ln>
              <a:solidFill>
                <a:srgbClr val="000000"/>
              </a:solidFill>
              <a:effectLst/>
              <a:uLnTx/>
              <a:uFillTx/>
              <a:cs typeface="+mn-cs"/>
            </a:endParaRPr>
          </a:p>
        </p:txBody>
      </p:sp>
      <p:sp>
        <p:nvSpPr>
          <p:cNvPr id="146" name="Text Placeholder 4">
            <a:extLst>
              <a:ext uri="{FF2B5EF4-FFF2-40B4-BE49-F238E27FC236}">
                <a16:creationId xmlns:a16="http://schemas.microsoft.com/office/drawing/2014/main" id="{7A471181-3786-4744-B511-F1FCB73D833D}"/>
              </a:ext>
            </a:extLst>
          </p:cNvPr>
          <p:cNvSpPr>
            <a:spLocks noGrp="1"/>
          </p:cNvSpPr>
          <p:nvPr>
            <p:custDataLst>
              <p:tags r:id="rId10"/>
            </p:custDataLst>
          </p:nvPr>
        </p:nvSpPr>
        <p:spPr bwMode="gray">
          <a:xfrm>
            <a:off x="660400" y="34607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4AC9A308-F271-4E68-ACFD-1AB2A8D1D9CE}" type="datetime'0''''''''''''''''''.''2'''''''''">
              <a:rPr lang="en-US" altLang="en-US" sz="1000" smtClean="0">
                <a:solidFill>
                  <a:srgbClr val="000000"/>
                </a:solidFill>
                <a:cs typeface="+mn-cs"/>
              </a:rPr>
              <a:pPr algn="r">
                <a:spcBef>
                  <a:spcPct val="0"/>
                </a:spcBef>
                <a:spcAft>
                  <a:spcPct val="0"/>
                </a:spcAft>
              </a:pPr>
              <a:t>0.2</a:t>
            </a:fld>
            <a:endParaRPr lang="en-US" sz="1000">
              <a:solidFill>
                <a:srgbClr val="000000"/>
              </a:solidFill>
              <a:cs typeface="+mn-cs"/>
            </a:endParaRPr>
          </a:p>
        </p:txBody>
      </p:sp>
      <p:sp>
        <p:nvSpPr>
          <p:cNvPr id="148" name="Text Placeholder 4">
            <a:extLst>
              <a:ext uri="{FF2B5EF4-FFF2-40B4-BE49-F238E27FC236}">
                <a16:creationId xmlns:a16="http://schemas.microsoft.com/office/drawing/2014/main" id="{CEE000AC-15D4-4770-A9EF-0A0534DE3600}"/>
              </a:ext>
            </a:extLst>
          </p:cNvPr>
          <p:cNvSpPr>
            <a:spLocks noGrp="1"/>
          </p:cNvSpPr>
          <p:nvPr>
            <p:custDataLst>
              <p:tags r:id="rId11"/>
            </p:custDataLst>
          </p:nvPr>
        </p:nvSpPr>
        <p:spPr bwMode="gray">
          <a:xfrm>
            <a:off x="660400" y="29797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D2955EF-17EE-4D12-BADA-4789B813545F}" type="datetime'''''0''''''''''''''''.''''''''''''''''4'''">
              <a:rPr lang="en-US" altLang="en-US" sz="1000" smtClean="0">
                <a:solidFill>
                  <a:srgbClr val="000000"/>
                </a:solidFill>
                <a:cs typeface="+mn-cs"/>
              </a:rPr>
              <a:pPr algn="r">
                <a:spcBef>
                  <a:spcPct val="0"/>
                </a:spcBef>
                <a:spcAft>
                  <a:spcPct val="0"/>
                </a:spcAft>
              </a:pPr>
              <a:t>0.4</a:t>
            </a:fld>
            <a:endParaRPr lang="en-US" sz="1000">
              <a:solidFill>
                <a:srgbClr val="000000"/>
              </a:solidFill>
              <a:cs typeface="+mn-cs"/>
            </a:endParaRPr>
          </a:p>
        </p:txBody>
      </p:sp>
      <p:sp>
        <p:nvSpPr>
          <p:cNvPr id="82" name="Text Placeholder 4">
            <a:extLst>
              <a:ext uri="{FF2B5EF4-FFF2-40B4-BE49-F238E27FC236}">
                <a16:creationId xmlns:a16="http://schemas.microsoft.com/office/drawing/2014/main" id="{4C1F3293-4EFE-461D-940D-7EE66BAE31C5}"/>
              </a:ext>
            </a:extLst>
          </p:cNvPr>
          <p:cNvSpPr>
            <a:spLocks noGrp="1"/>
          </p:cNvSpPr>
          <p:nvPr>
            <p:custDataLst>
              <p:tags r:id="rId12"/>
            </p:custDataLst>
          </p:nvPr>
        </p:nvSpPr>
        <p:spPr bwMode="gray">
          <a:xfrm>
            <a:off x="660400" y="24987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F09F169E-608C-4B75-83F9-34EC94561521}" type="datetime'''''''''''''''''0''''''''''''''''''''''''.''6'''''''''''''''''">
              <a:rPr lang="en-US" altLang="en-US" sz="1000" smtClean="0">
                <a:solidFill>
                  <a:srgbClr val="000000"/>
                </a:solidFill>
                <a:effectLst/>
                <a:cs typeface="+mn-cs"/>
              </a:rPr>
              <a:pPr algn="r">
                <a:spcBef>
                  <a:spcPct val="0"/>
                </a:spcBef>
                <a:spcAft>
                  <a:spcPct val="0"/>
                </a:spcAft>
              </a:pPr>
              <a:t>0.6</a:t>
            </a:fld>
            <a:endParaRPr lang="en-US" sz="1000">
              <a:solidFill>
                <a:srgbClr val="000000"/>
              </a:solidFill>
              <a:cs typeface="+mn-cs"/>
            </a:endParaRPr>
          </a:p>
        </p:txBody>
      </p:sp>
      <p:sp>
        <p:nvSpPr>
          <p:cNvPr id="100" name="Text Placeholder 4">
            <a:extLst>
              <a:ext uri="{FF2B5EF4-FFF2-40B4-BE49-F238E27FC236}">
                <a16:creationId xmlns:a16="http://schemas.microsoft.com/office/drawing/2014/main" id="{4C1F3293-4EFE-461D-940D-7EE66BAE31C5}"/>
              </a:ext>
            </a:extLst>
          </p:cNvPr>
          <p:cNvSpPr>
            <a:spLocks noGrp="1"/>
          </p:cNvSpPr>
          <p:nvPr>
            <p:custDataLst>
              <p:tags r:id="rId13"/>
            </p:custDataLst>
          </p:nvPr>
        </p:nvSpPr>
        <p:spPr bwMode="gray">
          <a:xfrm>
            <a:off x="660400" y="20177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516238CB-5E2E-46AA-A251-4A00E4EC736A}" type="datetime'''''''''''''''''''''''''''''''0''''''''''''.''''''''''''8'''">
              <a:rPr lang="en-US" altLang="en-US" sz="1000" smtClean="0">
                <a:solidFill>
                  <a:srgbClr val="000000"/>
                </a:solidFill>
                <a:effectLst/>
                <a:cs typeface="+mn-cs"/>
              </a:rPr>
              <a:pPr algn="r">
                <a:spcBef>
                  <a:spcPct val="0"/>
                </a:spcBef>
                <a:spcAft>
                  <a:spcPct val="0"/>
                </a:spcAft>
              </a:pPr>
              <a:t>0.8</a:t>
            </a:fld>
            <a:endParaRPr lang="en-US" sz="1000">
              <a:solidFill>
                <a:srgbClr val="000000"/>
              </a:solidFill>
              <a:cs typeface="+mn-cs"/>
            </a:endParaRPr>
          </a:p>
        </p:txBody>
      </p:sp>
      <p:sp>
        <p:nvSpPr>
          <p:cNvPr id="107" name="Text Placeholder 4">
            <a:extLst>
              <a:ext uri="{FF2B5EF4-FFF2-40B4-BE49-F238E27FC236}">
                <a16:creationId xmlns:a16="http://schemas.microsoft.com/office/drawing/2014/main" id="{4C1F3293-4EFE-461D-940D-7EE66BAE31C5}"/>
              </a:ext>
            </a:extLst>
          </p:cNvPr>
          <p:cNvSpPr>
            <a:spLocks noGrp="1"/>
          </p:cNvSpPr>
          <p:nvPr>
            <p:custDataLst>
              <p:tags r:id="rId14"/>
            </p:custDataLst>
          </p:nvPr>
        </p:nvSpPr>
        <p:spPr bwMode="gray">
          <a:xfrm>
            <a:off x="660400" y="3702050"/>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AB593945-236C-43F8-9CF6-D18248D71464}" type="datetime'0''''''''''''''''''''.''''''''1'''''''''''''''''''">
              <a:rPr lang="en-US" altLang="en-US" sz="1000" smtClean="0">
                <a:solidFill>
                  <a:srgbClr val="000000"/>
                </a:solidFill>
                <a:effectLst/>
                <a:cs typeface="+mn-cs"/>
              </a:rPr>
              <a:pPr algn="r">
                <a:spcBef>
                  <a:spcPct val="0"/>
                </a:spcBef>
                <a:spcAft>
                  <a:spcPct val="0"/>
                </a:spcAft>
              </a:pPr>
              <a:t>0.1</a:t>
            </a:fld>
            <a:endParaRPr lang="en-US" sz="1000">
              <a:solidFill>
                <a:srgbClr val="000000"/>
              </a:solidFill>
              <a:cs typeface="+mn-cs"/>
            </a:endParaRPr>
          </a:p>
        </p:txBody>
      </p:sp>
      <p:sp>
        <p:nvSpPr>
          <p:cNvPr id="115" name="Text Placeholder 4">
            <a:extLst>
              <a:ext uri="{FF2B5EF4-FFF2-40B4-BE49-F238E27FC236}">
                <a16:creationId xmlns:a16="http://schemas.microsoft.com/office/drawing/2014/main" id="{4C1F3293-4EFE-461D-940D-7EE66BAE31C5}"/>
              </a:ext>
            </a:extLst>
          </p:cNvPr>
          <p:cNvSpPr>
            <a:spLocks noGrp="1"/>
          </p:cNvSpPr>
          <p:nvPr>
            <p:custDataLst>
              <p:tags r:id="rId15"/>
            </p:custDataLst>
          </p:nvPr>
        </p:nvSpPr>
        <p:spPr bwMode="gray">
          <a:xfrm>
            <a:off x="660400" y="2259013"/>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0B34582C-C554-4A7C-9312-02A4BDCB7589}" type="datetime'''''''''''''''0''''''.''''7'''''''''">
              <a:rPr lang="en-US" altLang="en-US" sz="1000" smtClean="0">
                <a:solidFill>
                  <a:srgbClr val="000000"/>
                </a:solidFill>
                <a:effectLst/>
                <a:cs typeface="+mn-cs"/>
              </a:rPr>
              <a:pPr algn="r">
                <a:spcBef>
                  <a:spcPct val="0"/>
                </a:spcBef>
                <a:spcAft>
                  <a:spcPct val="0"/>
                </a:spcAft>
              </a:pPr>
              <a:t>0.7</a:t>
            </a:fld>
            <a:endParaRPr lang="en-US" sz="1000">
              <a:solidFill>
                <a:srgbClr val="000000"/>
              </a:solidFill>
              <a:cs typeface="+mn-cs"/>
            </a:endParaRPr>
          </a:p>
        </p:txBody>
      </p:sp>
      <p:sp>
        <p:nvSpPr>
          <p:cNvPr id="112" name="Text Placeholder 4">
            <a:extLst>
              <a:ext uri="{FF2B5EF4-FFF2-40B4-BE49-F238E27FC236}">
                <a16:creationId xmlns:a16="http://schemas.microsoft.com/office/drawing/2014/main" id="{4C1F3293-4EFE-461D-940D-7EE66BAE31C5}"/>
              </a:ext>
            </a:extLst>
          </p:cNvPr>
          <p:cNvSpPr>
            <a:spLocks noGrp="1"/>
          </p:cNvSpPr>
          <p:nvPr>
            <p:custDataLst>
              <p:tags r:id="rId16"/>
            </p:custDataLst>
          </p:nvPr>
        </p:nvSpPr>
        <p:spPr bwMode="gray">
          <a:xfrm>
            <a:off x="660400" y="3221038"/>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88D4166-833A-49C9-AED4-7093AD77EF9C}" type="datetime'''''''''''''''''''''0''''''''''''''.''''''''''''''3'">
              <a:rPr lang="en-US" altLang="en-US" sz="1000" smtClean="0">
                <a:solidFill>
                  <a:srgbClr val="000000"/>
                </a:solidFill>
                <a:effectLst/>
                <a:cs typeface="+mn-cs"/>
              </a:rPr>
              <a:pPr algn="r">
                <a:spcBef>
                  <a:spcPct val="0"/>
                </a:spcBef>
                <a:spcAft>
                  <a:spcPct val="0"/>
                </a:spcAft>
              </a:pPr>
              <a:t>0.3</a:t>
            </a:fld>
            <a:endParaRPr lang="en-US" sz="1000">
              <a:solidFill>
                <a:srgbClr val="000000"/>
              </a:solidFill>
              <a:cs typeface="+mn-cs"/>
            </a:endParaRPr>
          </a:p>
        </p:txBody>
      </p:sp>
      <p:sp>
        <p:nvSpPr>
          <p:cNvPr id="113" name="Text Placeholder 4">
            <a:extLst>
              <a:ext uri="{FF2B5EF4-FFF2-40B4-BE49-F238E27FC236}">
                <a16:creationId xmlns:a16="http://schemas.microsoft.com/office/drawing/2014/main" id="{4C1F3293-4EFE-461D-940D-7EE66BAE31C5}"/>
              </a:ext>
            </a:extLst>
          </p:cNvPr>
          <p:cNvSpPr>
            <a:spLocks noGrp="1"/>
          </p:cNvSpPr>
          <p:nvPr>
            <p:custDataLst>
              <p:tags r:id="rId17"/>
            </p:custDataLst>
          </p:nvPr>
        </p:nvSpPr>
        <p:spPr bwMode="gray">
          <a:xfrm>
            <a:off x="660400" y="27400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algn="r">
              <a:spcBef>
                <a:spcPct val="0"/>
              </a:spcBef>
              <a:spcAft>
                <a:spcPct val="0"/>
              </a:spcAft>
            </a:pPr>
            <a:fld id="{1186D310-FCDC-454A-A211-BFFFFE0CBB8B}" type="datetime'''''''''''0''''''''''''''''''''''''''''''''''''''.5'''''''">
              <a:rPr lang="en-US" altLang="en-US" sz="1000" smtClean="0">
                <a:solidFill>
                  <a:srgbClr val="000000"/>
                </a:solidFill>
                <a:effectLst/>
                <a:cs typeface="+mn-cs"/>
              </a:rPr>
              <a:pPr algn="r">
                <a:spcBef>
                  <a:spcPct val="0"/>
                </a:spcBef>
                <a:spcAft>
                  <a:spcPct val="0"/>
                </a:spcAft>
              </a:pPr>
              <a:t>0.5</a:t>
            </a:fld>
            <a:endParaRPr lang="en-US" sz="1000">
              <a:solidFill>
                <a:srgbClr val="000000"/>
              </a:solidFill>
              <a:cs typeface="+mn-cs"/>
            </a:endParaRPr>
          </a:p>
        </p:txBody>
      </p:sp>
      <p:cxnSp>
        <p:nvCxnSpPr>
          <p:cNvPr id="4" name="Straight Connector 3">
            <a:extLst>
              <a:ext uri="{FF2B5EF4-FFF2-40B4-BE49-F238E27FC236}">
                <a16:creationId xmlns:a16="http://schemas.microsoft.com/office/drawing/2014/main" id="{07D1C944-84B3-4350-A28A-FAABDE664BC3}"/>
              </a:ext>
            </a:extLst>
          </p:cNvPr>
          <p:cNvCxnSpPr/>
          <p:nvPr>
            <p:custDataLst>
              <p:tags r:id="rId18"/>
            </p:custDataLst>
          </p:nvPr>
        </p:nvCxnSpPr>
        <p:spPr bwMode="auto">
          <a:xfrm>
            <a:off x="920750" y="2574925"/>
            <a:ext cx="10464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BB294CC8-DD6D-424C-AF6C-B34A93445236}"/>
              </a:ext>
            </a:extLst>
          </p:cNvPr>
          <p:cNvCxnSpPr/>
          <p:nvPr>
            <p:custDataLst>
              <p:tags r:id="rId19"/>
            </p:custDataLst>
          </p:nvPr>
        </p:nvCxnSpPr>
        <p:spPr bwMode="auto">
          <a:xfrm>
            <a:off x="920750" y="3825875"/>
            <a:ext cx="10464800"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63" name="Text Placeholder 4">
            <a:extLst>
              <a:ext uri="{FF2B5EF4-FFF2-40B4-BE49-F238E27FC236}">
                <a16:creationId xmlns:a16="http://schemas.microsoft.com/office/drawing/2014/main" id="{8EB18F53-0E99-471D-916B-64CD266C077A}"/>
              </a:ext>
            </a:extLst>
          </p:cNvPr>
          <p:cNvSpPr>
            <a:spLocks noGrp="1"/>
          </p:cNvSpPr>
          <p:nvPr>
            <p:custDataLst>
              <p:tags r:id="rId20"/>
            </p:custDataLst>
          </p:nvPr>
        </p:nvSpPr>
        <p:spPr bwMode="auto">
          <a:xfrm>
            <a:off x="11266488" y="4060825"/>
            <a:ext cx="2381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7D9FABAB-43BA-4E0A-9837-573FFF303076}" type="datetime'''''''''''''''''''''''De''''''''''''''''''c'''">
              <a:rPr lang="en-US" altLang="en-US" sz="1000" smtClean="0">
                <a:solidFill>
                  <a:srgbClr val="000000"/>
                </a:solidFill>
                <a:cs typeface="+mn-cs"/>
              </a:rPr>
              <a:pPr lvl="0" algn="ctr">
                <a:spcBef>
                  <a:spcPct val="0"/>
                </a:spcBef>
                <a:spcAft>
                  <a:spcPct val="0"/>
                </a:spcAft>
                <a:buClr>
                  <a:srgbClr val="000000"/>
                </a:buClr>
                <a:defRPr/>
              </a:pPr>
              <a:t>Dec</a:t>
            </a:fld>
            <a:endParaRPr kumimoji="0" lang="en-US" sz="1000" b="0" i="0" strike="noStrike" kern="1200" cap="none" spc="0" normalizeH="0" baseline="0" noProof="0">
              <a:ln>
                <a:noFill/>
              </a:ln>
              <a:solidFill>
                <a:srgbClr val="000000"/>
              </a:solidFill>
              <a:effectLst/>
              <a:uLnTx/>
              <a:uFillTx/>
              <a:cs typeface="+mn-cs"/>
            </a:endParaRPr>
          </a:p>
        </p:txBody>
      </p:sp>
      <p:sp>
        <p:nvSpPr>
          <p:cNvPr id="162" name="Text Placeholder 4">
            <a:extLst>
              <a:ext uri="{FF2B5EF4-FFF2-40B4-BE49-F238E27FC236}">
                <a16:creationId xmlns:a16="http://schemas.microsoft.com/office/drawing/2014/main" id="{0E6F2183-73F0-4E86-82B1-88A820E366CA}"/>
              </a:ext>
            </a:extLst>
          </p:cNvPr>
          <p:cNvSpPr>
            <a:spLocks noGrp="1"/>
          </p:cNvSpPr>
          <p:nvPr>
            <p:custDataLst>
              <p:tags r:id="rId21"/>
            </p:custDataLst>
          </p:nvPr>
        </p:nvSpPr>
        <p:spPr bwMode="auto">
          <a:xfrm>
            <a:off x="10004425" y="40608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391B3582-DD92-459F-A089-68753777BCC0}" type="datetime'''''''''''''''''Oc''''''''''''t'''''''''''''''''">
              <a:rPr lang="en-US" altLang="en-US" sz="1000" smtClean="0">
                <a:solidFill>
                  <a:srgbClr val="000000"/>
                </a:solidFill>
                <a:cs typeface="+mn-cs"/>
              </a:rPr>
              <a:pPr lvl="0" algn="ctr">
                <a:spcBef>
                  <a:spcPct val="0"/>
                </a:spcBef>
                <a:spcAft>
                  <a:spcPct val="0"/>
                </a:spcAft>
                <a:buClr>
                  <a:srgbClr val="000000"/>
                </a:buClr>
                <a:defRPr/>
              </a:pPr>
              <a:t>Oct</a:t>
            </a:fld>
            <a:endParaRPr kumimoji="0" lang="en-US" sz="1000" b="0" i="0" strike="noStrike" kern="1200" cap="none" spc="0" normalizeH="0" baseline="0" noProof="0">
              <a:ln>
                <a:noFill/>
              </a:ln>
              <a:solidFill>
                <a:srgbClr val="000000"/>
              </a:solidFill>
              <a:effectLst/>
              <a:uLnTx/>
              <a:uFillTx/>
              <a:cs typeface="+mn-cs"/>
            </a:endParaRPr>
          </a:p>
        </p:txBody>
      </p:sp>
      <p:sp>
        <p:nvSpPr>
          <p:cNvPr id="152" name="Text Placeholder 4">
            <a:extLst>
              <a:ext uri="{FF2B5EF4-FFF2-40B4-BE49-F238E27FC236}">
                <a16:creationId xmlns:a16="http://schemas.microsoft.com/office/drawing/2014/main" id="{B52C1EDD-9CBD-4FA5-B0D1-A62DCDE5B1A6}"/>
              </a:ext>
            </a:extLst>
          </p:cNvPr>
          <p:cNvSpPr>
            <a:spLocks noGrp="1"/>
          </p:cNvSpPr>
          <p:nvPr>
            <p:custDataLst>
              <p:tags r:id="rId22"/>
            </p:custDataLst>
          </p:nvPr>
        </p:nvSpPr>
        <p:spPr bwMode="auto">
          <a:xfrm>
            <a:off x="1050925" y="4060825"/>
            <a:ext cx="215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63622214-47B5-4709-8908-5C25D86F7D2F}" type="datetime'''''J''''a''''''''''''''''''n'''''''''''''''''">
              <a:rPr lang="en-US" altLang="en-US" sz="1000" smtClean="0">
                <a:solidFill>
                  <a:srgbClr val="000000"/>
                </a:solidFill>
                <a:cs typeface="+mn-cs"/>
              </a:rPr>
              <a:pPr lvl="0" algn="ctr">
                <a:spcBef>
                  <a:spcPct val="0"/>
                </a:spcBef>
                <a:spcAft>
                  <a:spcPct val="0"/>
                </a:spcAft>
                <a:buClr>
                  <a:srgbClr val="000000"/>
                </a:buClr>
                <a:defRPr/>
              </a:pPr>
              <a:t>Jan</a:t>
            </a:fld>
            <a:r>
              <a:rPr kumimoji="0" lang="en-US" alt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 </a:t>
            </a:r>
            <a:endParaRPr kumimoji="0" lang="en-US" sz="10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56" name="Text Placeholder 4">
            <a:extLst>
              <a:ext uri="{FF2B5EF4-FFF2-40B4-BE49-F238E27FC236}">
                <a16:creationId xmlns:a16="http://schemas.microsoft.com/office/drawing/2014/main" id="{E1BF9E95-78AF-4AB4-A776-C7064D7D2045}"/>
              </a:ext>
            </a:extLst>
          </p:cNvPr>
          <p:cNvSpPr>
            <a:spLocks noGrp="1"/>
          </p:cNvSpPr>
          <p:nvPr>
            <p:custDataLst>
              <p:tags r:id="rId23"/>
            </p:custDataLst>
          </p:nvPr>
        </p:nvSpPr>
        <p:spPr bwMode="auto">
          <a:xfrm>
            <a:off x="2317750" y="40608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7B0F91FE-4331-4B88-A6A4-6CC049F40B92}" type="datetime'''''A''''p''''''r'''''''''''''''">
              <a:rPr lang="en-US" altLang="en-US" sz="1000" smtClean="0">
                <a:solidFill>
                  <a:srgbClr val="000000"/>
                </a:solidFill>
                <a:cs typeface="+mn-cs"/>
              </a:rPr>
              <a:pPr lvl="0" algn="ctr">
                <a:spcBef>
                  <a:spcPct val="0"/>
                </a:spcBef>
                <a:spcAft>
                  <a:spcPct val="0"/>
                </a:spcAft>
                <a:buClr>
                  <a:srgbClr val="000000"/>
                </a:buClr>
                <a:defRPr/>
              </a:pPr>
              <a:t>Apr</a:t>
            </a:fld>
            <a:endParaRPr kumimoji="0" lang="en-US" sz="1000" b="0" i="0" strike="noStrike" kern="1200" cap="none" spc="0" normalizeH="0" baseline="0" noProof="0">
              <a:ln>
                <a:noFill/>
              </a:ln>
              <a:solidFill>
                <a:srgbClr val="000000"/>
              </a:solidFill>
              <a:effectLst/>
              <a:uLnTx/>
              <a:uFillTx/>
              <a:cs typeface="+mn-cs"/>
            </a:endParaRPr>
          </a:p>
        </p:txBody>
      </p:sp>
      <p:sp>
        <p:nvSpPr>
          <p:cNvPr id="157" name="Text Placeholder 4">
            <a:extLst>
              <a:ext uri="{FF2B5EF4-FFF2-40B4-BE49-F238E27FC236}">
                <a16:creationId xmlns:a16="http://schemas.microsoft.com/office/drawing/2014/main" id="{83D10E1D-E991-4ED4-B43F-4B3AAE22B95D}"/>
              </a:ext>
            </a:extLst>
          </p:cNvPr>
          <p:cNvSpPr>
            <a:spLocks noGrp="1"/>
          </p:cNvSpPr>
          <p:nvPr>
            <p:custDataLst>
              <p:tags r:id="rId24"/>
            </p:custDataLst>
          </p:nvPr>
        </p:nvSpPr>
        <p:spPr bwMode="auto">
          <a:xfrm>
            <a:off x="3611563" y="40608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89C65FDA-FBEC-435F-B0C4-A7DC0D6E31C1}" type="datetime'J''''''''''''''ul'''''''''">
              <a:rPr lang="en-US" altLang="en-US" sz="1000" smtClean="0">
                <a:solidFill>
                  <a:srgbClr val="000000"/>
                </a:solidFill>
                <a:cs typeface="+mn-cs"/>
              </a:rPr>
              <a:pPr lvl="0" algn="ctr">
                <a:spcBef>
                  <a:spcPct val="0"/>
                </a:spcBef>
                <a:spcAft>
                  <a:spcPct val="0"/>
                </a:spcAft>
                <a:buClr>
                  <a:srgbClr val="000000"/>
                </a:buClr>
                <a:defRPr/>
              </a:pPr>
              <a:t>Jul</a:t>
            </a:fld>
            <a:endParaRPr kumimoji="0" lang="en-US" sz="1000" b="0" i="0" strike="noStrike" kern="1200" cap="none" spc="0" normalizeH="0" baseline="0" noProof="0">
              <a:ln>
                <a:noFill/>
              </a:ln>
              <a:solidFill>
                <a:srgbClr val="000000"/>
              </a:solidFill>
              <a:effectLst/>
              <a:uLnTx/>
              <a:uFillTx/>
              <a:cs typeface="+mn-cs"/>
            </a:endParaRPr>
          </a:p>
        </p:txBody>
      </p:sp>
      <p:sp>
        <p:nvSpPr>
          <p:cNvPr id="151" name="Text Placeholder 4">
            <a:extLst>
              <a:ext uri="{FF2B5EF4-FFF2-40B4-BE49-F238E27FC236}">
                <a16:creationId xmlns:a16="http://schemas.microsoft.com/office/drawing/2014/main" id="{6936848E-05DE-4136-A777-FEE2091C43E0}"/>
              </a:ext>
            </a:extLst>
          </p:cNvPr>
          <p:cNvSpPr>
            <a:spLocks noGrp="1"/>
          </p:cNvSpPr>
          <p:nvPr>
            <p:custDataLst>
              <p:tags r:id="rId25"/>
            </p:custDataLst>
          </p:nvPr>
        </p:nvSpPr>
        <p:spPr bwMode="auto">
          <a:xfrm>
            <a:off x="4884738" y="40608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6AD11E7A-90A6-45CE-805F-047743394AEF}" type="datetime'''''''''Oc''''''''''''''''''''''''t'''''''''">
              <a:rPr lang="en-US" altLang="en-US" sz="1000" smtClean="0">
                <a:solidFill>
                  <a:srgbClr val="000000"/>
                </a:solidFill>
                <a:cs typeface="+mn-cs"/>
              </a:rPr>
              <a:pPr lvl="0" algn="ctr">
                <a:spcBef>
                  <a:spcPct val="0"/>
                </a:spcBef>
                <a:spcAft>
                  <a:spcPct val="0"/>
                </a:spcAft>
                <a:buClr>
                  <a:srgbClr val="000000"/>
                </a:buClr>
                <a:defRPr/>
              </a:pPr>
              <a:t>Oct</a:t>
            </a:fld>
            <a:endParaRPr kumimoji="0" lang="en-US" sz="1000" b="0" i="0" strike="noStrike" kern="1200" cap="none" spc="0" normalizeH="0" baseline="0" noProof="0">
              <a:ln>
                <a:noFill/>
              </a:ln>
              <a:solidFill>
                <a:srgbClr val="000000"/>
              </a:solidFill>
              <a:effectLst/>
              <a:uLnTx/>
              <a:uFillTx/>
              <a:cs typeface="+mn-cs"/>
            </a:endParaRPr>
          </a:p>
        </p:txBody>
      </p:sp>
      <p:sp>
        <p:nvSpPr>
          <p:cNvPr id="155" name="Text Placeholder 4">
            <a:extLst>
              <a:ext uri="{FF2B5EF4-FFF2-40B4-BE49-F238E27FC236}">
                <a16:creationId xmlns:a16="http://schemas.microsoft.com/office/drawing/2014/main" id="{ED42FD41-B696-4E03-87E9-55D29890CBE3}"/>
              </a:ext>
            </a:extLst>
          </p:cNvPr>
          <p:cNvSpPr>
            <a:spLocks noGrp="1"/>
          </p:cNvSpPr>
          <p:nvPr>
            <p:custDataLst>
              <p:tags r:id="rId26"/>
            </p:custDataLst>
          </p:nvPr>
        </p:nvSpPr>
        <p:spPr bwMode="auto">
          <a:xfrm>
            <a:off x="6172200" y="4060825"/>
            <a:ext cx="21590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1A9C7CBC-6CCC-47BB-ADEC-E06BFB9D4A64}" type="datetime'J''''''''a''''''''''''n'''''''''''''''''''''''''''''''''''''''">
              <a:rPr lang="en-US" altLang="en-US" sz="1000" smtClean="0">
                <a:solidFill>
                  <a:srgbClr val="000000"/>
                </a:solidFill>
                <a:cs typeface="+mn-cs"/>
              </a:rPr>
              <a:pPr lvl="0" algn="ctr">
                <a:spcBef>
                  <a:spcPct val="0"/>
                </a:spcBef>
                <a:spcAft>
                  <a:spcPct val="0"/>
                </a:spcAft>
                <a:buClr>
                  <a:srgbClr val="000000"/>
                </a:buClr>
                <a:defRPr/>
              </a:pPr>
              <a:t>Jan</a:t>
            </a:fld>
            <a:endParaRPr kumimoji="0" lang="en-US" sz="1000" b="0" i="0" strike="noStrike" kern="1200" cap="none" spc="0" normalizeH="0" baseline="0" noProof="0">
              <a:ln>
                <a:noFill/>
              </a:ln>
              <a:solidFill>
                <a:srgbClr val="000000"/>
              </a:solidFill>
              <a:effectLst/>
              <a:uLnTx/>
              <a:uFillTx/>
              <a:cs typeface="+mn-cs"/>
            </a:endParaRPr>
          </a:p>
        </p:txBody>
      </p:sp>
      <p:sp>
        <p:nvSpPr>
          <p:cNvPr id="159" name="Text Placeholder 4">
            <a:extLst>
              <a:ext uri="{FF2B5EF4-FFF2-40B4-BE49-F238E27FC236}">
                <a16:creationId xmlns:a16="http://schemas.microsoft.com/office/drawing/2014/main" id="{5DC84823-A349-4C31-8E05-65A263676D2E}"/>
              </a:ext>
            </a:extLst>
          </p:cNvPr>
          <p:cNvSpPr>
            <a:spLocks noGrp="1"/>
          </p:cNvSpPr>
          <p:nvPr>
            <p:custDataLst>
              <p:tags r:id="rId27"/>
            </p:custDataLst>
          </p:nvPr>
        </p:nvSpPr>
        <p:spPr bwMode="auto">
          <a:xfrm>
            <a:off x="7437438" y="4060825"/>
            <a:ext cx="209550"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180CCEB9-3D2F-4B8E-821E-EBF2177398E6}" type="datetime'''''''''''''''''A''p''r'''''''''''''''''''''">
              <a:rPr lang="en-US" altLang="en-US" sz="1000" smtClean="0">
                <a:solidFill>
                  <a:srgbClr val="000000"/>
                </a:solidFill>
                <a:cs typeface="+mn-cs"/>
              </a:rPr>
              <a:pPr lvl="0" algn="ctr">
                <a:spcBef>
                  <a:spcPct val="0"/>
                </a:spcBef>
                <a:spcAft>
                  <a:spcPct val="0"/>
                </a:spcAft>
                <a:buClr>
                  <a:srgbClr val="000000"/>
                </a:buClr>
                <a:defRPr/>
              </a:pPr>
              <a:t>Apr</a:t>
            </a:fld>
            <a:endParaRPr kumimoji="0" lang="en-US" sz="1000" b="0" i="0" strike="noStrike" kern="1200" cap="none" spc="0" normalizeH="0" baseline="0" noProof="0">
              <a:ln>
                <a:noFill/>
              </a:ln>
              <a:solidFill>
                <a:srgbClr val="000000"/>
              </a:solidFill>
              <a:effectLst/>
              <a:uLnTx/>
              <a:uFillTx/>
              <a:cs typeface="+mn-cs"/>
            </a:endParaRPr>
          </a:p>
        </p:txBody>
      </p:sp>
      <p:sp>
        <p:nvSpPr>
          <p:cNvPr id="160" name="Text Placeholder 4">
            <a:extLst>
              <a:ext uri="{FF2B5EF4-FFF2-40B4-BE49-F238E27FC236}">
                <a16:creationId xmlns:a16="http://schemas.microsoft.com/office/drawing/2014/main" id="{B8F9749C-742B-4122-ADF6-21F321BF463B}"/>
              </a:ext>
            </a:extLst>
          </p:cNvPr>
          <p:cNvSpPr>
            <a:spLocks noGrp="1"/>
          </p:cNvSpPr>
          <p:nvPr>
            <p:custDataLst>
              <p:tags r:id="rId28"/>
            </p:custDataLst>
          </p:nvPr>
        </p:nvSpPr>
        <p:spPr bwMode="auto">
          <a:xfrm>
            <a:off x="8731250" y="4060825"/>
            <a:ext cx="174625" cy="1524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00000"/>
              </a:lnSpc>
              <a:spcBef>
                <a:spcPts val="300"/>
              </a:spcBef>
              <a:spcAft>
                <a:spcPts val="300"/>
              </a:spcAft>
              <a:buClr>
                <a:schemeClr val="tx1"/>
              </a:buClr>
              <a:buSzPct val="100000"/>
              <a:buFont typeface="Segoe UI" panose="020B0502040204020203" pitchFamily="34" charset="0"/>
              <a:buChar char="​"/>
              <a:defRPr lang="en-US" sz="1600" kern="1200" dirty="0">
                <a:solidFill>
                  <a:schemeClr val="tx1"/>
                </a:solidFill>
                <a:latin typeface="+mn-lt"/>
                <a:ea typeface="+mn-ea"/>
                <a:cs typeface="Arial" panose="020B0604020202020204" pitchFamily="34" charset="0"/>
              </a:defRPr>
            </a:lvl1pPr>
            <a:lvl2pPr marL="228600" indent="-225425" algn="l" defTabSz="914400" rtl="0" eaLnBrk="1" latinLnBrk="0" hangingPunct="1">
              <a:lnSpc>
                <a:spcPct val="100000"/>
              </a:lnSpc>
              <a:spcBef>
                <a:spcPts val="0"/>
              </a:spcBef>
              <a:spcAft>
                <a:spcPts val="300"/>
              </a:spcAft>
              <a:buClr>
                <a:schemeClr val="tx1"/>
              </a:buClr>
              <a:buSzPct val="110000"/>
              <a:buFont typeface="Wingdings" panose="05000000000000000000" pitchFamily="2" charset="2"/>
              <a:buChar char=""/>
              <a:defRPr lang="en-US" sz="1600" kern="1200" dirty="0">
                <a:solidFill>
                  <a:schemeClr val="tx1"/>
                </a:solidFill>
                <a:latin typeface="+mn-lt"/>
                <a:ea typeface="+mn-ea"/>
                <a:cs typeface="+mn-cs"/>
              </a:defRPr>
            </a:lvl2pPr>
            <a:lvl3pPr marL="442913" indent="-214313" algn="l" defTabSz="914400" rtl="0" eaLnBrk="1" latinLnBrk="0" hangingPunct="1">
              <a:lnSpc>
                <a:spcPct val="100000"/>
              </a:lnSpc>
              <a:spcBef>
                <a:spcPts val="0"/>
              </a:spcBef>
              <a:spcAft>
                <a:spcPts val="300"/>
              </a:spcAft>
              <a:buClr>
                <a:schemeClr val="tx1"/>
              </a:buClr>
              <a:buSzPct val="110000"/>
              <a:buFont typeface="Arial" panose="020B0604020202020204" pitchFamily="34" charset="0"/>
              <a:buChar char="‒"/>
              <a:defRPr lang="en-US" sz="1600" kern="1200" dirty="0">
                <a:solidFill>
                  <a:schemeClr val="tx1"/>
                </a:solidFill>
                <a:latin typeface="+mn-lt"/>
                <a:ea typeface="+mn-ea"/>
                <a:cs typeface="+mn-cs"/>
              </a:defRPr>
            </a:lvl3pPr>
            <a:lvl4pPr marL="598488" indent="-152400"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4pPr>
            <a:lvl5pPr marL="817563" indent="-147638" algn="l" defTabSz="914400" rtl="0" eaLnBrk="1" latinLnBrk="0" hangingPunct="1">
              <a:lnSpc>
                <a:spcPct val="100000"/>
              </a:lnSpc>
              <a:spcBef>
                <a:spcPts val="0"/>
              </a:spcBef>
              <a:spcAft>
                <a:spcPts val="300"/>
              </a:spcAft>
              <a:buClr>
                <a:schemeClr val="tx1"/>
              </a:buClr>
              <a:buSzPct val="100000"/>
              <a:buFont typeface="Arial" panose="020B0604020202020204" pitchFamily="34" charset="0"/>
              <a:buChar char="̶"/>
              <a:defRPr lang="en-US" sz="1600" kern="1200" dirty="0">
                <a:solidFill>
                  <a:schemeClr val="tx1"/>
                </a:solidFill>
                <a:latin typeface="+mn-lt"/>
                <a:ea typeface="+mn-ea"/>
                <a:cs typeface="+mn-cs"/>
              </a:defRPr>
            </a:lvl5pPr>
            <a:lvl6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6pPr>
            <a:lvl7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7pPr>
            <a:lvl8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8pPr>
            <a:lvl9pPr marL="1085850" indent="-171450" algn="l" defTabSz="914400" rtl="0" eaLnBrk="1" latinLnBrk="0" hangingPunct="1">
              <a:lnSpc>
                <a:spcPct val="100000"/>
              </a:lnSpc>
              <a:spcBef>
                <a:spcPts val="0"/>
              </a:spcBef>
              <a:spcAft>
                <a:spcPts val="300"/>
              </a:spcAft>
              <a:buSzPct val="100000"/>
              <a:buFont typeface="Arial" panose="020B0604020202020204" pitchFamily="34" charset="0"/>
              <a:buChar char="▫"/>
              <a:defRPr sz="1600" kern="1200">
                <a:solidFill>
                  <a:schemeClr val="tx1"/>
                </a:solidFill>
                <a:latin typeface="+mn-lt"/>
                <a:ea typeface="+mn-ea"/>
                <a:cs typeface="Arial" panose="020B0604020202020204" pitchFamily="34" charset="0"/>
              </a:defRPr>
            </a:lvl9pPr>
          </a:lstStyle>
          <a:p>
            <a:pPr lvl="0" algn="ctr">
              <a:spcBef>
                <a:spcPct val="0"/>
              </a:spcBef>
              <a:spcAft>
                <a:spcPct val="0"/>
              </a:spcAft>
              <a:buClr>
                <a:srgbClr val="000000"/>
              </a:buClr>
              <a:defRPr/>
            </a:pPr>
            <a:fld id="{94667CA7-A608-4E12-B3FF-02A5D0ADB122}" type="datetime'J''''''''''u''''''''''''''''''''l'''">
              <a:rPr lang="en-US" altLang="en-US" sz="1000" smtClean="0">
                <a:solidFill>
                  <a:srgbClr val="000000"/>
                </a:solidFill>
                <a:cs typeface="+mn-cs"/>
              </a:rPr>
              <a:pPr lvl="0" algn="ctr">
                <a:spcBef>
                  <a:spcPct val="0"/>
                </a:spcBef>
                <a:spcAft>
                  <a:spcPct val="0"/>
                </a:spcAft>
                <a:buClr>
                  <a:srgbClr val="000000"/>
                </a:buClr>
                <a:defRPr/>
              </a:pPr>
              <a:t>Jul</a:t>
            </a:fld>
            <a:endParaRPr kumimoji="0" lang="en-US" sz="1000" b="0" i="0" strike="noStrike" kern="1200" cap="none" spc="0" normalizeH="0" baseline="0" noProof="0">
              <a:ln>
                <a:noFill/>
              </a:ln>
              <a:solidFill>
                <a:srgbClr val="000000"/>
              </a:solidFill>
              <a:effectLst/>
              <a:uLnTx/>
              <a:uFillTx/>
              <a:cs typeface="+mn-cs"/>
            </a:endParaRPr>
          </a:p>
        </p:txBody>
      </p:sp>
      <p:sp>
        <p:nvSpPr>
          <p:cNvPr id="125" name="TrackerNumBlue 53">
            <a:extLst>
              <a:ext uri="{FF2B5EF4-FFF2-40B4-BE49-F238E27FC236}">
                <a16:creationId xmlns:a16="http://schemas.microsoft.com/office/drawing/2014/main" id="{646641A9-7FFA-4537-B700-7FEA05AD56A6}"/>
              </a:ext>
            </a:extLst>
          </p:cNvPr>
          <p:cNvSpPr/>
          <p:nvPr>
            <p:custDataLst>
              <p:tags r:id="rId29"/>
            </p:custDataLst>
          </p:nvPr>
        </p:nvSpPr>
        <p:spPr>
          <a:xfrm>
            <a:off x="4154493" y="1909040"/>
            <a:ext cx="279400" cy="279329"/>
          </a:xfrm>
          <a:prstGeom prst="ellipse">
            <a:avLst/>
          </a:prstGeom>
          <a:solidFill>
            <a:schemeClr val="bg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1</a:t>
            </a:r>
          </a:p>
        </p:txBody>
      </p:sp>
      <p:sp>
        <p:nvSpPr>
          <p:cNvPr id="127" name="TrackerNumBlue 53">
            <a:extLst>
              <a:ext uri="{FF2B5EF4-FFF2-40B4-BE49-F238E27FC236}">
                <a16:creationId xmlns:a16="http://schemas.microsoft.com/office/drawing/2014/main" id="{5F3D5F4A-3FF7-4D5F-84D8-DE8B2B636C7A}"/>
              </a:ext>
            </a:extLst>
          </p:cNvPr>
          <p:cNvSpPr/>
          <p:nvPr>
            <p:custDataLst>
              <p:tags r:id="rId30"/>
            </p:custDataLst>
          </p:nvPr>
        </p:nvSpPr>
        <p:spPr>
          <a:xfrm>
            <a:off x="4691606" y="1909040"/>
            <a:ext cx="279400" cy="279329"/>
          </a:xfrm>
          <a:prstGeom prst="ellipse">
            <a:avLst/>
          </a:prstGeom>
          <a:solidFill>
            <a:schemeClr val="accent1"/>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2</a:t>
            </a:r>
          </a:p>
        </p:txBody>
      </p:sp>
      <p:cxnSp>
        <p:nvCxnSpPr>
          <p:cNvPr id="128" name="LineBasicVerticalDefault 40">
            <a:extLst>
              <a:ext uri="{FF2B5EF4-FFF2-40B4-BE49-F238E27FC236}">
                <a16:creationId xmlns:a16="http://schemas.microsoft.com/office/drawing/2014/main" id="{953AB3AE-9635-444A-84DC-0798C9A770F7}"/>
              </a:ext>
            </a:extLst>
          </p:cNvPr>
          <p:cNvCxnSpPr>
            <a:cxnSpLocks/>
          </p:cNvCxnSpPr>
          <p:nvPr>
            <p:custDataLst>
              <p:tags r:id="rId31"/>
            </p:custDataLst>
          </p:nvPr>
        </p:nvCxnSpPr>
        <p:spPr>
          <a:xfrm>
            <a:off x="4289430"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0" name="LineBasicVerticalDefault 40">
            <a:extLst>
              <a:ext uri="{FF2B5EF4-FFF2-40B4-BE49-F238E27FC236}">
                <a16:creationId xmlns:a16="http://schemas.microsoft.com/office/drawing/2014/main" id="{7E31FC46-09A0-4774-9E42-C537F76E809A}"/>
              </a:ext>
            </a:extLst>
          </p:cNvPr>
          <p:cNvCxnSpPr>
            <a:cxnSpLocks/>
          </p:cNvCxnSpPr>
          <p:nvPr>
            <p:custDataLst>
              <p:tags r:id="rId32"/>
            </p:custDataLst>
          </p:nvPr>
        </p:nvCxnSpPr>
        <p:spPr>
          <a:xfrm>
            <a:off x="4822793" y="2209800"/>
            <a:ext cx="0" cy="1798556"/>
          </a:xfrm>
          <a:prstGeom prst="straightConnector1">
            <a:avLst/>
          </a:prstGeom>
          <a:ln w="22225" cap="flat" cmpd="sng" algn="ctr">
            <a:solidFill>
              <a:schemeClr val="accent2"/>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131" name="LineBasicVerticalDefault 40">
            <a:extLst>
              <a:ext uri="{FF2B5EF4-FFF2-40B4-BE49-F238E27FC236}">
                <a16:creationId xmlns:a16="http://schemas.microsoft.com/office/drawing/2014/main" id="{51B0D5BD-C6F6-4543-AA3E-B73DD5628307}"/>
              </a:ext>
            </a:extLst>
          </p:cNvPr>
          <p:cNvCxnSpPr>
            <a:cxnSpLocks/>
          </p:cNvCxnSpPr>
          <p:nvPr>
            <p:custDataLst>
              <p:tags r:id="rId33"/>
            </p:custDataLst>
          </p:nvPr>
        </p:nvCxnSpPr>
        <p:spPr>
          <a:xfrm>
            <a:off x="7793460"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2" name="TrackerNumBlue 53">
            <a:extLst>
              <a:ext uri="{FF2B5EF4-FFF2-40B4-BE49-F238E27FC236}">
                <a16:creationId xmlns:a16="http://schemas.microsoft.com/office/drawing/2014/main" id="{AA6DA45B-F26B-4C93-AEB5-2449CDEF5CAD}"/>
              </a:ext>
            </a:extLst>
          </p:cNvPr>
          <p:cNvSpPr/>
          <p:nvPr>
            <p:custDataLst>
              <p:tags r:id="rId34"/>
            </p:custDataLst>
          </p:nvPr>
        </p:nvSpPr>
        <p:spPr>
          <a:xfrm>
            <a:off x="7656935" y="1909040"/>
            <a:ext cx="279400" cy="279329"/>
          </a:xfrm>
          <a:prstGeom prst="ellipse">
            <a:avLst/>
          </a:prstGeom>
          <a:solidFill>
            <a:schemeClr val="bg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6</a:t>
            </a:r>
          </a:p>
        </p:txBody>
      </p:sp>
      <p:sp>
        <p:nvSpPr>
          <p:cNvPr id="133" name="TrackerNumBlue 53">
            <a:extLst>
              <a:ext uri="{FF2B5EF4-FFF2-40B4-BE49-F238E27FC236}">
                <a16:creationId xmlns:a16="http://schemas.microsoft.com/office/drawing/2014/main" id="{D5FCFCE6-B675-45FB-ABEB-5D5A099519EE}"/>
              </a:ext>
            </a:extLst>
          </p:cNvPr>
          <p:cNvSpPr/>
          <p:nvPr>
            <p:custDataLst>
              <p:tags r:id="rId35"/>
            </p:custDataLst>
          </p:nvPr>
        </p:nvSpPr>
        <p:spPr>
          <a:xfrm>
            <a:off x="5344584" y="1909040"/>
            <a:ext cx="279400" cy="279329"/>
          </a:xfrm>
          <a:prstGeom prst="ellipse">
            <a:avLst/>
          </a:prstGeom>
          <a:solidFill>
            <a:schemeClr val="bg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4</a:t>
            </a:r>
          </a:p>
        </p:txBody>
      </p:sp>
      <p:cxnSp>
        <p:nvCxnSpPr>
          <p:cNvPr id="134" name="LineBasicVerticalDefault 40">
            <a:extLst>
              <a:ext uri="{FF2B5EF4-FFF2-40B4-BE49-F238E27FC236}">
                <a16:creationId xmlns:a16="http://schemas.microsoft.com/office/drawing/2014/main" id="{E8B5DC18-A211-4556-AC63-F69021AB153F}"/>
              </a:ext>
            </a:extLst>
          </p:cNvPr>
          <p:cNvCxnSpPr>
            <a:cxnSpLocks/>
          </p:cNvCxnSpPr>
          <p:nvPr>
            <p:custDataLst>
              <p:tags r:id="rId36"/>
            </p:custDataLst>
          </p:nvPr>
        </p:nvCxnSpPr>
        <p:spPr>
          <a:xfrm>
            <a:off x="5469997"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5" name="TrackerNumBlue 53">
            <a:extLst>
              <a:ext uri="{FF2B5EF4-FFF2-40B4-BE49-F238E27FC236}">
                <a16:creationId xmlns:a16="http://schemas.microsoft.com/office/drawing/2014/main" id="{AD55DCA3-AF4B-4AB5-9ED0-05E647F2A878}"/>
              </a:ext>
            </a:extLst>
          </p:cNvPr>
          <p:cNvSpPr/>
          <p:nvPr>
            <p:custDataLst>
              <p:tags r:id="rId37"/>
            </p:custDataLst>
          </p:nvPr>
        </p:nvSpPr>
        <p:spPr>
          <a:xfrm>
            <a:off x="5707421" y="1909040"/>
            <a:ext cx="279400" cy="279329"/>
          </a:xfrm>
          <a:prstGeom prst="ellipse">
            <a:avLst/>
          </a:prstGeom>
          <a:solidFill>
            <a:schemeClr val="bg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5</a:t>
            </a:r>
          </a:p>
        </p:txBody>
      </p:sp>
      <p:cxnSp>
        <p:nvCxnSpPr>
          <p:cNvPr id="136" name="LineBasicVerticalDefault 40">
            <a:extLst>
              <a:ext uri="{FF2B5EF4-FFF2-40B4-BE49-F238E27FC236}">
                <a16:creationId xmlns:a16="http://schemas.microsoft.com/office/drawing/2014/main" id="{EC1BF1C2-F0DD-4AAD-A40A-5A6A414AFE48}"/>
              </a:ext>
            </a:extLst>
          </p:cNvPr>
          <p:cNvCxnSpPr>
            <a:cxnSpLocks/>
          </p:cNvCxnSpPr>
          <p:nvPr>
            <p:custDataLst>
              <p:tags r:id="rId38"/>
            </p:custDataLst>
          </p:nvPr>
        </p:nvCxnSpPr>
        <p:spPr>
          <a:xfrm>
            <a:off x="5863089"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
        <p:nvSpPr>
          <p:cNvPr id="13" name="Rectangle 12">
            <a:extLst>
              <a:ext uri="{FF2B5EF4-FFF2-40B4-BE49-F238E27FC236}">
                <a16:creationId xmlns:a16="http://schemas.microsoft.com/office/drawing/2014/main" id="{1FA21D0D-9C60-4008-9B7B-E93FEC05639E}"/>
              </a:ext>
            </a:extLst>
          </p:cNvPr>
          <p:cNvSpPr/>
          <p:nvPr/>
        </p:nvSpPr>
        <p:spPr>
          <a:xfrm>
            <a:off x="8190874" y="1765115"/>
            <a:ext cx="2427654" cy="1571502"/>
          </a:xfrm>
          <a:prstGeom prst="rect">
            <a:avLst/>
          </a:prstGeom>
          <a:solidFill>
            <a:schemeClr val="bg1"/>
          </a:solidFill>
          <a:ln w="6350" cap="sq">
            <a:solidFill>
              <a:schemeClr val="accent1"/>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Bef>
                <a:spcPts val="300"/>
              </a:spcBef>
              <a:spcAft>
                <a:spcPts val="300"/>
              </a:spcAft>
              <a:buClr>
                <a:srgbClr val="000000"/>
              </a:buClr>
            </a:pPr>
            <a:r>
              <a:rPr lang="en-US" sz="1100">
                <a:solidFill>
                  <a:srgbClr val="000000"/>
                </a:solidFill>
              </a:rPr>
              <a:t>If </a:t>
            </a:r>
            <a:r>
              <a:rPr lang="en-US" sz="1100" b="1" err="1">
                <a:solidFill>
                  <a:schemeClr val="accent1"/>
                </a:solidFill>
              </a:rPr>
              <a:t>Moderna</a:t>
            </a:r>
            <a:r>
              <a:rPr lang="en-US" sz="1100" b="1">
                <a:solidFill>
                  <a:schemeClr val="accent1"/>
                </a:solidFill>
              </a:rPr>
              <a:t> booster is approved 2 weeks after Pfizer</a:t>
            </a:r>
            <a:r>
              <a:rPr lang="en-US" sz="1100" baseline="30000">
                <a:solidFill>
                  <a:schemeClr val="tx1"/>
                </a:solidFill>
              </a:rPr>
              <a:t>3</a:t>
            </a:r>
            <a:r>
              <a:rPr lang="en-US" sz="1100">
                <a:solidFill>
                  <a:srgbClr val="000000"/>
                </a:solidFill>
              </a:rPr>
              <a:t>, and State meets all accumulated demand for boosters within 2 weeks of approval, peak daily demand may increase to </a:t>
            </a:r>
            <a:r>
              <a:rPr lang="en-US" sz="1100" b="1">
                <a:solidFill>
                  <a:schemeClr val="accent1"/>
                </a:solidFill>
              </a:rPr>
              <a:t>~600K doses per day </a:t>
            </a:r>
            <a:r>
              <a:rPr lang="en-US" sz="1100">
                <a:solidFill>
                  <a:srgbClr val="000000"/>
                </a:solidFill>
              </a:rPr>
              <a:t>and State may operate for 4 weeks above the historical peak of 410k doses per day</a:t>
            </a:r>
            <a:r>
              <a:rPr lang="en-US" sz="1100" baseline="30000">
                <a:solidFill>
                  <a:srgbClr val="000000"/>
                </a:solidFill>
              </a:rPr>
              <a:t>4</a:t>
            </a:r>
            <a:r>
              <a:rPr lang="en-US" sz="1100" b="1">
                <a:solidFill>
                  <a:srgbClr val="000000"/>
                </a:solidFill>
              </a:rPr>
              <a:t>   </a:t>
            </a:r>
            <a:endParaRPr lang="en-US" sz="1600">
              <a:solidFill>
                <a:srgbClr val="000000"/>
              </a:solidFill>
            </a:endParaRPr>
          </a:p>
        </p:txBody>
      </p:sp>
      <p:sp>
        <p:nvSpPr>
          <p:cNvPr id="15" name="TextBox 14">
            <a:extLst>
              <a:ext uri="{FF2B5EF4-FFF2-40B4-BE49-F238E27FC236}">
                <a16:creationId xmlns:a16="http://schemas.microsoft.com/office/drawing/2014/main" id="{9CFA2E31-27C1-467F-B286-E33C86DD1619}"/>
              </a:ext>
            </a:extLst>
          </p:cNvPr>
          <p:cNvSpPr txBox="1"/>
          <p:nvPr/>
        </p:nvSpPr>
        <p:spPr>
          <a:xfrm>
            <a:off x="10734297" y="2212312"/>
            <a:ext cx="1180710"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Potential peak:</a:t>
            </a:r>
            <a:br>
              <a:rPr lang="en-US" sz="1100"/>
            </a:br>
            <a:r>
              <a:rPr lang="en-US" sz="1100"/>
              <a:t>~600k doses/day</a:t>
            </a:r>
            <a:r>
              <a:rPr lang="en-US" sz="1100" b="1" baseline="30000">
                <a:solidFill>
                  <a:srgbClr val="000000"/>
                </a:solidFill>
              </a:rPr>
              <a:t>4</a:t>
            </a:r>
            <a:endParaRPr lang="en-US" sz="1100"/>
          </a:p>
        </p:txBody>
      </p:sp>
      <p:sp>
        <p:nvSpPr>
          <p:cNvPr id="114" name="TextBox 113">
            <a:extLst>
              <a:ext uri="{FF2B5EF4-FFF2-40B4-BE49-F238E27FC236}">
                <a16:creationId xmlns:a16="http://schemas.microsoft.com/office/drawing/2014/main" id="{AD58F02E-F478-4192-B32D-39C672DF1F98}"/>
              </a:ext>
            </a:extLst>
          </p:cNvPr>
          <p:cNvSpPr txBox="1"/>
          <p:nvPr/>
        </p:nvSpPr>
        <p:spPr>
          <a:xfrm>
            <a:off x="10734297" y="3467005"/>
            <a:ext cx="1180710" cy="338554"/>
          </a:xfrm>
          <a:prstGeom prst="rect">
            <a:avLst/>
          </a:prstGeom>
        </p:spPr>
        <p:txBody>
          <a:bodyPr vert="horz" wrap="square" lIns="0" tIns="0" rIns="0" bIns="0" rtlCol="0">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r>
              <a:rPr lang="en-US" sz="1100"/>
              <a:t>Current admin.:</a:t>
            </a:r>
            <a:br>
              <a:rPr lang="en-US" sz="1100"/>
            </a:br>
            <a:r>
              <a:rPr lang="en-US" sz="1100"/>
              <a:t>~80k doses/day</a:t>
            </a:r>
            <a:r>
              <a:rPr lang="en-US" sz="1100" b="1" baseline="30000">
                <a:solidFill>
                  <a:srgbClr val="000000"/>
                </a:solidFill>
              </a:rPr>
              <a:t>5</a:t>
            </a:r>
            <a:endParaRPr lang="en-US" sz="1100"/>
          </a:p>
        </p:txBody>
      </p:sp>
      <p:sp>
        <p:nvSpPr>
          <p:cNvPr id="85" name="2. Slide Title">
            <a:extLst>
              <a:ext uri="{FF2B5EF4-FFF2-40B4-BE49-F238E27FC236}">
                <a16:creationId xmlns:a16="http://schemas.microsoft.com/office/drawing/2014/main" id="{1740CE0A-4AE1-4D2B-A701-3AB1CD43C728}"/>
              </a:ext>
            </a:extLst>
          </p:cNvPr>
          <p:cNvSpPr txBox="1">
            <a:spLocks/>
          </p:cNvSpPr>
          <p:nvPr>
            <p:custDataLst>
              <p:tags r:id="rId39"/>
            </p:custDataLst>
          </p:nvPr>
        </p:nvSpPr>
        <p:spPr bwMode="ltGray">
          <a:xfrm>
            <a:off x="510092" y="166614"/>
            <a:ext cx="11924908" cy="984885"/>
          </a:xfrm>
          <a:prstGeom prst="rect">
            <a:avLst/>
          </a:prstGeom>
        </p:spPr>
        <p:txBody>
          <a:bodyPr vert="horz" wrap="square" lIns="0" tIns="0" rIns="0" bIns="0" rtlCol="0" anchor="ctr" anchorCtr="0">
            <a:spAutoFit/>
          </a:bodyPr>
          <a:lstStyle>
            <a:lvl1pPr algn="l" defTabSz="914400" rtl="0" eaLnBrk="1" latinLnBrk="0" hangingPunct="1">
              <a:lnSpc>
                <a:spcPct val="100000"/>
              </a:lnSpc>
              <a:spcBef>
                <a:spcPct val="0"/>
              </a:spcBef>
              <a:buNone/>
              <a:defRPr lang="en-US" sz="2000" b="1" kern="1200" spc="0" baseline="0" dirty="0">
                <a:ln w="6350" cap="flat">
                  <a:noFill/>
                  <a:miter lim="800000"/>
                </a:ln>
                <a:solidFill>
                  <a:schemeClr val="bg1"/>
                </a:solidFill>
                <a:latin typeface="+mj-lt"/>
                <a:ea typeface="+mj-ea"/>
                <a:cs typeface="+mj-cs"/>
              </a:defRPr>
            </a:lvl1pPr>
          </a:lstStyle>
          <a:p>
            <a:r>
              <a:rPr lang="en-US" sz="3200" b="0">
                <a:solidFill>
                  <a:schemeClr val="tx2"/>
                </a:solidFill>
                <a:latin typeface="Arial" panose="020B0604020202020204" pitchFamily="34" charset="0"/>
                <a:cs typeface="Arial" panose="020B0604020202020204" pitchFamily="34" charset="0"/>
              </a:rPr>
              <a:t>Scenario: Daily administration requirement for 6-months</a:t>
            </a:r>
          </a:p>
          <a:p>
            <a:r>
              <a:rPr lang="en-US" sz="3200" b="0">
                <a:solidFill>
                  <a:schemeClr val="tx2"/>
                </a:solidFill>
                <a:latin typeface="Arial" panose="020B0604020202020204" pitchFamily="34" charset="0"/>
                <a:cs typeface="Arial" panose="020B0604020202020204" pitchFamily="34" charset="0"/>
              </a:rPr>
              <a:t>booster eligibility</a:t>
            </a:r>
            <a:r>
              <a:rPr lang="en-US" sz="3200" b="0" baseline="30000">
                <a:solidFill>
                  <a:schemeClr val="tx2"/>
                </a:solidFill>
                <a:latin typeface="Arial" panose="020B0604020202020204" pitchFamily="34" charset="0"/>
                <a:cs typeface="Arial" panose="020B0604020202020204" pitchFamily="34" charset="0"/>
              </a:rPr>
              <a:t>1,2</a:t>
            </a:r>
            <a:r>
              <a:rPr lang="en-US" sz="3200" b="0">
                <a:solidFill>
                  <a:schemeClr val="tx2"/>
                </a:solidFill>
                <a:latin typeface="Arial" panose="020B0604020202020204" pitchFamily="34" charset="0"/>
                <a:cs typeface="Arial" panose="020B0604020202020204" pitchFamily="34" charset="0"/>
              </a:rPr>
              <a:t>  </a:t>
            </a:r>
          </a:p>
        </p:txBody>
      </p:sp>
      <p:sp>
        <p:nvSpPr>
          <p:cNvPr id="101" name="Legend1">
            <a:extLst>
              <a:ext uri="{FF2B5EF4-FFF2-40B4-BE49-F238E27FC236}">
                <a16:creationId xmlns:a16="http://schemas.microsoft.com/office/drawing/2014/main" id="{31DFBD84-8200-47EA-821A-0177A21278E6}"/>
              </a:ext>
            </a:extLst>
          </p:cNvPr>
          <p:cNvSpPr txBox="1"/>
          <p:nvPr/>
        </p:nvSpPr>
        <p:spPr>
          <a:xfrm>
            <a:off x="8171632" y="908704"/>
            <a:ext cx="3665586" cy="184666"/>
          </a:xfrm>
          <a:prstGeom prst="rect">
            <a:avLst/>
          </a:prstGeom>
          <a:noFill/>
          <a:ln>
            <a:noFill/>
            <a:miter lim="800000"/>
          </a:ln>
        </p:spPr>
        <p:txBody>
          <a:bodyPr wrap="square" lIns="0" tIns="0" rIns="0" bIns="0" rtlCol="0" anchor="ctr" anchorCtr="0">
            <a:spAutoFit/>
          </a:bodyPr>
          <a:lstStyle/>
          <a:p>
            <a:pPr>
              <a:spcAft>
                <a:spcPts val="600"/>
              </a:spcAft>
            </a:pPr>
            <a:r>
              <a:rPr lang="en-US" sz="1200" b="1">
                <a:solidFill>
                  <a:schemeClr val="accent1"/>
                </a:solidFill>
              </a:rPr>
              <a:t>Aa:</a:t>
            </a:r>
            <a:r>
              <a:rPr lang="en-US" sz="1200"/>
              <a:t>  Blue text indicates defining variables and outputs</a:t>
            </a:r>
          </a:p>
        </p:txBody>
      </p:sp>
      <p:sp>
        <p:nvSpPr>
          <p:cNvPr id="103" name="4. Footnote">
            <a:extLst>
              <a:ext uri="{FF2B5EF4-FFF2-40B4-BE49-F238E27FC236}">
                <a16:creationId xmlns:a16="http://schemas.microsoft.com/office/drawing/2014/main" id="{E17387A8-6207-483D-9D10-C07FC4CF7911}"/>
              </a:ext>
            </a:extLst>
          </p:cNvPr>
          <p:cNvSpPr txBox="1"/>
          <p:nvPr>
            <p:custDataLst>
              <p:tags r:id="rId40"/>
            </p:custDataLst>
          </p:nvPr>
        </p:nvSpPr>
        <p:spPr>
          <a:xfrm>
            <a:off x="587736" y="6038360"/>
            <a:ext cx="7278624" cy="123111"/>
          </a:xfrm>
          <a:prstGeom prst="rect">
            <a:avLst/>
          </a:prstGeom>
          <a:noFill/>
        </p:spPr>
        <p:txBody>
          <a:bodyPr wrap="square" lIns="0" tIns="0" rIns="0" bIns="0" rtlCol="0" anchor="b">
            <a:noAutofit/>
          </a:bodyPr>
          <a:lstStyle>
            <a:defPPr>
              <a:defRPr lang="en-US"/>
            </a:defPPr>
            <a:lvl1pPr marL="203200" marR="0" lvl="0" indent="-212725" fontAlgn="auto">
              <a:lnSpc>
                <a:spcPct val="100000"/>
              </a:lnSpc>
              <a:spcBef>
                <a:spcPts val="0"/>
              </a:spcBef>
              <a:spcAft>
                <a:spcPts val="0"/>
              </a:spcAft>
              <a:buClrTx/>
              <a:buSzTx/>
              <a:buFontTx/>
              <a:buNone/>
              <a:tabLst/>
              <a:defRPr sz="800">
                <a:cs typeface="Arial" panose="020B0604020202020204" pitchFamily="34" charset="0"/>
              </a:defRPr>
            </a:lvl1pPr>
          </a:lstStyle>
          <a:p>
            <a:pPr lvl="0"/>
            <a:r>
              <a:rPr lang="en-US" sz="500"/>
              <a:t>1.	Scenario represented is one of many models under consideration, and is not illustrative of the full scope of scenarios considered</a:t>
            </a:r>
          </a:p>
          <a:p>
            <a:pPr lvl="0"/>
            <a:r>
              <a:rPr lang="en-US" sz="500"/>
              <a:t>2.	See detailed scenario assumptions page for additional scenario details</a:t>
            </a:r>
          </a:p>
          <a:p>
            <a:pPr lvl="0"/>
            <a:r>
              <a:rPr lang="en-US" sz="500"/>
              <a:t>3.	https://www.cnn.com/2021/09/05/health/coronavirus-fauci-moderna-vaccine-booster/index.html</a:t>
            </a:r>
          </a:p>
          <a:p>
            <a:pPr lvl="0"/>
            <a:r>
              <a:rPr lang="en-US" sz="500"/>
              <a:t>4.	Based on scenario being illustrated, as developed with CDPH working team guidance</a:t>
            </a:r>
          </a:p>
          <a:p>
            <a:pPr lvl="0"/>
            <a:r>
              <a:rPr lang="en-US" sz="500"/>
              <a:t>5.	Based on historical data as of August 16 2021 (latest historical data available at time of scenario modeling)</a:t>
            </a:r>
          </a:p>
        </p:txBody>
      </p:sp>
      <p:sp>
        <p:nvSpPr>
          <p:cNvPr id="120" name="TrackerNumBlue 53">
            <a:extLst>
              <a:ext uri="{FF2B5EF4-FFF2-40B4-BE49-F238E27FC236}">
                <a16:creationId xmlns:a16="http://schemas.microsoft.com/office/drawing/2014/main" id="{BF0288D8-0527-459C-8454-140DB11FCF43}"/>
              </a:ext>
            </a:extLst>
          </p:cNvPr>
          <p:cNvSpPr/>
          <p:nvPr>
            <p:custDataLst>
              <p:tags r:id="rId41"/>
            </p:custDataLst>
          </p:nvPr>
        </p:nvSpPr>
        <p:spPr>
          <a:xfrm>
            <a:off x="5063627" y="1909040"/>
            <a:ext cx="279400" cy="279329"/>
          </a:xfrm>
          <a:prstGeom prst="ellipse">
            <a:avLst/>
          </a:prstGeom>
          <a:solidFill>
            <a:schemeClr val="tx2">
              <a:lumMod val="85000"/>
            </a:schemeClr>
          </a:solidFill>
          <a:ln w="6350" cap="sq"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1" forceAA="0" compatLnSpc="1">
            <a:prstTxWarp prst="textNoShape">
              <a:avLst/>
            </a:prstTxWarp>
            <a:noAutofit/>
          </a:bodyPr>
          <a:lstStyle/>
          <a:p>
            <a:pPr algn="ctr">
              <a:spcBef>
                <a:spcPts val="300"/>
              </a:spcBef>
              <a:spcAft>
                <a:spcPts val="300"/>
              </a:spcAft>
            </a:pPr>
            <a:r>
              <a:rPr lang="en-US" sz="1400">
                <a:solidFill>
                  <a:schemeClr val="bg1"/>
                </a:solidFill>
              </a:rPr>
              <a:t>3</a:t>
            </a:r>
          </a:p>
        </p:txBody>
      </p:sp>
      <p:cxnSp>
        <p:nvCxnSpPr>
          <p:cNvPr id="121" name="LineBasicVerticalDefault 40">
            <a:extLst>
              <a:ext uri="{FF2B5EF4-FFF2-40B4-BE49-F238E27FC236}">
                <a16:creationId xmlns:a16="http://schemas.microsoft.com/office/drawing/2014/main" id="{587F809B-502A-475E-9A67-4DAD7CF7C412}"/>
              </a:ext>
            </a:extLst>
          </p:cNvPr>
          <p:cNvCxnSpPr>
            <a:cxnSpLocks/>
          </p:cNvCxnSpPr>
          <p:nvPr>
            <p:custDataLst>
              <p:tags r:id="rId42"/>
            </p:custDataLst>
          </p:nvPr>
        </p:nvCxnSpPr>
        <p:spPr>
          <a:xfrm>
            <a:off x="5195134" y="2219407"/>
            <a:ext cx="0" cy="1798556"/>
          </a:xfrm>
          <a:prstGeom prst="straightConnector1">
            <a:avLst/>
          </a:prstGeom>
          <a:ln w="22225" cap="flat" cmpd="sng" algn="ctr">
            <a:solidFill>
              <a:schemeClr val="bg2">
                <a:lumMod val="75000"/>
              </a:schemeClr>
            </a:solidFill>
            <a:prstDash val="dash"/>
            <a:round/>
            <a:headEnd type="none" w="med" len="med"/>
            <a:tailEnd type="none"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13221548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ABA544-A8E4-4D5C-B945-32716DD2B9B5}"/>
              </a:ext>
            </a:extLst>
          </p:cNvPr>
          <p:cNvSpPr>
            <a:spLocks noGrp="1"/>
          </p:cNvSpPr>
          <p:nvPr>
            <p:ph type="title"/>
          </p:nvPr>
        </p:nvSpPr>
        <p:spPr>
          <a:xfrm>
            <a:off x="762720" y="2157800"/>
            <a:ext cx="10515600" cy="2852737"/>
          </a:xfrm>
        </p:spPr>
        <p:txBody>
          <a:bodyPr>
            <a:normAutofit/>
          </a:bodyPr>
          <a:lstStyle/>
          <a:p>
            <a:r>
              <a:rPr lang="en-US" sz="4400">
                <a:cs typeface="Arial"/>
              </a:rPr>
              <a:t>Enrollment and CalVaxGrant Update</a:t>
            </a:r>
          </a:p>
        </p:txBody>
      </p:sp>
      <p:sp>
        <p:nvSpPr>
          <p:cNvPr id="6" name="Text Placeholder 5">
            <a:extLst>
              <a:ext uri="{FF2B5EF4-FFF2-40B4-BE49-F238E27FC236}">
                <a16:creationId xmlns:a16="http://schemas.microsoft.com/office/drawing/2014/main" id="{0777E6C7-59EE-4123-ADD8-BF83FC6CD4EF}"/>
              </a:ext>
            </a:extLst>
          </p:cNvPr>
          <p:cNvSpPr>
            <a:spLocks noGrp="1"/>
          </p:cNvSpPr>
          <p:nvPr>
            <p:ph type="body" idx="1"/>
          </p:nvPr>
        </p:nvSpPr>
        <p:spPr>
          <a:xfrm>
            <a:off x="788718" y="5047766"/>
            <a:ext cx="10515600" cy="1500187"/>
          </a:xfrm>
        </p:spPr>
        <p:txBody>
          <a:bodyPr vert="horz" lIns="91440" tIns="45720" rIns="91440" bIns="45720" rtlCol="0" anchor="t">
            <a:normAutofit/>
          </a:bodyPr>
          <a:lstStyle/>
          <a:p>
            <a:r>
              <a:rPr lang="en-US"/>
              <a:t>Nisha Gandhi, CDPH</a:t>
            </a:r>
            <a:endParaRPr lang="en-US">
              <a:cs typeface="Arial"/>
            </a:endParaRPr>
          </a:p>
        </p:txBody>
      </p:sp>
      <p:sp>
        <p:nvSpPr>
          <p:cNvPr id="4" name="Slide Number Placeholder 3">
            <a:extLst>
              <a:ext uri="{FF2B5EF4-FFF2-40B4-BE49-F238E27FC236}">
                <a16:creationId xmlns:a16="http://schemas.microsoft.com/office/drawing/2014/main" id="{A988590F-2681-4F17-A532-F8501EAF190A}"/>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61451050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02DE6-96D9-47F8-A7C8-D6C9DE4A7C97}"/>
              </a:ext>
            </a:extLst>
          </p:cNvPr>
          <p:cNvSpPr>
            <a:spLocks noGrp="1"/>
          </p:cNvSpPr>
          <p:nvPr>
            <p:ph type="title"/>
          </p:nvPr>
        </p:nvSpPr>
        <p:spPr>
          <a:xfrm>
            <a:off x="275493" y="1"/>
            <a:ext cx="10515600" cy="1047964"/>
          </a:xfrm>
        </p:spPr>
        <p:txBody>
          <a:bodyPr>
            <a:normAutofit/>
          </a:bodyPr>
          <a:lstStyle/>
          <a:p>
            <a:r>
              <a:rPr lang="en-US" sz="3600" err="1"/>
              <a:t>CalVaxGrant</a:t>
            </a:r>
            <a:r>
              <a:rPr lang="en-US" sz="3600"/>
              <a:t> Application</a:t>
            </a:r>
          </a:p>
        </p:txBody>
      </p:sp>
      <p:sp>
        <p:nvSpPr>
          <p:cNvPr id="4" name="Slide Number Placeholder 3">
            <a:extLst>
              <a:ext uri="{FF2B5EF4-FFF2-40B4-BE49-F238E27FC236}">
                <a16:creationId xmlns:a16="http://schemas.microsoft.com/office/drawing/2014/main" id="{95512496-CEE0-41FD-92DC-8A1BC7F138B1}"/>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Content Placeholder 2">
            <a:extLst>
              <a:ext uri="{FF2B5EF4-FFF2-40B4-BE49-F238E27FC236}">
                <a16:creationId xmlns:a16="http://schemas.microsoft.com/office/drawing/2014/main" id="{131A5BB4-F645-41A2-9624-983F15C9B9C7}"/>
              </a:ext>
            </a:extLst>
          </p:cNvPr>
          <p:cNvSpPr txBox="1">
            <a:spLocks noGrp="1"/>
          </p:cNvSpPr>
          <p:nvPr>
            <p:ph idx="1"/>
          </p:nvPr>
        </p:nvSpPr>
        <p:spPr>
          <a:xfrm>
            <a:off x="198120" y="1167788"/>
            <a:ext cx="11795760" cy="376776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200" b="1">
                <a:solidFill>
                  <a:schemeClr val="accent1"/>
                </a:solidFill>
              </a:rPr>
              <a:t>The deadline for the </a:t>
            </a:r>
            <a:r>
              <a:rPr lang="en-US" sz="3200" b="1" err="1">
                <a:solidFill>
                  <a:schemeClr val="accent1"/>
                </a:solidFill>
              </a:rPr>
              <a:t>CalVaxGrant</a:t>
            </a:r>
            <a:r>
              <a:rPr lang="en-US" sz="3200" b="1">
                <a:solidFill>
                  <a:schemeClr val="accent1"/>
                </a:solidFill>
              </a:rPr>
              <a:t> application has been extended to October 15, 2021!</a:t>
            </a:r>
          </a:p>
          <a:p>
            <a:pPr marL="0" indent="0">
              <a:buNone/>
            </a:pPr>
            <a:endParaRPr lang="en-US" sz="2000" b="1"/>
          </a:p>
          <a:p>
            <a:pPr marL="0" indent="0">
              <a:buNone/>
            </a:pPr>
            <a:r>
              <a:rPr lang="en-US" sz="2000" b="1"/>
              <a:t>Reminder – To apply you must:</a:t>
            </a:r>
          </a:p>
          <a:p>
            <a:pPr>
              <a:buClr>
                <a:schemeClr val="accent1"/>
              </a:buClr>
            </a:pPr>
            <a:r>
              <a:rPr lang="en-US" sz="2000"/>
              <a:t>Be a small practice provider, school, school-based clinic, and independent pharmacy with 200 physicians or fewer.</a:t>
            </a:r>
          </a:p>
          <a:p>
            <a:pPr>
              <a:buClr>
                <a:schemeClr val="accent1"/>
              </a:buClr>
            </a:pPr>
            <a:r>
              <a:rPr lang="en-US" sz="2000"/>
              <a:t>Expend or plan to expend award on allowable expenses (noted on website).</a:t>
            </a:r>
          </a:p>
          <a:p>
            <a:pPr>
              <a:buClr>
                <a:schemeClr val="accent1"/>
              </a:buClr>
            </a:pPr>
            <a:r>
              <a:rPr lang="en-US" sz="2000"/>
              <a:t>Have not received money from the State Innovation Fund.</a:t>
            </a:r>
          </a:p>
        </p:txBody>
      </p:sp>
      <p:sp>
        <p:nvSpPr>
          <p:cNvPr id="5" name="TextBox 4">
            <a:extLst>
              <a:ext uri="{FF2B5EF4-FFF2-40B4-BE49-F238E27FC236}">
                <a16:creationId xmlns:a16="http://schemas.microsoft.com/office/drawing/2014/main" id="{B4B5BB66-1786-4708-96BA-070B0BAE8DAC}"/>
              </a:ext>
            </a:extLst>
          </p:cNvPr>
          <p:cNvSpPr txBox="1"/>
          <p:nvPr/>
        </p:nvSpPr>
        <p:spPr>
          <a:xfrm>
            <a:off x="1303662" y="5290942"/>
            <a:ext cx="9584675" cy="646331"/>
          </a:xfrm>
          <a:prstGeom prst="rect">
            <a:avLst/>
          </a:prstGeom>
          <a:noFill/>
          <a:ln w="190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Visit the </a:t>
            </a:r>
            <a:r>
              <a:rPr kumimoji="0" lang="en-US" sz="1800" b="0" i="0" u="none" strike="noStrike" kern="1200" cap="none" spc="0" normalizeH="0" baseline="0" noProof="0" err="1">
                <a:ln>
                  <a:noFill/>
                </a:ln>
                <a:solidFill>
                  <a:srgbClr val="000000"/>
                </a:solidFill>
                <a:effectLst/>
                <a:uLnTx/>
                <a:uFillTx/>
                <a:latin typeface="Arial" panose="020B0604020202020204"/>
                <a:ea typeface="+mn-ea"/>
                <a:cs typeface="+mn-cs"/>
                <a:hlinkClick r:id="rId2"/>
              </a:rPr>
              <a:t>CalVaxGrant</a:t>
            </a: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 website for more information.</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ea"/>
                <a:cs typeface="+mn-cs"/>
              </a:rPr>
              <a:t>If you have additional questions, email CalVaxGrant@phcdocs.org</a:t>
            </a:r>
          </a:p>
        </p:txBody>
      </p:sp>
    </p:spTree>
    <p:extLst>
      <p:ext uri="{BB962C8B-B14F-4D97-AF65-F5344CB8AC3E}">
        <p14:creationId xmlns:p14="http://schemas.microsoft.com/office/powerpoint/2010/main" val="187725883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6DF95F0-6CD4-40DD-89FE-F46264647644}"/>
              </a:ext>
            </a:extLst>
          </p:cNvPr>
          <p:cNvSpPr>
            <a:spLocks noGrp="1"/>
          </p:cNvSpPr>
          <p:nvPr>
            <p:ph type="title"/>
          </p:nvPr>
        </p:nvSpPr>
        <p:spPr>
          <a:xfrm>
            <a:off x="838200" y="122671"/>
            <a:ext cx="10515600" cy="1325563"/>
          </a:xfrm>
        </p:spPr>
        <p:txBody>
          <a:bodyPr>
            <a:normAutofit/>
          </a:bodyPr>
          <a:lstStyle/>
          <a:p>
            <a:r>
              <a:rPr lang="en-US" sz="3600"/>
              <a:t>Latest </a:t>
            </a:r>
            <a:r>
              <a:rPr lang="en-US" sz="3600" err="1"/>
              <a:t>CalVaxGrant</a:t>
            </a:r>
            <a:r>
              <a:rPr lang="en-US" sz="3600"/>
              <a:t> Stats</a:t>
            </a:r>
            <a:endParaRPr lang="en-US" sz="3600">
              <a:cs typeface="Arial"/>
            </a:endParaRPr>
          </a:p>
        </p:txBody>
      </p:sp>
      <p:sp>
        <p:nvSpPr>
          <p:cNvPr id="5" name="Content Placeholder 4">
            <a:extLst>
              <a:ext uri="{FF2B5EF4-FFF2-40B4-BE49-F238E27FC236}">
                <a16:creationId xmlns:a16="http://schemas.microsoft.com/office/drawing/2014/main" id="{61886E42-EFF2-411E-9139-AA2E90D17E5F}"/>
              </a:ext>
            </a:extLst>
          </p:cNvPr>
          <p:cNvSpPr>
            <a:spLocks noGrp="1"/>
          </p:cNvSpPr>
          <p:nvPr>
            <p:ph idx="1"/>
          </p:nvPr>
        </p:nvSpPr>
        <p:spPr>
          <a:xfrm>
            <a:off x="838200" y="1329171"/>
            <a:ext cx="7819552" cy="4847792"/>
          </a:xfrm>
        </p:spPr>
        <p:txBody>
          <a:bodyPr vert="horz" lIns="91440" tIns="45720" rIns="91440" bIns="45720" rtlCol="0" anchor="t">
            <a:normAutofit/>
          </a:bodyPr>
          <a:lstStyle/>
          <a:p>
            <a:pPr>
              <a:lnSpc>
                <a:spcPct val="100000"/>
              </a:lnSpc>
            </a:pPr>
            <a:r>
              <a:rPr lang="en-US">
                <a:cs typeface="Arial"/>
              </a:rPr>
              <a:t>For a full list of eligible Providers visit </a:t>
            </a:r>
            <a:r>
              <a:rPr lang="en-US">
                <a:cs typeface="Arial"/>
                <a:hlinkClick r:id="rId2"/>
              </a:rPr>
              <a:t>PHC website</a:t>
            </a:r>
            <a:r>
              <a:rPr lang="en-US">
                <a:cs typeface="Arial"/>
              </a:rPr>
              <a:t> </a:t>
            </a:r>
          </a:p>
          <a:p>
            <a:pPr>
              <a:lnSpc>
                <a:spcPct val="100000"/>
              </a:lnSpc>
            </a:pPr>
            <a:r>
              <a:rPr lang="en-US"/>
              <a:t>Latest stats: </a:t>
            </a:r>
            <a:endParaRPr lang="en-US">
              <a:cs typeface="Arial" panose="020B0604020202020204"/>
            </a:endParaRPr>
          </a:p>
        </p:txBody>
      </p:sp>
      <p:graphicFrame>
        <p:nvGraphicFramePr>
          <p:cNvPr id="2" name="Table 2">
            <a:extLst>
              <a:ext uri="{FF2B5EF4-FFF2-40B4-BE49-F238E27FC236}">
                <a16:creationId xmlns:a16="http://schemas.microsoft.com/office/drawing/2014/main" id="{BA27A9F5-8B2F-43FB-B1C1-EB29FF51CA3A}"/>
              </a:ext>
            </a:extLst>
          </p:cNvPr>
          <p:cNvGraphicFramePr>
            <a:graphicFrameLocks noGrp="1"/>
          </p:cNvGraphicFramePr>
          <p:nvPr>
            <p:extLst>
              <p:ext uri="{D42A27DB-BD31-4B8C-83A1-F6EECF244321}">
                <p14:modId xmlns:p14="http://schemas.microsoft.com/office/powerpoint/2010/main" val="927929005"/>
              </p:ext>
            </p:extLst>
          </p:nvPr>
        </p:nvGraphicFramePr>
        <p:xfrm>
          <a:off x="2306052" y="2997868"/>
          <a:ext cx="5610398" cy="2580263"/>
        </p:xfrm>
        <a:graphic>
          <a:graphicData uri="http://schemas.openxmlformats.org/drawingml/2006/table">
            <a:tbl>
              <a:tblPr firstRow="1" bandRow="1">
                <a:tableStyleId>{8A107856-5554-42FB-B03E-39F5DBC370BA}</a:tableStyleId>
              </a:tblPr>
              <a:tblGrid>
                <a:gridCol w="3180915">
                  <a:extLst>
                    <a:ext uri="{9D8B030D-6E8A-4147-A177-3AD203B41FA5}">
                      <a16:colId xmlns:a16="http://schemas.microsoft.com/office/drawing/2014/main" val="2673544853"/>
                    </a:ext>
                  </a:extLst>
                </a:gridCol>
                <a:gridCol w="2429483">
                  <a:extLst>
                    <a:ext uri="{9D8B030D-6E8A-4147-A177-3AD203B41FA5}">
                      <a16:colId xmlns:a16="http://schemas.microsoft.com/office/drawing/2014/main" val="1061778909"/>
                    </a:ext>
                  </a:extLst>
                </a:gridCol>
              </a:tblGrid>
              <a:tr h="576513">
                <a:tc>
                  <a:txBody>
                    <a:bodyPr/>
                    <a:lstStyle/>
                    <a:p>
                      <a:pPr lvl="0">
                        <a:buNone/>
                      </a:pPr>
                      <a:r>
                        <a:rPr lang="en-US" sz="1600" b="1"/>
                        <a:t>Category</a:t>
                      </a:r>
                    </a:p>
                  </a:txBody>
                  <a:tcPr/>
                </a:tc>
                <a:tc>
                  <a:txBody>
                    <a:bodyPr/>
                    <a:lstStyle/>
                    <a:p>
                      <a:pPr algn="r"/>
                      <a:r>
                        <a:rPr lang="en-US" sz="1600" b="1"/>
                        <a:t># applications</a:t>
                      </a:r>
                    </a:p>
                  </a:txBody>
                  <a:tcPr/>
                </a:tc>
                <a:extLst>
                  <a:ext uri="{0D108BD9-81ED-4DB2-BD59-A6C34878D82A}">
                    <a16:rowId xmlns:a16="http://schemas.microsoft.com/office/drawing/2014/main" val="37837442"/>
                  </a:ext>
                </a:extLst>
              </a:tr>
              <a:tr h="398005">
                <a:tc>
                  <a:txBody>
                    <a:bodyPr/>
                    <a:lstStyle/>
                    <a:p>
                      <a:pPr lvl="0">
                        <a:buNone/>
                      </a:pPr>
                      <a:r>
                        <a:rPr lang="en-US" b="0"/>
                        <a:t>Approved</a:t>
                      </a:r>
                      <a:endParaRPr lang="en-US"/>
                    </a:p>
                  </a:txBody>
                  <a:tcPr/>
                </a:tc>
                <a:tc>
                  <a:txBody>
                    <a:bodyPr/>
                    <a:lstStyle/>
                    <a:p>
                      <a:pPr lvl="0" algn="r">
                        <a:buNone/>
                      </a:pPr>
                      <a:r>
                        <a:rPr lang="en-US" b="0"/>
                        <a:t>975</a:t>
                      </a:r>
                      <a:endParaRPr lang="en-US"/>
                    </a:p>
                  </a:txBody>
                  <a:tcPr/>
                </a:tc>
                <a:extLst>
                  <a:ext uri="{0D108BD9-81ED-4DB2-BD59-A6C34878D82A}">
                    <a16:rowId xmlns:a16="http://schemas.microsoft.com/office/drawing/2014/main" val="3780297486"/>
                  </a:ext>
                </a:extLst>
              </a:tr>
              <a:tr h="411730">
                <a:tc>
                  <a:txBody>
                    <a:bodyPr/>
                    <a:lstStyle/>
                    <a:p>
                      <a:pPr lvl="0">
                        <a:buNone/>
                      </a:pPr>
                      <a:r>
                        <a:rPr lang="en-US"/>
                        <a:t>Pending</a:t>
                      </a:r>
                    </a:p>
                  </a:txBody>
                  <a:tcPr/>
                </a:tc>
                <a:tc>
                  <a:txBody>
                    <a:bodyPr/>
                    <a:lstStyle/>
                    <a:p>
                      <a:pPr lvl="0" algn="r">
                        <a:buNone/>
                      </a:pPr>
                      <a:r>
                        <a:rPr lang="en-US"/>
                        <a:t>48</a:t>
                      </a:r>
                    </a:p>
                  </a:txBody>
                  <a:tcPr/>
                </a:tc>
                <a:extLst>
                  <a:ext uri="{0D108BD9-81ED-4DB2-BD59-A6C34878D82A}">
                    <a16:rowId xmlns:a16="http://schemas.microsoft.com/office/drawing/2014/main" val="2278273021"/>
                  </a:ext>
                </a:extLst>
              </a:tr>
              <a:tr h="398005">
                <a:tc>
                  <a:txBody>
                    <a:bodyPr/>
                    <a:lstStyle/>
                    <a:p>
                      <a:pPr lvl="0">
                        <a:buNone/>
                      </a:pPr>
                      <a:r>
                        <a:rPr lang="en-US"/>
                        <a:t>Not eligible</a:t>
                      </a:r>
                    </a:p>
                  </a:txBody>
                  <a:tcPr/>
                </a:tc>
                <a:tc>
                  <a:txBody>
                    <a:bodyPr/>
                    <a:lstStyle/>
                    <a:p>
                      <a:pPr lvl="0" algn="r">
                        <a:buNone/>
                      </a:pPr>
                      <a:r>
                        <a:rPr lang="en-US"/>
                        <a:t>16</a:t>
                      </a:r>
                    </a:p>
                  </a:txBody>
                  <a:tcPr/>
                </a:tc>
                <a:extLst>
                  <a:ext uri="{0D108BD9-81ED-4DB2-BD59-A6C34878D82A}">
                    <a16:rowId xmlns:a16="http://schemas.microsoft.com/office/drawing/2014/main" val="3918825502"/>
                  </a:ext>
                </a:extLst>
              </a:tr>
              <a:tr h="398005">
                <a:tc>
                  <a:txBody>
                    <a:bodyPr/>
                    <a:lstStyle/>
                    <a:p>
                      <a:pPr lvl="0">
                        <a:buNone/>
                      </a:pPr>
                      <a:r>
                        <a:rPr lang="en-US"/>
                        <a:t>Incomplete</a:t>
                      </a:r>
                      <a:endParaRPr lang="en-US" b="1"/>
                    </a:p>
                  </a:txBody>
                  <a:tcPr/>
                </a:tc>
                <a:tc>
                  <a:txBody>
                    <a:bodyPr/>
                    <a:lstStyle/>
                    <a:p>
                      <a:pPr lvl="0" algn="r">
                        <a:buNone/>
                      </a:pPr>
                      <a:r>
                        <a:rPr lang="en-US"/>
                        <a:t>458</a:t>
                      </a:r>
                    </a:p>
                  </a:txBody>
                  <a:tcPr/>
                </a:tc>
                <a:extLst>
                  <a:ext uri="{0D108BD9-81ED-4DB2-BD59-A6C34878D82A}">
                    <a16:rowId xmlns:a16="http://schemas.microsoft.com/office/drawing/2014/main" val="1987738167"/>
                  </a:ext>
                </a:extLst>
              </a:tr>
              <a:tr h="398005">
                <a:tc>
                  <a:txBody>
                    <a:bodyPr/>
                    <a:lstStyle/>
                    <a:p>
                      <a:pPr lvl="0">
                        <a:buNone/>
                      </a:pPr>
                      <a:r>
                        <a:rPr lang="en-US" b="1"/>
                        <a:t>Total</a:t>
                      </a:r>
                      <a:endParaRPr lang="en-US"/>
                    </a:p>
                  </a:txBody>
                  <a:tcPr/>
                </a:tc>
                <a:tc>
                  <a:txBody>
                    <a:bodyPr/>
                    <a:lstStyle/>
                    <a:p>
                      <a:pPr lvl="0" algn="r">
                        <a:buNone/>
                      </a:pPr>
                      <a:r>
                        <a:rPr lang="en-US" b="1"/>
                        <a:t>1497</a:t>
                      </a:r>
                    </a:p>
                  </a:txBody>
                  <a:tcPr/>
                </a:tc>
                <a:extLst>
                  <a:ext uri="{0D108BD9-81ED-4DB2-BD59-A6C34878D82A}">
                    <a16:rowId xmlns:a16="http://schemas.microsoft.com/office/drawing/2014/main" val="1051716734"/>
                  </a:ext>
                </a:extLst>
              </a:tr>
            </a:tbl>
          </a:graphicData>
        </a:graphic>
      </p:graphicFrame>
      <p:sp>
        <p:nvSpPr>
          <p:cNvPr id="3" name="TextBox 2">
            <a:extLst>
              <a:ext uri="{FF2B5EF4-FFF2-40B4-BE49-F238E27FC236}">
                <a16:creationId xmlns:a16="http://schemas.microsoft.com/office/drawing/2014/main" id="{9AD44355-F40B-41F4-B79A-42A30F8AA66C}"/>
              </a:ext>
            </a:extLst>
          </p:cNvPr>
          <p:cNvSpPr txBox="1"/>
          <p:nvPr/>
        </p:nvSpPr>
        <p:spPr>
          <a:xfrm>
            <a:off x="10275331" y="1196144"/>
            <a:ext cx="1573873" cy="923330"/>
          </a:xfrm>
          <a:prstGeom prst="rect">
            <a:avLst/>
          </a:prstGeom>
          <a:noFill/>
          <a:ln>
            <a:no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en-US" sz="1800" b="1" i="0" u="none" strike="noStrike" kern="1200" cap="none" spc="0" normalizeH="0" baseline="0" noProof="0">
                <a:ln>
                  <a:noFill/>
                </a:ln>
                <a:solidFill>
                  <a:srgbClr val="20479E"/>
                </a:solidFill>
                <a:effectLst/>
                <a:uLnTx/>
                <a:uFillTx/>
                <a:latin typeface="Arial" panose="020B0604020202020204"/>
                <a:ea typeface="+mn-ea"/>
                <a:cs typeface="+mn-cs"/>
              </a:rPr>
              <a:t>$</a:t>
            </a:r>
            <a:r>
              <a:rPr lang="en-US" b="1">
                <a:solidFill>
                  <a:srgbClr val="20479E"/>
                </a:solidFill>
                <a:latin typeface="Arial" panose="020B0604020202020204"/>
              </a:rPr>
              <a:t>20.3 </a:t>
            </a:r>
            <a:r>
              <a:rPr kumimoji="0" lang="en-US" sz="1800" b="1" i="0" u="none" strike="noStrike" kern="1200" cap="none" spc="0" normalizeH="0" baseline="0" noProof="0">
                <a:ln>
                  <a:noFill/>
                </a:ln>
                <a:solidFill>
                  <a:srgbClr val="20479E"/>
                </a:solidFill>
                <a:effectLst/>
                <a:uLnTx/>
                <a:uFillTx/>
                <a:latin typeface="Arial" panose="020B0604020202020204"/>
                <a:ea typeface="+mn-ea"/>
                <a:cs typeface="+mn-cs"/>
              </a:rPr>
              <a:t>million in funding requested</a:t>
            </a:r>
          </a:p>
        </p:txBody>
      </p:sp>
      <p:sp>
        <p:nvSpPr>
          <p:cNvPr id="9" name="Rectangle 8">
            <a:extLst>
              <a:ext uri="{FF2B5EF4-FFF2-40B4-BE49-F238E27FC236}">
                <a16:creationId xmlns:a16="http://schemas.microsoft.com/office/drawing/2014/main" id="{22DC30FA-69A3-4ACA-99DE-CEEEB7EB90BC}"/>
              </a:ext>
            </a:extLst>
          </p:cNvPr>
          <p:cNvSpPr/>
          <p:nvPr/>
        </p:nvSpPr>
        <p:spPr>
          <a:xfrm>
            <a:off x="8954777" y="3661844"/>
            <a:ext cx="944499" cy="2378878"/>
          </a:xfrm>
          <a:prstGeom prst="rect">
            <a:avLst/>
          </a:prstGeom>
          <a:solidFill>
            <a:schemeClr val="accent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7" name="Left Bracket 6">
            <a:extLst>
              <a:ext uri="{FF2B5EF4-FFF2-40B4-BE49-F238E27FC236}">
                <a16:creationId xmlns:a16="http://schemas.microsoft.com/office/drawing/2014/main" id="{25D4BF10-4E6A-C445-A3DA-53E77D076BC2}"/>
              </a:ext>
            </a:extLst>
          </p:cNvPr>
          <p:cNvSpPr/>
          <p:nvPr/>
        </p:nvSpPr>
        <p:spPr>
          <a:xfrm rot="10800000">
            <a:off x="10014425" y="624287"/>
            <a:ext cx="121043" cy="2980181"/>
          </a:xfrm>
          <a:prstGeom prst="leftBracket">
            <a:avLst/>
          </a:prstGeom>
          <a:ln w="28575">
            <a:solidFill>
              <a:schemeClr val="tx2"/>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0DC35DE5-24C6-0D47-ACC6-024B6CE56AB2}"/>
              </a:ext>
            </a:extLst>
          </p:cNvPr>
          <p:cNvSpPr txBox="1"/>
          <p:nvPr/>
        </p:nvSpPr>
        <p:spPr>
          <a:xfrm>
            <a:off x="10149847" y="3564280"/>
            <a:ext cx="1961941" cy="101566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defRPr/>
            </a:pPr>
            <a:r>
              <a:rPr kumimoji="0" lang="en-US" sz="2000" b="1" i="0" u="none" strike="noStrike" kern="1200" cap="none" spc="0" normalizeH="0" baseline="0" noProof="0">
                <a:ln>
                  <a:noFill/>
                </a:ln>
                <a:solidFill>
                  <a:srgbClr val="F37D20"/>
                </a:solidFill>
                <a:effectLst/>
                <a:uLnTx/>
                <a:uFillTx/>
                <a:latin typeface="Arial" panose="020B0604020202020204"/>
                <a:ea typeface="+mn-ea"/>
                <a:cs typeface="+mn-cs"/>
              </a:rPr>
              <a:t>$</a:t>
            </a:r>
            <a:r>
              <a:rPr lang="en-US" sz="2000" b="1">
                <a:solidFill>
                  <a:srgbClr val="F37D20"/>
                </a:solidFill>
                <a:latin typeface="Arial" panose="020B0604020202020204"/>
              </a:rPr>
              <a:t>16.7 million</a:t>
            </a:r>
            <a:r>
              <a:rPr kumimoji="0" lang="en-US" sz="2000" b="1" i="0" u="none" strike="noStrike" kern="1200" cap="none" spc="0" normalizeH="0" baseline="0" noProof="0">
                <a:ln>
                  <a:noFill/>
                </a:ln>
                <a:solidFill>
                  <a:srgbClr val="F37D20"/>
                </a:solidFill>
                <a:effectLst/>
                <a:uLnTx/>
                <a:uFillTx/>
                <a:latin typeface="Arial" panose="020B0604020202020204"/>
                <a:ea typeface="+mn-ea"/>
                <a:cs typeface="+mn-cs"/>
              </a:rPr>
              <a:t> in funding remaining</a:t>
            </a:r>
            <a:endParaRPr lang="en-US">
              <a:cs typeface="Arial"/>
            </a:endParaRPr>
          </a:p>
        </p:txBody>
      </p:sp>
      <p:sp>
        <p:nvSpPr>
          <p:cNvPr id="6" name="Rectangle 5">
            <a:extLst>
              <a:ext uri="{FF2B5EF4-FFF2-40B4-BE49-F238E27FC236}">
                <a16:creationId xmlns:a16="http://schemas.microsoft.com/office/drawing/2014/main" id="{0BB09307-32FF-4553-A3AA-4C6D6B7FE863}"/>
              </a:ext>
            </a:extLst>
          </p:cNvPr>
          <p:cNvSpPr/>
          <p:nvPr/>
        </p:nvSpPr>
        <p:spPr>
          <a:xfrm>
            <a:off x="8953699" y="657958"/>
            <a:ext cx="958681" cy="2967298"/>
          </a:xfrm>
          <a:prstGeom prst="rect">
            <a:avLst/>
          </a:prstGeom>
          <a:noFill/>
          <a:ln w="571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Slide Number Placeholder 7">
            <a:extLst>
              <a:ext uri="{FF2B5EF4-FFF2-40B4-BE49-F238E27FC236}">
                <a16:creationId xmlns:a16="http://schemas.microsoft.com/office/drawing/2014/main" id="{BFD289AB-E8E9-48A3-8543-1A22D47B5A7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6" name="Picture 6">
            <a:extLst>
              <a:ext uri="{FF2B5EF4-FFF2-40B4-BE49-F238E27FC236}">
                <a16:creationId xmlns:a16="http://schemas.microsoft.com/office/drawing/2014/main" id="{16BFCFF3-4713-4314-977E-E79C18F56DCC}"/>
              </a:ext>
            </a:extLst>
          </p:cNvPr>
          <p:cNvPicPr>
            <a:picLocks noChangeAspect="1"/>
          </p:cNvPicPr>
          <p:nvPr/>
        </p:nvPicPr>
        <p:blipFill>
          <a:blip r:embed="rId3"/>
          <a:stretch>
            <a:fillRect/>
          </a:stretch>
        </p:blipFill>
        <p:spPr>
          <a:xfrm>
            <a:off x="150331" y="5374684"/>
            <a:ext cx="1812852" cy="663428"/>
          </a:xfrm>
          <a:prstGeom prst="rect">
            <a:avLst/>
          </a:prstGeom>
        </p:spPr>
      </p:pic>
    </p:spTree>
    <p:extLst>
      <p:ext uri="{BB962C8B-B14F-4D97-AF65-F5344CB8AC3E}">
        <p14:creationId xmlns:p14="http://schemas.microsoft.com/office/powerpoint/2010/main" val="24369212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5ABA544-A8E4-4D5C-B945-32716DD2B9B5}"/>
              </a:ext>
            </a:extLst>
          </p:cNvPr>
          <p:cNvSpPr>
            <a:spLocks noGrp="1"/>
          </p:cNvSpPr>
          <p:nvPr>
            <p:ph type="title"/>
          </p:nvPr>
        </p:nvSpPr>
        <p:spPr>
          <a:xfrm>
            <a:off x="701508" y="2227512"/>
            <a:ext cx="10515600" cy="2852737"/>
          </a:xfrm>
        </p:spPr>
        <p:txBody>
          <a:bodyPr>
            <a:normAutofit/>
          </a:bodyPr>
          <a:lstStyle/>
          <a:p>
            <a:r>
              <a:rPr lang="en-US" sz="4400">
                <a:cs typeface="Arial"/>
              </a:rPr>
              <a:t>Clinical Update</a:t>
            </a:r>
          </a:p>
        </p:txBody>
      </p:sp>
      <p:sp>
        <p:nvSpPr>
          <p:cNvPr id="6" name="Text Placeholder 5">
            <a:extLst>
              <a:ext uri="{FF2B5EF4-FFF2-40B4-BE49-F238E27FC236}">
                <a16:creationId xmlns:a16="http://schemas.microsoft.com/office/drawing/2014/main" id="{0777E6C7-59EE-4123-ADD8-BF83FC6CD4EF}"/>
              </a:ext>
            </a:extLst>
          </p:cNvPr>
          <p:cNvSpPr>
            <a:spLocks noGrp="1"/>
          </p:cNvSpPr>
          <p:nvPr>
            <p:ph type="body" idx="1"/>
          </p:nvPr>
        </p:nvSpPr>
        <p:spPr>
          <a:xfrm>
            <a:off x="833976" y="5215047"/>
            <a:ext cx="10515600" cy="1500187"/>
          </a:xfrm>
        </p:spPr>
        <p:txBody>
          <a:bodyPr vert="horz" lIns="0" tIns="0" rIns="0" bIns="0" rtlCol="0" anchor="t">
            <a:normAutofit/>
          </a:bodyPr>
          <a:lstStyle/>
          <a:p>
            <a:r>
              <a:rPr lang="en-US">
                <a:cs typeface="Arial"/>
              </a:rPr>
              <a:t>Dr. Louise McNitt, CDPH</a:t>
            </a:r>
          </a:p>
          <a:p>
            <a:endParaRPr lang="en-US"/>
          </a:p>
        </p:txBody>
      </p:sp>
      <p:sp>
        <p:nvSpPr>
          <p:cNvPr id="4" name="Slide Number Placeholder 3">
            <a:extLst>
              <a:ext uri="{FF2B5EF4-FFF2-40B4-BE49-F238E27FC236}">
                <a16:creationId xmlns:a16="http://schemas.microsoft.com/office/drawing/2014/main" id="{A988590F-2681-4F17-A532-F8501EAF190A}"/>
              </a:ext>
            </a:extLst>
          </p:cNvPr>
          <p:cNvSpPr>
            <a:spLocks noGrp="1"/>
          </p:cNvSpPr>
          <p:nvPr>
            <p:ph type="sldNum" sz="quarter" idx="12"/>
          </p:nvPr>
        </p:nvSpPr>
        <p:spPr>
          <a:xfrm>
            <a:off x="9159875" y="6356350"/>
            <a:ext cx="2743200" cy="365125"/>
          </a:xfrm>
        </p:spPr>
        <p:txBody>
          <a:bodyPr/>
          <a:lstStyle/>
          <a:p>
            <a:fld id="{13D703BF-151A-0D40-8508-CABBAD09F9A9}" type="slidenum">
              <a:rPr lang="en-US" smtClean="0"/>
              <a:pPr/>
              <a:t>26</a:t>
            </a:fld>
            <a:endParaRPr lang="en-US"/>
          </a:p>
        </p:txBody>
      </p:sp>
    </p:spTree>
    <p:extLst>
      <p:ext uri="{BB962C8B-B14F-4D97-AF65-F5344CB8AC3E}">
        <p14:creationId xmlns:p14="http://schemas.microsoft.com/office/powerpoint/2010/main" val="379820451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C945A96E-B143-43A4-8739-15FCECEFDCFF}"/>
              </a:ext>
            </a:extLst>
          </p:cNvPr>
          <p:cNvSpPr>
            <a:spLocks noGrp="1"/>
          </p:cNvSpPr>
          <p:nvPr>
            <p:ph type="title"/>
          </p:nvPr>
        </p:nvSpPr>
        <p:spPr>
          <a:xfrm>
            <a:off x="675249" y="511396"/>
            <a:ext cx="10678551" cy="1325563"/>
          </a:xfrm>
        </p:spPr>
        <p:txBody>
          <a:bodyPr>
            <a:normAutofit/>
          </a:bodyPr>
          <a:lstStyle/>
          <a:p>
            <a:r>
              <a:rPr lang="en-US" sz="3600"/>
              <a:t>While Waiting for Booster Dose Recommendations:</a:t>
            </a:r>
            <a:endParaRPr lang="en-US" sz="3600">
              <a:cs typeface="Arial"/>
            </a:endParaRPr>
          </a:p>
        </p:txBody>
      </p:sp>
      <p:sp>
        <p:nvSpPr>
          <p:cNvPr id="7" name="Content Placeholder 6">
            <a:extLst>
              <a:ext uri="{FF2B5EF4-FFF2-40B4-BE49-F238E27FC236}">
                <a16:creationId xmlns:a16="http://schemas.microsoft.com/office/drawing/2014/main" id="{81719F76-9F2B-4732-BD04-594401401B6B}"/>
              </a:ext>
            </a:extLst>
          </p:cNvPr>
          <p:cNvSpPr>
            <a:spLocks noGrp="1"/>
          </p:cNvSpPr>
          <p:nvPr>
            <p:ph idx="1"/>
          </p:nvPr>
        </p:nvSpPr>
        <p:spPr>
          <a:xfrm>
            <a:off x="984738" y="1961322"/>
            <a:ext cx="10369062" cy="4270665"/>
          </a:xfrm>
        </p:spPr>
        <p:txBody>
          <a:bodyPr vert="horz" lIns="91440" tIns="45720" rIns="91440" bIns="45720" rtlCol="0" anchor="t">
            <a:normAutofit/>
          </a:bodyPr>
          <a:lstStyle/>
          <a:p>
            <a:pPr>
              <a:lnSpc>
                <a:spcPct val="120000"/>
              </a:lnSpc>
            </a:pPr>
            <a:r>
              <a:rPr lang="en-US" sz="2600">
                <a:solidFill>
                  <a:srgbClr val="060606"/>
                </a:solidFill>
              </a:rPr>
              <a:t>Outreach</a:t>
            </a:r>
            <a:r>
              <a:rPr lang="en-US" sz="2600" b="0" i="0">
                <a:solidFill>
                  <a:srgbClr val="060606"/>
                </a:solidFill>
                <a:effectLst/>
              </a:rPr>
              <a:t> </a:t>
            </a:r>
            <a:r>
              <a:rPr lang="en-US" sz="2600">
                <a:solidFill>
                  <a:srgbClr val="060606"/>
                </a:solidFill>
              </a:rPr>
              <a:t>to </a:t>
            </a:r>
            <a:r>
              <a:rPr lang="en-US" sz="2600" b="0" i="0" u="sng">
                <a:solidFill>
                  <a:srgbClr val="060606"/>
                </a:solidFill>
                <a:effectLst/>
              </a:rPr>
              <a:t>immunocompromised patients</a:t>
            </a:r>
            <a:r>
              <a:rPr lang="en-US" sz="2600" b="0" i="0">
                <a:solidFill>
                  <a:srgbClr val="060606"/>
                </a:solidFill>
                <a:effectLst/>
              </a:rPr>
              <a:t> for an </a:t>
            </a:r>
            <a:r>
              <a:rPr lang="en-US" sz="2600" b="0" i="0" u="sng">
                <a:solidFill>
                  <a:srgbClr val="060606"/>
                </a:solidFill>
                <a:effectLst/>
              </a:rPr>
              <a:t>additional dose</a:t>
            </a:r>
            <a:r>
              <a:rPr lang="en-US" sz="2600" b="0" i="0">
                <a:solidFill>
                  <a:srgbClr val="060606"/>
                </a:solidFill>
                <a:effectLst/>
              </a:rPr>
              <a:t>.</a:t>
            </a:r>
            <a:endParaRPr lang="en-US" sz="2600"/>
          </a:p>
          <a:p>
            <a:pPr>
              <a:lnSpc>
                <a:spcPct val="120000"/>
              </a:lnSpc>
            </a:pPr>
            <a:r>
              <a:rPr lang="en-US" sz="2600">
                <a:solidFill>
                  <a:srgbClr val="060606"/>
                </a:solidFill>
              </a:rPr>
              <a:t>Outreach</a:t>
            </a:r>
            <a:r>
              <a:rPr lang="en-US" sz="2600" b="0" i="0">
                <a:solidFill>
                  <a:srgbClr val="060606"/>
                </a:solidFill>
                <a:effectLst/>
              </a:rPr>
              <a:t> to patients who </a:t>
            </a:r>
            <a:r>
              <a:rPr lang="en-US" sz="2600">
                <a:solidFill>
                  <a:srgbClr val="060606"/>
                </a:solidFill>
              </a:rPr>
              <a:t>have not</a:t>
            </a:r>
            <a:r>
              <a:rPr lang="en-US" sz="2600" b="0" i="0">
                <a:solidFill>
                  <a:srgbClr val="060606"/>
                </a:solidFill>
                <a:effectLst/>
              </a:rPr>
              <a:t> been vaccinated for COVID-19.</a:t>
            </a:r>
            <a:endParaRPr lang="en-US" sz="2600" b="0" i="0">
              <a:solidFill>
                <a:srgbClr val="060606"/>
              </a:solidFill>
              <a:effectLst/>
              <a:cs typeface="Arial" panose="020B0604020202020204"/>
            </a:endParaRPr>
          </a:p>
          <a:p>
            <a:pPr algn="l">
              <a:lnSpc>
                <a:spcPct val="120000"/>
              </a:lnSpc>
              <a:buFont typeface="Arial" panose="020B0604020202020204" pitchFamily="34" charset="0"/>
              <a:buChar char="•"/>
            </a:pPr>
            <a:r>
              <a:rPr lang="en-US" sz="2600" b="0" i="0">
                <a:solidFill>
                  <a:srgbClr val="060606"/>
                </a:solidFill>
                <a:effectLst/>
              </a:rPr>
              <a:t>Send reminders to patients who are overdue for their 2</a:t>
            </a:r>
            <a:r>
              <a:rPr lang="en-US" sz="2600" b="0" i="0" baseline="30000">
                <a:solidFill>
                  <a:srgbClr val="060606"/>
                </a:solidFill>
                <a:effectLst/>
              </a:rPr>
              <a:t>nd</a:t>
            </a:r>
            <a:r>
              <a:rPr lang="en-US" sz="2600" b="0" i="0">
                <a:solidFill>
                  <a:srgbClr val="060606"/>
                </a:solidFill>
                <a:effectLst/>
              </a:rPr>
              <a:t> dose of Pfizer or </a:t>
            </a:r>
            <a:r>
              <a:rPr lang="en-US" sz="2600" b="0" i="0" err="1">
                <a:solidFill>
                  <a:srgbClr val="060606"/>
                </a:solidFill>
                <a:effectLst/>
              </a:rPr>
              <a:t>Moderna</a:t>
            </a:r>
            <a:r>
              <a:rPr lang="en-US" sz="2600" b="0" i="0">
                <a:solidFill>
                  <a:srgbClr val="060606"/>
                </a:solidFill>
                <a:effectLst/>
              </a:rPr>
              <a:t> vaccines.</a:t>
            </a:r>
            <a:endParaRPr lang="en-US" sz="2600" b="0" i="0">
              <a:solidFill>
                <a:srgbClr val="060606"/>
              </a:solidFill>
              <a:effectLst/>
              <a:cs typeface="Arial" panose="020B0604020202020204"/>
            </a:endParaRPr>
          </a:p>
          <a:p>
            <a:pPr algn="l">
              <a:lnSpc>
                <a:spcPct val="120000"/>
              </a:lnSpc>
              <a:buFont typeface="Arial" panose="020B0604020202020204" pitchFamily="34" charset="0"/>
              <a:buChar char="•"/>
            </a:pPr>
            <a:r>
              <a:rPr lang="en-US" sz="2600" b="0" i="0">
                <a:solidFill>
                  <a:srgbClr val="060606"/>
                </a:solidFill>
                <a:effectLst/>
              </a:rPr>
              <a:t>Send reminders to patients who are overdue for other routine vaccines.</a:t>
            </a:r>
            <a:endParaRPr lang="en-US" sz="2600" b="0" i="0">
              <a:solidFill>
                <a:srgbClr val="060606"/>
              </a:solidFill>
              <a:effectLst/>
              <a:cs typeface="Arial" panose="020B0604020202020204"/>
            </a:endParaRPr>
          </a:p>
        </p:txBody>
      </p:sp>
      <p:sp>
        <p:nvSpPr>
          <p:cNvPr id="5" name="Slide Number Placeholder 4">
            <a:extLst>
              <a:ext uri="{FF2B5EF4-FFF2-40B4-BE49-F238E27FC236}">
                <a16:creationId xmlns:a16="http://schemas.microsoft.com/office/drawing/2014/main" id="{9CF9CE80-48BC-4A16-92D1-1A550BA1634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39511888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81719F76-9F2B-4732-BD04-594401401B6B}"/>
              </a:ext>
            </a:extLst>
          </p:cNvPr>
          <p:cNvSpPr>
            <a:spLocks noGrp="1"/>
          </p:cNvSpPr>
          <p:nvPr>
            <p:ph idx="1"/>
          </p:nvPr>
        </p:nvSpPr>
        <p:spPr>
          <a:xfrm>
            <a:off x="622852" y="1288793"/>
            <a:ext cx="11292483" cy="4943194"/>
          </a:xfrm>
        </p:spPr>
        <p:txBody>
          <a:bodyPr vert="horz" lIns="91440" tIns="45720" rIns="91440" bIns="45720" rtlCol="0" anchor="t">
            <a:normAutofit/>
          </a:bodyPr>
          <a:lstStyle/>
          <a:p>
            <a:pPr>
              <a:lnSpc>
                <a:spcPct val="120000"/>
              </a:lnSpc>
            </a:pPr>
            <a:r>
              <a:rPr lang="en-US" sz="2600" b="0" i="0">
                <a:solidFill>
                  <a:srgbClr val="060606"/>
                </a:solidFill>
                <a:effectLst/>
              </a:rPr>
              <a:t>Offer seasonal flu vaccine to all eligible patients</a:t>
            </a:r>
            <a:r>
              <a:rPr lang="en-US" sz="2600">
                <a:solidFill>
                  <a:srgbClr val="060606"/>
                </a:solidFill>
              </a:rPr>
              <a:t>:</a:t>
            </a:r>
            <a:r>
              <a:rPr lang="en-US" sz="2600" b="0" i="0">
                <a:solidFill>
                  <a:srgbClr val="060606"/>
                </a:solidFill>
                <a:effectLst/>
              </a:rPr>
              <a:t> </a:t>
            </a:r>
          </a:p>
          <a:p>
            <a:pPr lvl="1">
              <a:lnSpc>
                <a:spcPct val="120000"/>
              </a:lnSpc>
              <a:buSzPct val="80000"/>
              <a:buFont typeface="Courier New" panose="02070309020205020404" pitchFamily="49" charset="0"/>
              <a:buChar char="o"/>
            </a:pPr>
            <a:r>
              <a:rPr lang="en-US" sz="1900" b="0" i="0">
                <a:solidFill>
                  <a:srgbClr val="060606"/>
                </a:solidFill>
                <a:effectLst/>
                <a:hlinkClick r:id="rId2"/>
              </a:rPr>
              <a:t>CDC 2021 Flu Recommendations</a:t>
            </a:r>
            <a:r>
              <a:rPr lang="en-US" sz="1900">
                <a:solidFill>
                  <a:srgbClr val="060606"/>
                </a:solidFill>
              </a:rPr>
              <a:t> </a:t>
            </a:r>
          </a:p>
          <a:p>
            <a:pPr lvl="1">
              <a:lnSpc>
                <a:spcPct val="120000"/>
              </a:lnSpc>
              <a:buSzPct val="80000"/>
              <a:buFont typeface="Courier New" panose="02070309020205020404" pitchFamily="49" charset="0"/>
              <a:buChar char="o"/>
            </a:pPr>
            <a:r>
              <a:rPr lang="en-US" sz="1900">
                <a:hlinkClick r:id="rId3"/>
              </a:rPr>
              <a:t>COCA Call: Influenza Vaccination Recommendations and Guidance on Coadministration with COVID-19 Vaccines</a:t>
            </a:r>
            <a:endParaRPr lang="en-US" sz="1900" b="0" i="0">
              <a:solidFill>
                <a:srgbClr val="060606"/>
              </a:solidFill>
              <a:effectLst/>
              <a:cs typeface="Arial" panose="020B0604020202020204"/>
            </a:endParaRPr>
          </a:p>
          <a:p>
            <a:pPr algn="l">
              <a:lnSpc>
                <a:spcPct val="120000"/>
              </a:lnSpc>
              <a:buFont typeface="Arial" panose="020B0604020202020204" pitchFamily="34" charset="0"/>
              <a:buChar char="•"/>
            </a:pPr>
            <a:r>
              <a:rPr lang="en-US" sz="2600" b="0" i="0">
                <a:solidFill>
                  <a:srgbClr val="060606"/>
                </a:solidFill>
                <a:effectLst/>
              </a:rPr>
              <a:t>Consider planning additional opportunities for seasonal flu vaccination (after hours clinics, dedicated flu clinics).</a:t>
            </a:r>
            <a:endParaRPr lang="en-US" sz="2600" b="0" i="0">
              <a:solidFill>
                <a:srgbClr val="060606"/>
              </a:solidFill>
              <a:effectLst/>
              <a:cs typeface="Arial" panose="020B0604020202020204"/>
            </a:endParaRPr>
          </a:p>
          <a:p>
            <a:pPr>
              <a:lnSpc>
                <a:spcPct val="120000"/>
              </a:lnSpc>
              <a:spcBef>
                <a:spcPts val="1200"/>
              </a:spcBef>
            </a:pPr>
            <a:r>
              <a:rPr lang="en-US" sz="2600" b="1" i="0">
                <a:solidFill>
                  <a:srgbClr val="060606"/>
                </a:solidFill>
                <a:effectLst/>
              </a:rPr>
              <a:t>Reminder: </a:t>
            </a:r>
            <a:r>
              <a:rPr lang="en-US" sz="2600" i="0">
                <a:solidFill>
                  <a:srgbClr val="060606"/>
                </a:solidFill>
                <a:effectLst/>
              </a:rPr>
              <a:t>Other vaccines and TB testing may be done on the same day as COVID-19 vaccines, or </a:t>
            </a:r>
            <a:r>
              <a:rPr lang="en-US" sz="2600">
                <a:solidFill>
                  <a:srgbClr val="060606"/>
                </a:solidFill>
              </a:rPr>
              <a:t>within</a:t>
            </a:r>
            <a:r>
              <a:rPr lang="en-US" sz="2600" i="0">
                <a:solidFill>
                  <a:srgbClr val="060606"/>
                </a:solidFill>
                <a:effectLst/>
              </a:rPr>
              <a:t> 14 days of any COVID-19 vaccine dose.</a:t>
            </a:r>
            <a:endParaRPr lang="en-US" sz="3000">
              <a:solidFill>
                <a:srgbClr val="201F1E"/>
              </a:solidFill>
              <a:cs typeface="Arial" panose="020B0604020202020204"/>
            </a:endParaRPr>
          </a:p>
          <a:p>
            <a:pPr lvl="1">
              <a:lnSpc>
                <a:spcPct val="120000"/>
              </a:lnSpc>
              <a:spcBef>
                <a:spcPts val="1200"/>
              </a:spcBef>
            </a:pPr>
            <a:r>
              <a:rPr lang="en-US" sz="2600" b="0" i="0" u="none" strike="noStrike">
                <a:solidFill>
                  <a:srgbClr val="1B66C2"/>
                </a:solidFill>
                <a:effectLst/>
                <a:hlinkClick r:id="rId4"/>
              </a:rPr>
              <a:t>Coadministration of COVID-19 Vaccine with Other Vaccines</a:t>
            </a:r>
            <a:r>
              <a:rPr lang="en-US" sz="2600" b="0" i="0">
                <a:solidFill>
                  <a:srgbClr val="060606"/>
                </a:solidFill>
                <a:effectLst/>
              </a:rPr>
              <a:t> job aid</a:t>
            </a:r>
            <a:endParaRPr lang="en-US" sz="2600" b="0" i="0">
              <a:solidFill>
                <a:srgbClr val="060606"/>
              </a:solidFill>
              <a:effectLst/>
              <a:cs typeface="Arial" panose="020B0604020202020204"/>
            </a:endParaRPr>
          </a:p>
          <a:p>
            <a:pPr>
              <a:lnSpc>
                <a:spcPct val="120000"/>
              </a:lnSpc>
            </a:pPr>
            <a:endParaRPr lang="en-US">
              <a:cs typeface="Arial" panose="020B0604020202020204"/>
            </a:endParaRPr>
          </a:p>
        </p:txBody>
      </p:sp>
      <p:sp>
        <p:nvSpPr>
          <p:cNvPr id="5" name="Slide Number Placeholder 4">
            <a:extLst>
              <a:ext uri="{FF2B5EF4-FFF2-40B4-BE49-F238E27FC236}">
                <a16:creationId xmlns:a16="http://schemas.microsoft.com/office/drawing/2014/main" id="{9CF9CE80-48BC-4A16-92D1-1A550BA1634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itle 5">
            <a:extLst>
              <a:ext uri="{FF2B5EF4-FFF2-40B4-BE49-F238E27FC236}">
                <a16:creationId xmlns:a16="http://schemas.microsoft.com/office/drawing/2014/main" id="{6EFC2FD8-258B-4745-B349-FA35170DC4B8}"/>
              </a:ext>
            </a:extLst>
          </p:cNvPr>
          <p:cNvSpPr txBox="1">
            <a:spLocks/>
          </p:cNvSpPr>
          <p:nvPr/>
        </p:nvSpPr>
        <p:spPr>
          <a:xfrm>
            <a:off x="622852" y="136525"/>
            <a:ext cx="10678551"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stStyle>
          <a:p>
            <a:r>
              <a:rPr lang="en-US" sz="3600"/>
              <a:t>While Waiting for Booster Dose Recommendations:</a:t>
            </a:r>
            <a:endParaRPr lang="en-US" sz="3600">
              <a:cs typeface="Arial"/>
            </a:endParaRPr>
          </a:p>
        </p:txBody>
      </p:sp>
    </p:spTree>
    <p:extLst>
      <p:ext uri="{BB962C8B-B14F-4D97-AF65-F5344CB8AC3E}">
        <p14:creationId xmlns:p14="http://schemas.microsoft.com/office/powerpoint/2010/main" val="11162562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29CB2A-3C06-4545-B21B-B0C7FC8981A7}"/>
              </a:ext>
            </a:extLst>
          </p:cNvPr>
          <p:cNvSpPr>
            <a:spLocks noGrp="1"/>
          </p:cNvSpPr>
          <p:nvPr>
            <p:ph type="title"/>
          </p:nvPr>
        </p:nvSpPr>
        <p:spPr>
          <a:xfrm>
            <a:off x="921706" y="-167231"/>
            <a:ext cx="10515600" cy="1325563"/>
          </a:xfrm>
        </p:spPr>
        <p:txBody>
          <a:bodyPr>
            <a:normAutofit/>
          </a:bodyPr>
          <a:lstStyle/>
          <a:p>
            <a:r>
              <a:rPr lang="en-US" sz="3600">
                <a:cs typeface="Arial"/>
              </a:rPr>
              <a:t>Booster Updates</a:t>
            </a:r>
            <a:endParaRPr lang="en-US" sz="3600"/>
          </a:p>
        </p:txBody>
      </p:sp>
      <p:pic>
        <p:nvPicPr>
          <p:cNvPr id="6" name="Picture 6">
            <a:extLst>
              <a:ext uri="{FF2B5EF4-FFF2-40B4-BE49-F238E27FC236}">
                <a16:creationId xmlns:a16="http://schemas.microsoft.com/office/drawing/2014/main" id="{E9B0605B-A23C-4CB7-9A45-4C9D8D80AA88}"/>
              </a:ext>
            </a:extLst>
          </p:cNvPr>
          <p:cNvPicPr>
            <a:picLocks noGrp="1" noChangeAspect="1"/>
          </p:cNvPicPr>
          <p:nvPr>
            <p:ph sz="half" idx="1"/>
          </p:nvPr>
        </p:nvPicPr>
        <p:blipFill>
          <a:blip r:embed="rId3"/>
          <a:stretch>
            <a:fillRect/>
          </a:stretch>
        </p:blipFill>
        <p:spPr>
          <a:xfrm>
            <a:off x="1213980" y="898061"/>
            <a:ext cx="3855930" cy="2302523"/>
          </a:xfrm>
        </p:spPr>
      </p:pic>
      <p:pic>
        <p:nvPicPr>
          <p:cNvPr id="9" name="Picture 9">
            <a:extLst>
              <a:ext uri="{FF2B5EF4-FFF2-40B4-BE49-F238E27FC236}">
                <a16:creationId xmlns:a16="http://schemas.microsoft.com/office/drawing/2014/main" id="{1290C82A-FDA9-4643-81EE-749EC5CFC9BC}"/>
              </a:ext>
            </a:extLst>
          </p:cNvPr>
          <p:cNvPicPr>
            <a:picLocks noGrp="1" noChangeAspect="1"/>
          </p:cNvPicPr>
          <p:nvPr>
            <p:ph sz="half" idx="2"/>
          </p:nvPr>
        </p:nvPicPr>
        <p:blipFill>
          <a:blip r:embed="rId4"/>
          <a:stretch>
            <a:fillRect/>
          </a:stretch>
        </p:blipFill>
        <p:spPr>
          <a:xfrm>
            <a:off x="1213459" y="3538223"/>
            <a:ext cx="3898728" cy="2512775"/>
          </a:xfrm>
        </p:spPr>
      </p:pic>
      <p:sp>
        <p:nvSpPr>
          <p:cNvPr id="5" name="Slide Number Placeholder 4">
            <a:extLst>
              <a:ext uri="{FF2B5EF4-FFF2-40B4-BE49-F238E27FC236}">
                <a16:creationId xmlns:a16="http://schemas.microsoft.com/office/drawing/2014/main" id="{430AAE0A-ABEA-414A-BA94-9844212655A6}"/>
              </a:ext>
            </a:extLst>
          </p:cNvPr>
          <p:cNvSpPr>
            <a:spLocks noGrp="1"/>
          </p:cNvSpPr>
          <p:nvPr>
            <p:ph type="sldNum" sz="quarter" idx="12"/>
          </p:nvPr>
        </p:nvSpPr>
        <p:spPr/>
        <p:txBody>
          <a:bodyPr/>
          <a:lstStyle/>
          <a:p>
            <a:fld id="{13D703BF-151A-0D40-8508-CABBAD09F9A9}" type="slidenum">
              <a:rPr lang="en-US" smtClean="0"/>
              <a:t>29</a:t>
            </a:fld>
            <a:endParaRPr lang="en-US"/>
          </a:p>
        </p:txBody>
      </p:sp>
      <p:sp>
        <p:nvSpPr>
          <p:cNvPr id="7" name="TextBox 6">
            <a:extLst>
              <a:ext uri="{FF2B5EF4-FFF2-40B4-BE49-F238E27FC236}">
                <a16:creationId xmlns:a16="http://schemas.microsoft.com/office/drawing/2014/main" id="{DEAD7014-069B-4B3F-B927-C5376E8C16EB}"/>
              </a:ext>
            </a:extLst>
          </p:cNvPr>
          <p:cNvSpPr txBox="1"/>
          <p:nvPr/>
        </p:nvSpPr>
        <p:spPr>
          <a:xfrm>
            <a:off x="6130831" y="1714180"/>
            <a:ext cx="5772244" cy="12644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800100" lvl="1" indent="-342900">
              <a:spcBef>
                <a:spcPts val="500"/>
              </a:spcBef>
              <a:buFont typeface="Arial" panose="020B0604020202020204" pitchFamily="34" charset="0"/>
              <a:buChar char="•"/>
            </a:pPr>
            <a:r>
              <a:rPr lang="en-US" sz="2400">
                <a:ea typeface="+mn-lt"/>
                <a:cs typeface="+mn-lt"/>
              </a:rPr>
              <a:t>Watch online web conference meeting </a:t>
            </a:r>
            <a:r>
              <a:rPr lang="en-US" sz="2400" b="1">
                <a:ea typeface="+mn-lt"/>
                <a:cs typeface="+mn-lt"/>
                <a:hlinkClick r:id="rId5"/>
              </a:rPr>
              <a:t>here</a:t>
            </a:r>
            <a:endParaRPr lang="en-US" sz="2400" b="1">
              <a:ea typeface="+mn-lt"/>
              <a:cs typeface="+mn-lt"/>
            </a:endParaRPr>
          </a:p>
          <a:p>
            <a:pPr marL="800100" lvl="1" indent="-342900">
              <a:spcBef>
                <a:spcPts val="500"/>
              </a:spcBef>
              <a:buFont typeface="Arial" panose="020B0604020202020204" pitchFamily="34" charset="0"/>
              <a:buChar char="•"/>
            </a:pPr>
            <a:r>
              <a:rPr lang="en-US" sz="2400">
                <a:ea typeface="+mn-lt"/>
                <a:cs typeface="+mn-lt"/>
              </a:rPr>
              <a:t>Find</a:t>
            </a:r>
            <a:r>
              <a:rPr lang="en-US" sz="2400">
                <a:solidFill>
                  <a:schemeClr val="tx2"/>
                </a:solidFill>
                <a:ea typeface="+mn-lt"/>
                <a:cs typeface="+mn-lt"/>
              </a:rPr>
              <a:t> </a:t>
            </a:r>
            <a:r>
              <a:rPr lang="en-US" sz="2400">
                <a:solidFill>
                  <a:schemeClr val="tx2"/>
                </a:solidFill>
                <a:ea typeface="+mn-lt"/>
                <a:cs typeface="+mn-lt"/>
                <a:hlinkClick r:id="rId6"/>
              </a:rPr>
              <a:t>additional information</a:t>
            </a:r>
            <a:endParaRPr lang="en-US" sz="2400">
              <a:solidFill>
                <a:schemeClr val="tx2"/>
              </a:solidFill>
              <a:ea typeface="+mn-lt"/>
              <a:cs typeface="+mn-lt"/>
              <a:hlinkClick r:id="rId5"/>
            </a:endParaRPr>
          </a:p>
        </p:txBody>
      </p:sp>
      <p:sp>
        <p:nvSpPr>
          <p:cNvPr id="8" name="TextBox 7">
            <a:extLst>
              <a:ext uri="{FF2B5EF4-FFF2-40B4-BE49-F238E27FC236}">
                <a16:creationId xmlns:a16="http://schemas.microsoft.com/office/drawing/2014/main" id="{D7F10D69-7B51-4857-88A1-45E8379A2939}"/>
              </a:ext>
            </a:extLst>
          </p:cNvPr>
          <p:cNvSpPr txBox="1"/>
          <p:nvPr/>
        </p:nvSpPr>
        <p:spPr>
          <a:xfrm>
            <a:off x="6612095" y="883495"/>
            <a:ext cx="4978891"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a:t>FDA: </a:t>
            </a:r>
            <a:r>
              <a:rPr lang="en-US" sz="2400" b="1"/>
              <a:t>Today</a:t>
            </a:r>
            <a:r>
              <a:rPr lang="en-US" sz="2400"/>
              <a:t>, Friday, September 17</a:t>
            </a:r>
            <a:endParaRPr lang="en-US" sz="2400">
              <a:cs typeface="Arial"/>
            </a:endParaRPr>
          </a:p>
          <a:p>
            <a:r>
              <a:rPr lang="en-US" sz="2400">
                <a:cs typeface="Arial"/>
              </a:rPr>
              <a:t>5:30AM – 12:45PM, PST</a:t>
            </a:r>
          </a:p>
        </p:txBody>
      </p:sp>
      <p:sp>
        <p:nvSpPr>
          <p:cNvPr id="11" name="TextBox 10">
            <a:extLst>
              <a:ext uri="{FF2B5EF4-FFF2-40B4-BE49-F238E27FC236}">
                <a16:creationId xmlns:a16="http://schemas.microsoft.com/office/drawing/2014/main" id="{FDF20D33-048F-4C9E-9D8A-C27831AD3B48}"/>
              </a:ext>
            </a:extLst>
          </p:cNvPr>
          <p:cNvSpPr txBox="1"/>
          <p:nvPr/>
        </p:nvSpPr>
        <p:spPr>
          <a:xfrm>
            <a:off x="6613743" y="5366083"/>
            <a:ext cx="4663857" cy="70788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000">
                <a:hlinkClick r:id="rId7"/>
              </a:rPr>
              <a:t>Link: Advisory Committee on Immunization Practices (ACIP) CDC</a:t>
            </a:r>
            <a:endParaRPr lang="en-US" sz="2000"/>
          </a:p>
        </p:txBody>
      </p:sp>
      <p:sp>
        <p:nvSpPr>
          <p:cNvPr id="12" name="TextBox 11">
            <a:extLst>
              <a:ext uri="{FF2B5EF4-FFF2-40B4-BE49-F238E27FC236}">
                <a16:creationId xmlns:a16="http://schemas.microsoft.com/office/drawing/2014/main" id="{8BAE031D-9788-41F3-BC62-23508DA746DC}"/>
              </a:ext>
            </a:extLst>
          </p:cNvPr>
          <p:cNvSpPr txBox="1"/>
          <p:nvPr/>
        </p:nvSpPr>
        <p:spPr>
          <a:xfrm>
            <a:off x="6133578" y="3492674"/>
            <a:ext cx="5869532"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lvl="1"/>
            <a:r>
              <a:rPr lang="en-US" sz="2400">
                <a:cs typeface="Arial"/>
              </a:rPr>
              <a:t>ACIP: Wednesday, September 22, </a:t>
            </a:r>
            <a:endParaRPr lang="en-US">
              <a:cs typeface="Arial"/>
            </a:endParaRPr>
          </a:p>
          <a:p>
            <a:pPr lvl="1"/>
            <a:r>
              <a:rPr lang="en-US" sz="2400">
                <a:cs typeface="Arial"/>
              </a:rPr>
              <a:t>7AM – 2PM PST and</a:t>
            </a:r>
            <a:endParaRPr lang="en-US">
              <a:cs typeface="Arial"/>
            </a:endParaRPr>
          </a:p>
          <a:p>
            <a:pPr lvl="1"/>
            <a:r>
              <a:rPr lang="en-US" sz="2400">
                <a:cs typeface="Arial"/>
              </a:rPr>
              <a:t>Thursday, September 23, </a:t>
            </a:r>
            <a:br>
              <a:rPr lang="en-US" sz="2400">
                <a:cs typeface="Arial"/>
              </a:rPr>
            </a:br>
            <a:r>
              <a:rPr lang="en-US" sz="2400">
                <a:cs typeface="Arial"/>
              </a:rPr>
              <a:t>6AM – 11AM PST</a:t>
            </a:r>
          </a:p>
        </p:txBody>
      </p:sp>
      <p:cxnSp>
        <p:nvCxnSpPr>
          <p:cNvPr id="16" name="Straight Connector 15">
            <a:extLst>
              <a:ext uri="{FF2B5EF4-FFF2-40B4-BE49-F238E27FC236}">
                <a16:creationId xmlns:a16="http://schemas.microsoft.com/office/drawing/2014/main" id="{8462C136-0289-774E-B694-0603F1B18CFB}"/>
              </a:ext>
            </a:extLst>
          </p:cNvPr>
          <p:cNvCxnSpPr>
            <a:cxnSpLocks/>
          </p:cNvCxnSpPr>
          <p:nvPr/>
        </p:nvCxnSpPr>
        <p:spPr>
          <a:xfrm>
            <a:off x="1957586" y="3390363"/>
            <a:ext cx="853869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870739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8AE8EE-7F6E-41B6-8CE2-D8712FDEA4DC}"/>
              </a:ext>
            </a:extLst>
          </p:cNvPr>
          <p:cNvSpPr>
            <a:spLocks noGrp="1"/>
          </p:cNvSpPr>
          <p:nvPr>
            <p:ph type="title"/>
          </p:nvPr>
        </p:nvSpPr>
        <p:spPr>
          <a:xfrm>
            <a:off x="567982" y="279139"/>
            <a:ext cx="3823086" cy="1071782"/>
          </a:xfrm>
        </p:spPr>
        <p:txBody>
          <a:bodyPr vert="horz" lIns="91440" tIns="45720" rIns="91440" bIns="45720" rtlCol="0" anchor="b">
            <a:normAutofit/>
          </a:bodyPr>
          <a:lstStyle/>
          <a:p>
            <a:r>
              <a:rPr lang="en-US" sz="3600"/>
              <a:t>Housekeeping</a:t>
            </a:r>
            <a:endParaRPr lang="en-US" sz="3600">
              <a:cs typeface="Arial"/>
            </a:endParaRPr>
          </a:p>
        </p:txBody>
      </p:sp>
      <p:sp>
        <p:nvSpPr>
          <p:cNvPr id="10" name="TextBox 9">
            <a:extLst>
              <a:ext uri="{FF2B5EF4-FFF2-40B4-BE49-F238E27FC236}">
                <a16:creationId xmlns:a16="http://schemas.microsoft.com/office/drawing/2014/main" id="{36ADE08C-B819-432E-9E28-22B52B28875E}"/>
              </a:ext>
            </a:extLst>
          </p:cNvPr>
          <p:cNvSpPr txBox="1"/>
          <p:nvPr/>
        </p:nvSpPr>
        <p:spPr>
          <a:xfrm>
            <a:off x="724298" y="2093334"/>
            <a:ext cx="9965267" cy="2271072"/>
          </a:xfrm>
          <a:prstGeom prst="rect">
            <a:avLst/>
          </a:prstGeom>
        </p:spPr>
        <p:txBody>
          <a:bodyPr vert="horz" lIns="91440" tIns="45720" rIns="91440" bIns="45720" rtlCol="0" anchor="t">
            <a:norm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a:ea typeface="+mn-ea"/>
                <a:cs typeface="+mn-cs"/>
              </a:rPr>
              <a:t>Reminder to Panelists: </a:t>
            </a:r>
            <a:endParaRPr kumimoji="0" lang="en-US" sz="2000" b="1" i="0" u="none" strike="noStrike" kern="1200" cap="none" spc="0" normalizeH="0" baseline="0" noProof="0">
              <a:ln>
                <a:noFill/>
              </a:ln>
              <a:solidFill>
                <a:srgbClr val="000000"/>
              </a:solidFill>
              <a:effectLst/>
              <a:uLnTx/>
              <a:uFillTx/>
              <a:latin typeface="Arial"/>
              <a:ea typeface="+mn-ea"/>
              <a:cs typeface="Arial"/>
            </a:endParaRPr>
          </a:p>
          <a:p>
            <a:pPr>
              <a:spcBef>
                <a:spcPts val="1000"/>
              </a:spcBef>
              <a:defRPr/>
            </a:pPr>
            <a:r>
              <a:rPr lang="en-US" sz="2000">
                <a:solidFill>
                  <a:srgbClr val="000000"/>
                </a:solidFill>
                <a:latin typeface="Arial"/>
              </a:rPr>
              <a:t>            </a:t>
            </a:r>
            <a:r>
              <a:rPr kumimoji="0" lang="en-US" sz="2000" b="0" i="0" u="none" strike="noStrike" kern="1200" cap="none" spc="0" normalizeH="0" baseline="0" noProof="0">
                <a:ln>
                  <a:noFill/>
                </a:ln>
                <a:solidFill>
                  <a:srgbClr val="000000"/>
                </a:solidFill>
                <a:effectLst/>
                <a:uLnTx/>
                <a:uFillTx/>
                <a:latin typeface="Arial"/>
                <a:ea typeface="+mn-ea"/>
                <a:cs typeface="+mn-cs"/>
              </a:rPr>
              <a:t>Please mute yourself when not speaking.</a:t>
            </a:r>
            <a:endParaRPr kumimoji="0" lang="en-US" sz="2000" b="1" i="0" u="none" strike="noStrike" kern="1200" cap="none" spc="0" normalizeH="0" baseline="0" noProof="0">
              <a:ln>
                <a:noFill/>
              </a:ln>
              <a:solidFill>
                <a:srgbClr val="000000"/>
              </a:solidFill>
              <a:effectLst/>
              <a:uLnTx/>
              <a:uFillTx/>
              <a:latin typeface="Arial"/>
              <a:ea typeface="+mn-ea"/>
              <a:cs typeface="Arial"/>
            </a:endParaRPr>
          </a:p>
          <a:p>
            <a:pPr>
              <a:spcBef>
                <a:spcPts val="1000"/>
              </a:spcBef>
              <a:defRPr/>
            </a:pPr>
            <a:r>
              <a:rPr lang="en-US" sz="2000">
                <a:solidFill>
                  <a:srgbClr val="000000"/>
                </a:solidFill>
                <a:latin typeface="Arial"/>
              </a:rPr>
              <a:t>            </a:t>
            </a:r>
            <a:r>
              <a:rPr kumimoji="0" lang="en-US" sz="2000" b="0" i="0" u="none" strike="noStrike" kern="1200" cap="none" spc="0" normalizeH="0" baseline="0" noProof="0">
                <a:ln>
                  <a:noFill/>
                </a:ln>
                <a:solidFill>
                  <a:srgbClr val="000000"/>
                </a:solidFill>
                <a:effectLst/>
                <a:uLnTx/>
                <a:uFillTx/>
                <a:latin typeface="Arial"/>
                <a:ea typeface="+mn-ea"/>
                <a:cs typeface="+mn-cs"/>
              </a:rPr>
              <a:t>Please monitor the Q&amp;A panel for questions you may be able to answer.  </a:t>
            </a:r>
            <a:endParaRPr kumimoji="0" lang="en-US" sz="2000" b="1"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1000"/>
              </a:spcBef>
              <a:spcAft>
                <a:spcPts val="0"/>
              </a:spcAft>
              <a:buClrTx/>
              <a:buSzTx/>
              <a:buFontTx/>
              <a:buNone/>
              <a:tabLst/>
              <a:defRPr/>
            </a:pPr>
            <a:br>
              <a:rPr lang="en-US" sz="2400" b="1" i="0" u="none" strike="noStrike" kern="1200" cap="none" spc="0" normalizeH="0" baseline="0" noProof="0">
                <a:ln>
                  <a:noFill/>
                </a:ln>
                <a:effectLst/>
                <a:uLnTx/>
                <a:uFillTx/>
                <a:latin typeface="Arial"/>
              </a:rPr>
            </a:br>
            <a:endParaRPr kumimoji="0" lang="en-US" sz="2400" b="1" i="0" u="none" strike="noStrike" kern="1200" cap="none" spc="0" normalizeH="0" baseline="0" noProof="0">
              <a:ln>
                <a:noFill/>
              </a:ln>
              <a:solidFill>
                <a:srgbClr val="000000"/>
              </a:solidFill>
              <a:effectLst/>
              <a:uLnTx/>
              <a:uFillTx/>
              <a:latin typeface="Arial"/>
              <a:ea typeface="+mn-ea"/>
              <a:cs typeface="Arial"/>
            </a:endParaRPr>
          </a:p>
        </p:txBody>
      </p:sp>
      <p:sp>
        <p:nvSpPr>
          <p:cNvPr id="4" name="TextBox 3">
            <a:extLst>
              <a:ext uri="{FF2B5EF4-FFF2-40B4-BE49-F238E27FC236}">
                <a16:creationId xmlns:a16="http://schemas.microsoft.com/office/drawing/2014/main" id="{7D81AE43-F687-47E5-833B-971BC8F8C6F6}"/>
              </a:ext>
            </a:extLst>
          </p:cNvPr>
          <p:cNvSpPr txBox="1"/>
          <p:nvPr/>
        </p:nvSpPr>
        <p:spPr>
          <a:xfrm>
            <a:off x="724298" y="3930402"/>
            <a:ext cx="11467702" cy="172354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1000"/>
              </a:spcBef>
              <a:spcAft>
                <a:spcPts val="0"/>
              </a:spcAft>
              <a:buClrTx/>
              <a:buSzTx/>
              <a:buFontTx/>
              <a:buNone/>
              <a:tabLst/>
              <a:defRPr/>
            </a:pPr>
            <a:r>
              <a:rPr kumimoji="0" lang="en-US" sz="1900" b="1" i="0" u="none" strike="noStrike" kern="1200" cap="none" spc="0" normalizeH="0" baseline="0" noProof="0">
                <a:ln>
                  <a:noFill/>
                </a:ln>
                <a:solidFill>
                  <a:srgbClr val="000000"/>
                </a:solidFill>
                <a:effectLst/>
                <a:uLnTx/>
                <a:uFillTx/>
                <a:latin typeface="Arial"/>
                <a:ea typeface="+mn-lt"/>
                <a:cs typeface="Arial"/>
              </a:rPr>
              <a:t>Reminder to Participants:</a:t>
            </a:r>
            <a:endParaRPr kumimoji="0" lang="en-US" sz="1900" b="0" i="0" u="none" strike="noStrike" kern="1200" cap="none" spc="0" normalizeH="0" baseline="0" noProof="0">
              <a:ln>
                <a:noFill/>
              </a:ln>
              <a:solidFill>
                <a:srgbClr val="000000"/>
              </a:solidFill>
              <a:effectLst/>
              <a:uLnTx/>
              <a:uFillTx/>
              <a:latin typeface="Arial"/>
              <a:ea typeface="+mn-lt"/>
              <a:cs typeface="Arial"/>
            </a:endParaRPr>
          </a:p>
          <a:p>
            <a:pPr>
              <a:spcBef>
                <a:spcPts val="2000"/>
              </a:spcBef>
              <a:defRPr/>
            </a:pPr>
            <a:r>
              <a:rPr lang="en-US" sz="1400">
                <a:solidFill>
                  <a:srgbClr val="000000"/>
                </a:solidFill>
                <a:latin typeface="Arial"/>
                <a:ea typeface="+mn-lt"/>
                <a:cs typeface="Arial"/>
              </a:rPr>
              <a:t> </a:t>
            </a:r>
            <a:r>
              <a:rPr lang="en-US" sz="1900">
                <a:solidFill>
                  <a:srgbClr val="000000"/>
                </a:solidFill>
                <a:latin typeface="Arial"/>
                <a:ea typeface="+mn-lt"/>
                <a:cs typeface="Arial"/>
              </a:rPr>
              <a:t>          </a:t>
            </a:r>
            <a:r>
              <a:rPr kumimoji="0" lang="en-US" sz="1900" b="0" i="0" u="none" strike="noStrike" kern="1200" cap="none" spc="0" normalizeH="0" baseline="0" noProof="0">
                <a:ln>
                  <a:noFill/>
                </a:ln>
                <a:solidFill>
                  <a:srgbClr val="000000"/>
                </a:solidFill>
                <a:effectLst/>
                <a:uLnTx/>
                <a:uFillTx/>
                <a:latin typeface="Arial"/>
                <a:ea typeface="+mn-lt"/>
                <a:cs typeface="Arial"/>
              </a:rPr>
              <a:t> Please access today's slides and archived presentations at:</a:t>
            </a:r>
            <a:r>
              <a:rPr lang="en-US" sz="1900">
                <a:solidFill>
                  <a:srgbClr val="000000"/>
                </a:solidFill>
                <a:latin typeface="Arial"/>
                <a:ea typeface="+mn-lt"/>
                <a:cs typeface="Arial"/>
              </a:rPr>
              <a:t> </a:t>
            </a:r>
            <a:r>
              <a:rPr kumimoji="0" lang="en-US" sz="1900" b="0" i="0" u="none" strike="noStrike" kern="1200" cap="none" spc="0" normalizeH="0" baseline="0" noProof="0">
                <a:ln>
                  <a:noFill/>
                </a:ln>
                <a:solidFill>
                  <a:srgbClr val="000000"/>
                </a:solidFill>
                <a:effectLst/>
                <a:uLnTx/>
                <a:uFillTx/>
                <a:latin typeface="Arial"/>
                <a:ea typeface="+mn-lt"/>
                <a:cs typeface="Arial"/>
                <a:hlinkClick r:id="rId3"/>
              </a:rPr>
              <a:t>https://eziz.org/covid/education/</a:t>
            </a:r>
            <a:endParaRPr lang="en-US" sz="1800" b="0" i="0" u="none" strike="noStrike" kern="1200" cap="none" spc="0" normalizeH="0" baseline="0" noProof="0">
              <a:ln>
                <a:noFill/>
              </a:ln>
              <a:solidFill>
                <a:srgbClr val="000000"/>
              </a:solidFill>
              <a:effectLst/>
              <a:uLnTx/>
              <a:uFillTx/>
              <a:latin typeface="Arial"/>
              <a:cs typeface="Arial"/>
            </a:endParaRPr>
          </a:p>
          <a:p>
            <a:pPr marL="0" marR="0" lvl="0" indent="0" algn="l" defTabSz="914400" rtl="0" eaLnBrk="1" fontAlgn="auto" latinLnBrk="0" hangingPunct="1">
              <a:lnSpc>
                <a:spcPct val="100000"/>
              </a:lnSpc>
              <a:spcBef>
                <a:spcPts val="1000"/>
              </a:spcBef>
              <a:spcAft>
                <a:spcPts val="0"/>
              </a:spcAft>
              <a:buClrTx/>
              <a:buSzTx/>
              <a:buFontTx/>
              <a:buNone/>
              <a:tabLst/>
              <a:defRPr/>
            </a:pPr>
            <a:endParaRPr kumimoji="0" lang="en-US" sz="1900" b="0" i="0" u="none" strike="noStrike" kern="1200" cap="none" spc="0" normalizeH="0" baseline="0" noProof="0">
              <a:ln>
                <a:noFill/>
              </a:ln>
              <a:solidFill>
                <a:srgbClr val="000000"/>
              </a:solidFill>
              <a:effectLst/>
              <a:uLnTx/>
              <a:uFillTx/>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000000"/>
              </a:solidFill>
              <a:effectLst/>
              <a:uLnTx/>
              <a:uFillTx/>
              <a:latin typeface="Arial"/>
              <a:ea typeface="+mn-ea"/>
              <a:cs typeface="Arial"/>
            </a:endParaRPr>
          </a:p>
        </p:txBody>
      </p:sp>
      <p:pic>
        <p:nvPicPr>
          <p:cNvPr id="7" name="Picture 7">
            <a:extLst>
              <a:ext uri="{FF2B5EF4-FFF2-40B4-BE49-F238E27FC236}">
                <a16:creationId xmlns:a16="http://schemas.microsoft.com/office/drawing/2014/main" id="{4CA1EFDA-B3DB-4372-B093-C5D8EE85124A}"/>
              </a:ext>
            </a:extLst>
          </p:cNvPr>
          <p:cNvPicPr>
            <a:picLocks noChangeAspect="1"/>
          </p:cNvPicPr>
          <p:nvPr/>
        </p:nvPicPr>
        <p:blipFill>
          <a:blip r:embed="rId4">
            <a:extLst>
              <a:ext uri="{BEBA8EAE-BF5A-486C-A8C5-ECC9F3942E4B}">
                <a14:imgProps xmlns:a14="http://schemas.microsoft.com/office/drawing/2010/main">
                  <a14:imgLayer r:embed="rId5">
                    <a14:imgEffect>
                      <a14:backgroundRemoval t="5750" b="89741" l="3721" r="90233">
                        <a14:foregroundMark x1="45698" y1="16911" x2="45698" y2="16911"/>
                        <a14:foregroundMark x1="7442" y1="36979" x2="7442" y2="36979"/>
                        <a14:foregroundMark x1="38837" y1="8343" x2="38837" y2="8343"/>
                        <a14:foregroundMark x1="47558" y1="5750" x2="47558" y2="5750"/>
                        <a14:foregroundMark x1="3837" y1="42503" x2="3837" y2="42503"/>
                        <a14:foregroundMark x1="89651" y1="45772" x2="89651" y2="45772"/>
                        <a14:foregroundMark x1="90233" y1="45321" x2="90233" y2="45321"/>
                        <a14:foregroundMark x1="37326" y1="60541" x2="37326" y2="60541"/>
                        <a14:foregroundMark x1="31977" y1="49605" x2="31977" y2="49605"/>
                        <a14:foregroundMark x1="29302" y1="46561" x2="29302" y2="46561"/>
                        <a14:foregroundMark x1="37326" y1="40361" x2="37326" y2="40361"/>
                        <a14:foregroundMark x1="50000" y1="43856" x2="50814" y2="44419"/>
                        <a14:foregroundMark x1="57907" y1="60541" x2="57907" y2="60541"/>
                        <a14:foregroundMark x1="58140" y1="60090" x2="58140" y2="60090"/>
                        <a14:foregroundMark x1="58140" y1="60090" x2="58140" y2="60090"/>
                        <a14:foregroundMark x1="57674" y1="59752" x2="57674" y2="59752"/>
                        <a14:foregroundMark x1="55698" y1="59526" x2="55698" y2="59526"/>
                        <a14:foregroundMark x1="52558" y1="59526" x2="52558" y2="59526"/>
                        <a14:foregroundMark x1="49767" y1="59752" x2="49767" y2="59752"/>
                        <a14:foregroundMark x1="41512" y1="60992" x2="41512" y2="60992"/>
                        <a14:foregroundMark x1="35116" y1="61443" x2="35116" y2="61443"/>
                        <a14:foregroundMark x1="31163" y1="61443" x2="31163" y2="61443"/>
                        <a14:foregroundMark x1="29535" y1="61218" x2="29535" y2="61218"/>
                        <a14:foregroundMark x1="23837" y1="60090" x2="23837" y2="60090"/>
                        <a14:foregroundMark x1="23372" y1="59301" x2="23372" y2="59301"/>
                        <a14:foregroundMark x1="23372" y1="57159" x2="23372" y2="57159"/>
                        <a14:foregroundMark x1="46163" y1="70237" x2="46163" y2="70237"/>
                        <a14:foregroundMark x1="46163" y1="70237" x2="46163" y2="70237"/>
                        <a14:foregroundMark x1="46395" y1="70237" x2="47558" y2="70462"/>
                        <a14:foregroundMark x1="47558" y1="70237" x2="47558" y2="70237"/>
                        <a14:foregroundMark x1="47558" y1="70237" x2="35814" y2="73055"/>
                        <a14:foregroundMark x1="35814" y1="73055" x2="51512" y2="72153"/>
                        <a14:foregroundMark x1="41047" y1="61443" x2="68721" y2="57610"/>
                        <a14:foregroundMark x1="68721" y1="57610" x2="76860" y2="49042"/>
                        <a14:foregroundMark x1="76860" y1="49042" x2="67209" y2="27959"/>
                        <a14:foregroundMark x1="67209" y1="27959" x2="56628" y2="24464"/>
                        <a14:foregroundMark x1="56628" y1="24464" x2="29302" y2="25930"/>
                        <a14:foregroundMark x1="29302" y1="25930" x2="19884" y2="34386"/>
                        <a14:foregroundMark x1="19884" y1="34386" x2="19767" y2="57948"/>
                        <a14:foregroundMark x1="19767" y1="57948" x2="35000" y2="60541"/>
                        <a14:foregroundMark x1="35000" y1="60541" x2="70581" y2="59301"/>
                        <a14:foregroundMark x1="29535" y1="24464" x2="29535" y2="24464"/>
                        <a14:foregroundMark x1="20465" y1="25366" x2="20465" y2="25366"/>
                        <a14:foregroundMark x1="23837" y1="24690" x2="24651" y2="24915"/>
                        <a14:foregroundMark x1="30000" y1="24239" x2="31163" y2="24464"/>
                        <a14:foregroundMark x1="33140" y1="24239" x2="33953" y2="24464"/>
                        <a14:foregroundMark x1="36628" y1="24464" x2="36628" y2="24464"/>
                        <a14:foregroundMark x1="61279" y1="24690" x2="61279" y2="24690"/>
                        <a14:foregroundMark x1="66395" y1="24464" x2="69419" y2="24464"/>
                        <a14:foregroundMark x1="69419" y1="24239" x2="71395" y2="24464"/>
                        <a14:foregroundMark x1="72326" y1="24239" x2="74070" y2="24915"/>
                        <a14:foregroundMark x1="78140" y1="26607" x2="78140" y2="26607"/>
                        <a14:foregroundMark x1="77209" y1="31342" x2="77209" y2="31342"/>
                        <a14:foregroundMark x1="76977" y1="34611" x2="76977" y2="34611"/>
                        <a14:foregroundMark x1="77442" y1="35626" x2="77907" y2="37993"/>
                        <a14:foregroundMark x1="77907" y1="37768" x2="77907" y2="38895"/>
                        <a14:foregroundMark x1="78488" y1="41037" x2="78488" y2="42728"/>
                        <a14:foregroundMark x1="78488" y1="43179" x2="78488" y2="44419"/>
                        <a14:foregroundMark x1="77907" y1="45998" x2="76628" y2="58737"/>
                        <a14:foregroundMark x1="76628" y1="58737" x2="70581" y2="61218"/>
                        <a14:foregroundMark x1="22907" y1="25141" x2="18256" y2="35964"/>
                        <a14:foregroundMark x1="18256" y1="35964" x2="18488" y2="40361"/>
                        <a14:foregroundMark x1="18023" y1="40812" x2="19419" y2="54340"/>
                        <a14:foregroundMark x1="17791" y1="31567" x2="26860" y2="25254"/>
                        <a14:foregroundMark x1="26860" y1="25254" x2="27093" y2="24915"/>
                        <a14:foregroundMark x1="3837" y1="42954" x2="3837" y2="42954"/>
                        <a14:foregroundMark x1="3837" y1="42277" x2="3837" y2="42277"/>
                        <a14:foregroundMark x1="4535" y1="42954" x2="4535" y2="42954"/>
                        <a14:foregroundMark x1="4767" y1="42728" x2="4767" y2="42728"/>
                      </a14:backgroundRemoval>
                    </a14:imgEffect>
                  </a14:imgLayer>
                </a14:imgProps>
              </a:ext>
            </a:extLst>
          </a:blip>
          <a:stretch>
            <a:fillRect/>
          </a:stretch>
        </p:blipFill>
        <p:spPr>
          <a:xfrm>
            <a:off x="661945" y="4285805"/>
            <a:ext cx="885014" cy="912678"/>
          </a:xfrm>
          <a:prstGeom prst="rect">
            <a:avLst/>
          </a:prstGeom>
        </p:spPr>
      </p:pic>
      <p:pic>
        <p:nvPicPr>
          <p:cNvPr id="3" name="Picture 5">
            <a:extLst>
              <a:ext uri="{FF2B5EF4-FFF2-40B4-BE49-F238E27FC236}">
                <a16:creationId xmlns:a16="http://schemas.microsoft.com/office/drawing/2014/main" id="{ACEEB484-9126-4F6A-96F1-B8B1641A7599}"/>
              </a:ext>
            </a:extLst>
          </p:cNvPr>
          <p:cNvPicPr>
            <a:picLocks noChangeAspect="1"/>
          </p:cNvPicPr>
          <p:nvPr/>
        </p:nvPicPr>
        <p:blipFill>
          <a:blip r:embed="rId6"/>
          <a:stretch>
            <a:fillRect/>
          </a:stretch>
        </p:blipFill>
        <p:spPr>
          <a:xfrm>
            <a:off x="701104" y="2610210"/>
            <a:ext cx="801331" cy="776750"/>
          </a:xfrm>
          <a:prstGeom prst="rect">
            <a:avLst/>
          </a:prstGeom>
        </p:spPr>
      </p:pic>
    </p:spTree>
    <p:extLst>
      <p:ext uri="{BB962C8B-B14F-4D97-AF65-F5344CB8AC3E}">
        <p14:creationId xmlns:p14="http://schemas.microsoft.com/office/powerpoint/2010/main" val="256454450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1D456F-A62D-4A8B-81D8-BD8C9123B6F7}"/>
              </a:ext>
            </a:extLst>
          </p:cNvPr>
          <p:cNvSpPr>
            <a:spLocks noGrp="1"/>
          </p:cNvSpPr>
          <p:nvPr>
            <p:ph type="title"/>
          </p:nvPr>
        </p:nvSpPr>
        <p:spPr>
          <a:xfrm>
            <a:off x="734386" y="2117322"/>
            <a:ext cx="10515600" cy="2852737"/>
          </a:xfrm>
        </p:spPr>
        <p:txBody>
          <a:bodyPr>
            <a:normAutofit/>
          </a:bodyPr>
          <a:lstStyle/>
          <a:p>
            <a:r>
              <a:rPr lang="en-US" sz="4400">
                <a:cs typeface="Arial"/>
              </a:rPr>
              <a:t>Storage &amp; Handling</a:t>
            </a:r>
          </a:p>
        </p:txBody>
      </p:sp>
      <p:sp>
        <p:nvSpPr>
          <p:cNvPr id="3" name="Text Placeholder 2">
            <a:extLst>
              <a:ext uri="{FF2B5EF4-FFF2-40B4-BE49-F238E27FC236}">
                <a16:creationId xmlns:a16="http://schemas.microsoft.com/office/drawing/2014/main" id="{9AFF5E0E-7F5D-4D59-A2A8-BCFB689114F4}"/>
              </a:ext>
            </a:extLst>
          </p:cNvPr>
          <p:cNvSpPr>
            <a:spLocks noGrp="1"/>
          </p:cNvSpPr>
          <p:nvPr>
            <p:ph type="body" idx="1"/>
          </p:nvPr>
        </p:nvSpPr>
        <p:spPr>
          <a:xfrm>
            <a:off x="810785" y="5115406"/>
            <a:ext cx="10515600" cy="1500187"/>
          </a:xfrm>
        </p:spPr>
        <p:txBody>
          <a:bodyPr vert="horz" lIns="0" tIns="0" rIns="0" bIns="0" rtlCol="0" anchor="t">
            <a:normAutofit/>
          </a:bodyPr>
          <a:lstStyle/>
          <a:p>
            <a:r>
              <a:rPr lang="en-US"/>
              <a:t>Alan Hendrickson, CDPH</a:t>
            </a:r>
          </a:p>
        </p:txBody>
      </p:sp>
      <p:sp>
        <p:nvSpPr>
          <p:cNvPr id="4" name="Slide Number Placeholder 3">
            <a:extLst>
              <a:ext uri="{FF2B5EF4-FFF2-40B4-BE49-F238E27FC236}">
                <a16:creationId xmlns:a16="http://schemas.microsoft.com/office/drawing/2014/main" id="{4ECF86F1-FF99-423C-88BB-4202B82A76B9}"/>
              </a:ext>
            </a:extLst>
          </p:cNvPr>
          <p:cNvSpPr>
            <a:spLocks noGrp="1"/>
          </p:cNvSpPr>
          <p:nvPr>
            <p:ph type="sldNum" sz="quarter" idx="12"/>
          </p:nvPr>
        </p:nvSpPr>
        <p:spPr/>
        <p:txBody>
          <a:bodyPr/>
          <a:lstStyle/>
          <a:p>
            <a:fld id="{13D703BF-151A-0D40-8508-CABBAD09F9A9}" type="slidenum">
              <a:rPr lang="en-US" smtClean="0"/>
              <a:t>30</a:t>
            </a:fld>
            <a:endParaRPr lang="en-US"/>
          </a:p>
        </p:txBody>
      </p:sp>
    </p:spTree>
    <p:extLst>
      <p:ext uri="{BB962C8B-B14F-4D97-AF65-F5344CB8AC3E}">
        <p14:creationId xmlns:p14="http://schemas.microsoft.com/office/powerpoint/2010/main" val="4258178803"/>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D08F8-51AA-4E59-89DF-D058DF3F4D79}"/>
              </a:ext>
            </a:extLst>
          </p:cNvPr>
          <p:cNvSpPr>
            <a:spLocks noGrp="1"/>
          </p:cNvSpPr>
          <p:nvPr>
            <p:ph type="title"/>
          </p:nvPr>
        </p:nvSpPr>
        <p:spPr/>
        <p:txBody>
          <a:bodyPr>
            <a:normAutofit/>
          </a:bodyPr>
          <a:lstStyle/>
          <a:p>
            <a:r>
              <a:rPr lang="en-US" sz="3600">
                <a:cs typeface="Arial"/>
              </a:rPr>
              <a:t>Inventory Reporting</a:t>
            </a:r>
            <a:endParaRPr lang="en-US" sz="3600"/>
          </a:p>
        </p:txBody>
      </p:sp>
      <p:sp>
        <p:nvSpPr>
          <p:cNvPr id="3" name="Text Placeholder 2">
            <a:extLst>
              <a:ext uri="{FF2B5EF4-FFF2-40B4-BE49-F238E27FC236}">
                <a16:creationId xmlns:a16="http://schemas.microsoft.com/office/drawing/2014/main" id="{04000A57-32ED-4BEF-B76E-DCA033F1566C}"/>
              </a:ext>
            </a:extLst>
          </p:cNvPr>
          <p:cNvSpPr>
            <a:spLocks noGrp="1"/>
          </p:cNvSpPr>
          <p:nvPr>
            <p:ph idx="1"/>
          </p:nvPr>
        </p:nvSpPr>
        <p:spPr>
          <a:xfrm>
            <a:off x="838200" y="1598015"/>
            <a:ext cx="10515600" cy="3799630"/>
          </a:xfrm>
        </p:spPr>
        <p:txBody>
          <a:bodyPr vert="horz" lIns="91440" tIns="45720" rIns="91440" bIns="45720" rtlCol="0" anchor="t">
            <a:normAutofit/>
          </a:bodyPr>
          <a:lstStyle/>
          <a:p>
            <a:pPr>
              <a:lnSpc>
                <a:spcPct val="100000"/>
              </a:lnSpc>
            </a:pPr>
            <a:r>
              <a:rPr lang="en-US">
                <a:cs typeface="Arial"/>
              </a:rPr>
              <a:t>How often should a provider report inventory?</a:t>
            </a:r>
            <a:endParaRPr lang="en-US"/>
          </a:p>
          <a:p>
            <a:pPr>
              <a:lnSpc>
                <a:spcPct val="100000"/>
              </a:lnSpc>
            </a:pPr>
            <a:r>
              <a:rPr lang="en-US">
                <a:cs typeface="Arial"/>
              </a:rPr>
              <a:t>How often do providers report inventory?</a:t>
            </a:r>
          </a:p>
          <a:p>
            <a:pPr>
              <a:lnSpc>
                <a:spcPct val="100000"/>
              </a:lnSpc>
            </a:pPr>
            <a:r>
              <a:rPr lang="en-US">
                <a:cs typeface="Arial"/>
              </a:rPr>
              <a:t>Is quarterly inventory reporting adequate?</a:t>
            </a:r>
          </a:p>
        </p:txBody>
      </p:sp>
      <p:sp>
        <p:nvSpPr>
          <p:cNvPr id="4" name="Slide Number Placeholder 3">
            <a:extLst>
              <a:ext uri="{FF2B5EF4-FFF2-40B4-BE49-F238E27FC236}">
                <a16:creationId xmlns:a16="http://schemas.microsoft.com/office/drawing/2014/main" id="{9F4EE001-DA0C-454D-A1DC-36AD73A546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8335598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D08F8-51AA-4E59-89DF-D058DF3F4D79}"/>
              </a:ext>
            </a:extLst>
          </p:cNvPr>
          <p:cNvSpPr>
            <a:spLocks noGrp="1"/>
          </p:cNvSpPr>
          <p:nvPr>
            <p:ph type="title"/>
          </p:nvPr>
        </p:nvSpPr>
        <p:spPr>
          <a:xfrm>
            <a:off x="838200" y="117475"/>
            <a:ext cx="10515600" cy="1325563"/>
          </a:xfrm>
        </p:spPr>
        <p:txBody>
          <a:bodyPr>
            <a:normAutofit/>
          </a:bodyPr>
          <a:lstStyle/>
          <a:p>
            <a:r>
              <a:rPr lang="en-US" sz="3600">
                <a:cs typeface="Arial"/>
              </a:rPr>
              <a:t>Waiting for COMIRNATY</a:t>
            </a:r>
          </a:p>
        </p:txBody>
      </p:sp>
      <p:sp>
        <p:nvSpPr>
          <p:cNvPr id="3" name="Text Placeholder 2">
            <a:extLst>
              <a:ext uri="{FF2B5EF4-FFF2-40B4-BE49-F238E27FC236}">
                <a16:creationId xmlns:a16="http://schemas.microsoft.com/office/drawing/2014/main" id="{04000A57-32ED-4BEF-B76E-DCA033F1566C}"/>
              </a:ext>
            </a:extLst>
          </p:cNvPr>
          <p:cNvSpPr>
            <a:spLocks noGrp="1"/>
          </p:cNvSpPr>
          <p:nvPr>
            <p:ph idx="1"/>
          </p:nvPr>
        </p:nvSpPr>
        <p:spPr>
          <a:xfrm>
            <a:off x="838200" y="1243973"/>
            <a:ext cx="10515600" cy="4742490"/>
          </a:xfrm>
        </p:spPr>
        <p:txBody>
          <a:bodyPr vert="horz" lIns="91440" tIns="45720" rIns="91440" bIns="45720" rtlCol="0" anchor="t">
            <a:normAutofit/>
          </a:bodyPr>
          <a:lstStyle/>
          <a:p>
            <a:pPr>
              <a:lnSpc>
                <a:spcPct val="100000"/>
              </a:lnSpc>
            </a:pPr>
            <a:r>
              <a:rPr lang="en-US">
                <a:cs typeface="Arial"/>
              </a:rPr>
              <a:t>COMIRNATY – the rebranded Pfizer COVID-19 vaccine</a:t>
            </a:r>
            <a:endParaRPr lang="en-US"/>
          </a:p>
          <a:p>
            <a:pPr>
              <a:lnSpc>
                <a:spcPct val="100000"/>
              </a:lnSpc>
            </a:pPr>
            <a:r>
              <a:rPr lang="en-US">
                <a:cs typeface="Arial"/>
              </a:rPr>
              <a:t>Potentially, three presentations: adult, adolescent &amp; pediatric</a:t>
            </a:r>
          </a:p>
          <a:p>
            <a:pPr>
              <a:lnSpc>
                <a:spcPct val="100000"/>
              </a:lnSpc>
            </a:pPr>
            <a:r>
              <a:rPr lang="en-US">
                <a:cs typeface="Arial"/>
              </a:rPr>
              <a:t>Common to all three:</a:t>
            </a:r>
          </a:p>
          <a:p>
            <a:pPr lvl="1">
              <a:lnSpc>
                <a:spcPct val="100000"/>
              </a:lnSpc>
              <a:buFont typeface="Courier New" panose="020B0604020202020204" pitchFamily="34" charset="0"/>
              <a:buChar char="o"/>
            </a:pPr>
            <a:r>
              <a:rPr lang="en-US">
                <a:cs typeface="Arial"/>
              </a:rPr>
              <a:t>ULT shipping and storage</a:t>
            </a:r>
          </a:p>
          <a:p>
            <a:pPr lvl="1">
              <a:lnSpc>
                <a:spcPct val="100000"/>
              </a:lnSpc>
              <a:buFont typeface="Courier New" panose="020B0604020202020204" pitchFamily="34" charset="0"/>
              <a:buChar char="o"/>
            </a:pPr>
            <a:r>
              <a:rPr lang="en-US">
                <a:cs typeface="Arial"/>
              </a:rPr>
              <a:t>Dry ice – but no restocking by the federal government</a:t>
            </a:r>
          </a:p>
          <a:p>
            <a:pPr lvl="1">
              <a:lnSpc>
                <a:spcPct val="100000"/>
              </a:lnSpc>
              <a:buFont typeface="Courier New" panose="020B0604020202020204" pitchFamily="34" charset="0"/>
              <a:buChar char="o"/>
            </a:pPr>
            <a:r>
              <a:rPr lang="en-US">
                <a:cs typeface="Arial"/>
              </a:rPr>
              <a:t>Shelf-life and beyond use dating</a:t>
            </a:r>
          </a:p>
          <a:p>
            <a:pPr lvl="1">
              <a:lnSpc>
                <a:spcPct val="100000"/>
              </a:lnSpc>
              <a:buFont typeface="Courier New" panose="020B0604020202020204" pitchFamily="34" charset="0"/>
              <a:buChar char="o"/>
            </a:pPr>
            <a:r>
              <a:rPr lang="en-US">
                <a:cs typeface="Arial"/>
              </a:rPr>
              <a:t>Vial size - 6 doses per vial</a:t>
            </a:r>
          </a:p>
          <a:p>
            <a:pPr lvl="1">
              <a:lnSpc>
                <a:spcPct val="100000"/>
              </a:lnSpc>
              <a:buFont typeface="Courier New" panose="020B0604020202020204" pitchFamily="34" charset="0"/>
              <a:buChar char="o"/>
            </a:pPr>
            <a:r>
              <a:rPr lang="en-US">
                <a:cs typeface="Arial"/>
              </a:rPr>
              <a:t>Order size – smaller order sizes available</a:t>
            </a:r>
          </a:p>
          <a:p>
            <a:pPr lvl="1">
              <a:lnSpc>
                <a:spcPct val="100000"/>
              </a:lnSpc>
              <a:buFont typeface="Courier New" panose="020B0604020202020204" pitchFamily="34" charset="0"/>
              <a:buChar char="o"/>
            </a:pPr>
            <a:r>
              <a:rPr lang="en-US">
                <a:cs typeface="Arial"/>
              </a:rPr>
              <a:t>Ancillary supply kits</a:t>
            </a:r>
          </a:p>
          <a:p>
            <a:pPr>
              <a:lnSpc>
                <a:spcPct val="100000"/>
              </a:lnSpc>
              <a:buFont typeface="Courier New" panose="020B0604020202020204" pitchFamily="34" charset="0"/>
              <a:buChar char="o"/>
            </a:pPr>
            <a:endParaRPr lang="en-US">
              <a:cs typeface="Arial"/>
            </a:endParaRPr>
          </a:p>
        </p:txBody>
      </p:sp>
      <p:sp>
        <p:nvSpPr>
          <p:cNvPr id="4" name="Slide Number Placeholder 3">
            <a:extLst>
              <a:ext uri="{FF2B5EF4-FFF2-40B4-BE49-F238E27FC236}">
                <a16:creationId xmlns:a16="http://schemas.microsoft.com/office/drawing/2014/main" id="{9F4EE001-DA0C-454D-A1DC-36AD73A546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531838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3D08F8-51AA-4E59-89DF-D058DF3F4D79}"/>
              </a:ext>
            </a:extLst>
          </p:cNvPr>
          <p:cNvSpPr>
            <a:spLocks noGrp="1"/>
          </p:cNvSpPr>
          <p:nvPr>
            <p:ph type="title"/>
          </p:nvPr>
        </p:nvSpPr>
        <p:spPr>
          <a:xfrm>
            <a:off x="838200" y="165100"/>
            <a:ext cx="10515600" cy="1325563"/>
          </a:xfrm>
        </p:spPr>
        <p:txBody>
          <a:bodyPr>
            <a:normAutofit/>
          </a:bodyPr>
          <a:lstStyle/>
          <a:p>
            <a:r>
              <a:rPr lang="en-US" sz="3600">
                <a:cs typeface="Arial"/>
              </a:rPr>
              <a:t>Waiting for COMIRNATY</a:t>
            </a:r>
            <a:r>
              <a:rPr lang="en-US" sz="2800">
                <a:cs typeface="Arial"/>
              </a:rPr>
              <a:t>(Cont’d.)</a:t>
            </a:r>
          </a:p>
        </p:txBody>
      </p:sp>
      <p:sp>
        <p:nvSpPr>
          <p:cNvPr id="3" name="Text Placeholder 2">
            <a:extLst>
              <a:ext uri="{FF2B5EF4-FFF2-40B4-BE49-F238E27FC236}">
                <a16:creationId xmlns:a16="http://schemas.microsoft.com/office/drawing/2014/main" id="{04000A57-32ED-4BEF-B76E-DCA033F1566C}"/>
              </a:ext>
            </a:extLst>
          </p:cNvPr>
          <p:cNvSpPr>
            <a:spLocks noGrp="1"/>
          </p:cNvSpPr>
          <p:nvPr>
            <p:ph idx="1"/>
          </p:nvPr>
        </p:nvSpPr>
        <p:spPr>
          <a:xfrm>
            <a:off x="838199" y="1235314"/>
            <a:ext cx="10791423" cy="4958150"/>
          </a:xfrm>
        </p:spPr>
        <p:txBody>
          <a:bodyPr vert="horz" lIns="91440" tIns="45720" rIns="91440" bIns="45720" rtlCol="0" anchor="t">
            <a:normAutofit/>
          </a:bodyPr>
          <a:lstStyle/>
          <a:p>
            <a:pPr>
              <a:lnSpc>
                <a:spcPct val="100000"/>
              </a:lnSpc>
            </a:pPr>
            <a:r>
              <a:rPr lang="en-US">
                <a:cs typeface="Arial"/>
              </a:rPr>
              <a:t>How they differ:</a:t>
            </a:r>
          </a:p>
          <a:p>
            <a:pPr lvl="1">
              <a:lnSpc>
                <a:spcPct val="100000"/>
              </a:lnSpc>
              <a:buFont typeface="Courier New" panose="020B0604020202020204" pitchFamily="34" charset="0"/>
              <a:buChar char="o"/>
            </a:pPr>
            <a:r>
              <a:rPr lang="en-US">
                <a:ea typeface="+mn-lt"/>
                <a:cs typeface="+mn-lt"/>
              </a:rPr>
              <a:t>NDCs (National Drug Codes)</a:t>
            </a:r>
          </a:p>
          <a:p>
            <a:pPr lvl="1">
              <a:lnSpc>
                <a:spcPct val="100000"/>
              </a:lnSpc>
              <a:buFont typeface="Courier New" panose="020B0604020202020204" pitchFamily="34" charset="0"/>
              <a:buChar char="o"/>
            </a:pPr>
            <a:r>
              <a:rPr lang="en-US">
                <a:ea typeface="+mn-lt"/>
                <a:cs typeface="+mn-lt"/>
              </a:rPr>
              <a:t>Adult (12 or 16 years plus): The vaccine will be premixed so no diluent is required.</a:t>
            </a:r>
            <a:endParaRPr lang="en-US">
              <a:cs typeface="Arial"/>
            </a:endParaRPr>
          </a:p>
          <a:p>
            <a:pPr lvl="1">
              <a:lnSpc>
                <a:spcPct val="100000"/>
              </a:lnSpc>
              <a:buFont typeface="Courier New" panose="020B0604020202020204" pitchFamily="34" charset="0"/>
              <a:buChar char="o"/>
            </a:pPr>
            <a:r>
              <a:rPr lang="en-US">
                <a:ea typeface="+mn-lt"/>
                <a:cs typeface="+mn-lt"/>
              </a:rPr>
              <a:t>Adolescent (5-11 years): The vaccine requires dilution and dosing is less.</a:t>
            </a:r>
            <a:endParaRPr lang="en-US">
              <a:cs typeface="Arial"/>
            </a:endParaRPr>
          </a:p>
          <a:p>
            <a:pPr lvl="1">
              <a:lnSpc>
                <a:spcPct val="100000"/>
              </a:lnSpc>
              <a:buFont typeface="Courier New" panose="020B0604020202020204" pitchFamily="34" charset="0"/>
              <a:buChar char="o"/>
            </a:pPr>
            <a:r>
              <a:rPr lang="en-US">
                <a:ea typeface="+mn-lt"/>
                <a:cs typeface="+mn-lt"/>
              </a:rPr>
              <a:t>Pediatric (&gt; 4 years): The vaccine requires dilution and dosage is even less. </a:t>
            </a:r>
            <a:endParaRPr lang="en-US">
              <a:cs typeface="Arial"/>
            </a:endParaRPr>
          </a:p>
          <a:p>
            <a:pPr>
              <a:lnSpc>
                <a:spcPct val="100000"/>
              </a:lnSpc>
            </a:pPr>
            <a:r>
              <a:rPr lang="en-US">
                <a:cs typeface="Arial"/>
              </a:rPr>
              <a:t>When:</a:t>
            </a:r>
          </a:p>
          <a:p>
            <a:pPr lvl="1">
              <a:lnSpc>
                <a:spcPct val="100000"/>
              </a:lnSpc>
              <a:buFont typeface="Courier New" panose="020B0604020202020204" pitchFamily="34" charset="0"/>
              <a:buChar char="o"/>
            </a:pPr>
            <a:r>
              <a:rPr lang="en-US">
                <a:cs typeface="Arial"/>
              </a:rPr>
              <a:t>October/November: adult/adolescent</a:t>
            </a:r>
          </a:p>
          <a:p>
            <a:pPr lvl="1">
              <a:lnSpc>
                <a:spcPct val="100000"/>
              </a:lnSpc>
              <a:buFont typeface="Courier New" panose="020B0604020202020204" pitchFamily="34" charset="0"/>
              <a:buChar char="o"/>
            </a:pPr>
            <a:r>
              <a:rPr lang="en-US">
                <a:cs typeface="Arial"/>
              </a:rPr>
              <a:t>Unknown for pediatric</a:t>
            </a:r>
          </a:p>
          <a:p>
            <a:pPr lvl="1">
              <a:lnSpc>
                <a:spcPct val="100000"/>
              </a:lnSpc>
              <a:buFont typeface="Courier New" panose="020B0604020202020204" pitchFamily="34" charset="0"/>
              <a:buChar char="o"/>
            </a:pPr>
            <a:r>
              <a:rPr lang="en-US">
                <a:cs typeface="Arial"/>
              </a:rPr>
              <a:t>FDA approval/ACIP recommendation</a:t>
            </a:r>
          </a:p>
          <a:p>
            <a:pPr>
              <a:lnSpc>
                <a:spcPct val="100000"/>
              </a:lnSpc>
            </a:pPr>
            <a:endParaRPr lang="en-US">
              <a:cs typeface="Arial"/>
            </a:endParaRPr>
          </a:p>
          <a:p>
            <a:pPr marL="0" indent="0">
              <a:lnSpc>
                <a:spcPct val="100000"/>
              </a:lnSpc>
              <a:buNone/>
            </a:pPr>
            <a:endParaRPr lang="en-US">
              <a:cs typeface="Arial"/>
            </a:endParaRPr>
          </a:p>
          <a:p>
            <a:pPr>
              <a:lnSpc>
                <a:spcPct val="100000"/>
              </a:lnSpc>
            </a:pPr>
            <a:endParaRPr lang="en-US">
              <a:cs typeface="Arial"/>
            </a:endParaRPr>
          </a:p>
        </p:txBody>
      </p:sp>
      <p:sp>
        <p:nvSpPr>
          <p:cNvPr id="4" name="Slide Number Placeholder 3">
            <a:extLst>
              <a:ext uri="{FF2B5EF4-FFF2-40B4-BE49-F238E27FC236}">
                <a16:creationId xmlns:a16="http://schemas.microsoft.com/office/drawing/2014/main" id="{9F4EE001-DA0C-454D-A1DC-36AD73A546AA}"/>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55410403"/>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C5EF4-84BB-41EF-98C8-47826B7D0580}"/>
              </a:ext>
            </a:extLst>
          </p:cNvPr>
          <p:cNvSpPr>
            <a:spLocks noGrp="1"/>
          </p:cNvSpPr>
          <p:nvPr>
            <p:ph type="title"/>
          </p:nvPr>
        </p:nvSpPr>
        <p:spPr>
          <a:xfrm>
            <a:off x="838200" y="186995"/>
            <a:ext cx="11146971" cy="1325563"/>
          </a:xfrm>
        </p:spPr>
        <p:txBody>
          <a:bodyPr>
            <a:normAutofit/>
          </a:bodyPr>
          <a:lstStyle/>
          <a:p>
            <a:r>
              <a:rPr lang="en-US" sz="3600">
                <a:cs typeface="Arial"/>
              </a:rPr>
              <a:t>Third-party Redistributor (TPR)</a:t>
            </a:r>
          </a:p>
        </p:txBody>
      </p:sp>
      <p:sp>
        <p:nvSpPr>
          <p:cNvPr id="3" name="Content Placeholder 2">
            <a:extLst>
              <a:ext uri="{FF2B5EF4-FFF2-40B4-BE49-F238E27FC236}">
                <a16:creationId xmlns:a16="http://schemas.microsoft.com/office/drawing/2014/main" id="{57FDFB6D-947C-40E6-BD39-C76E99A203D1}"/>
              </a:ext>
            </a:extLst>
          </p:cNvPr>
          <p:cNvSpPr>
            <a:spLocks noGrp="1"/>
          </p:cNvSpPr>
          <p:nvPr>
            <p:ph idx="1"/>
          </p:nvPr>
        </p:nvSpPr>
        <p:spPr>
          <a:xfrm>
            <a:off x="716973" y="1328913"/>
            <a:ext cx="10714758" cy="4618532"/>
          </a:xfrm>
        </p:spPr>
        <p:txBody>
          <a:bodyPr vert="horz" lIns="91440" tIns="45720" rIns="91440" bIns="45720" rtlCol="0" anchor="t">
            <a:normAutofit/>
          </a:bodyPr>
          <a:lstStyle/>
          <a:p>
            <a:pPr>
              <a:lnSpc>
                <a:spcPct val="110000"/>
              </a:lnSpc>
            </a:pPr>
            <a:r>
              <a:rPr lang="en-US">
                <a:cs typeface="Arial"/>
              </a:rPr>
              <a:t>Three weeks in – soft opening to full opening</a:t>
            </a:r>
            <a:endParaRPr lang="en-US"/>
          </a:p>
          <a:p>
            <a:pPr>
              <a:lnSpc>
                <a:spcPct val="110000"/>
              </a:lnSpc>
            </a:pPr>
            <a:r>
              <a:rPr lang="en-US">
                <a:cs typeface="Arial"/>
              </a:rPr>
              <a:t>AmerisourceBergen (AB)</a:t>
            </a:r>
          </a:p>
          <a:p>
            <a:pPr>
              <a:lnSpc>
                <a:spcPct val="110000"/>
              </a:lnSpc>
            </a:pPr>
            <a:r>
              <a:rPr lang="en-US">
                <a:cs typeface="Arial"/>
              </a:rPr>
              <a:t>Redistribute small orders of Pfizer to include ancillary supplies</a:t>
            </a:r>
          </a:p>
          <a:p>
            <a:pPr>
              <a:lnSpc>
                <a:spcPct val="110000"/>
              </a:lnSpc>
            </a:pPr>
            <a:r>
              <a:rPr lang="en-US">
                <a:cs typeface="Arial"/>
              </a:rPr>
              <a:t>Order size 30 to 450 doses (5 to 75 vials)</a:t>
            </a:r>
            <a:endParaRPr lang="en-US"/>
          </a:p>
          <a:p>
            <a:pPr>
              <a:lnSpc>
                <a:spcPct val="110000"/>
              </a:lnSpc>
            </a:pPr>
            <a:r>
              <a:rPr lang="en-US">
                <a:cs typeface="Arial"/>
              </a:rPr>
              <a:t>CDPH will submit two orders per week</a:t>
            </a:r>
          </a:p>
          <a:p>
            <a:pPr>
              <a:lnSpc>
                <a:spcPct val="120000"/>
              </a:lnSpc>
            </a:pPr>
            <a:r>
              <a:rPr lang="en-US">
                <a:ea typeface="+mn-lt"/>
                <a:cs typeface="+mn-lt"/>
              </a:rPr>
              <a:t>Shipping ULT for normal refrigerated storage (</a:t>
            </a:r>
            <a:r>
              <a:rPr lang="en-US">
                <a:cs typeface="Arial"/>
              </a:rPr>
              <a:t>2°C to 8°C)</a:t>
            </a:r>
            <a:endParaRPr lang="en-US">
              <a:ea typeface="+mn-lt"/>
              <a:cs typeface="+mn-lt"/>
            </a:endParaRPr>
          </a:p>
          <a:p>
            <a:pPr>
              <a:lnSpc>
                <a:spcPct val="120000"/>
              </a:lnSpc>
            </a:pPr>
            <a:r>
              <a:rPr lang="en-US">
                <a:cs typeface="Arial"/>
              </a:rPr>
              <a:t>No ULT storage required on site – order lean.</a:t>
            </a:r>
          </a:p>
          <a:p>
            <a:pPr marL="0" indent="0">
              <a:buNone/>
            </a:pPr>
            <a:endParaRPr lang="en-US">
              <a:cs typeface="Arial"/>
            </a:endParaRPr>
          </a:p>
        </p:txBody>
      </p:sp>
      <p:sp>
        <p:nvSpPr>
          <p:cNvPr id="4" name="Slide Number Placeholder 3">
            <a:extLst>
              <a:ext uri="{FF2B5EF4-FFF2-40B4-BE49-F238E27FC236}">
                <a16:creationId xmlns:a16="http://schemas.microsoft.com/office/drawing/2014/main" id="{98DBB02F-05A5-40E8-9EC5-C10137E8ED0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58170351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C5EF4-84BB-41EF-98C8-47826B7D0580}"/>
              </a:ext>
            </a:extLst>
          </p:cNvPr>
          <p:cNvSpPr>
            <a:spLocks noGrp="1"/>
          </p:cNvSpPr>
          <p:nvPr>
            <p:ph type="title"/>
          </p:nvPr>
        </p:nvSpPr>
        <p:spPr>
          <a:xfrm>
            <a:off x="838200" y="186995"/>
            <a:ext cx="11146971" cy="1325563"/>
          </a:xfrm>
        </p:spPr>
        <p:txBody>
          <a:bodyPr>
            <a:normAutofit/>
          </a:bodyPr>
          <a:lstStyle/>
          <a:p>
            <a:r>
              <a:rPr lang="en-US" sz="3600">
                <a:cs typeface="Arial"/>
              </a:rPr>
              <a:t>Third-party Redistributor (TPR)</a:t>
            </a:r>
          </a:p>
        </p:txBody>
      </p:sp>
      <p:sp>
        <p:nvSpPr>
          <p:cNvPr id="3" name="Content Placeholder 2">
            <a:extLst>
              <a:ext uri="{FF2B5EF4-FFF2-40B4-BE49-F238E27FC236}">
                <a16:creationId xmlns:a16="http://schemas.microsoft.com/office/drawing/2014/main" id="{57FDFB6D-947C-40E6-BD39-C76E99A203D1}"/>
              </a:ext>
            </a:extLst>
          </p:cNvPr>
          <p:cNvSpPr>
            <a:spLocks noGrp="1"/>
          </p:cNvSpPr>
          <p:nvPr>
            <p:ph idx="1"/>
          </p:nvPr>
        </p:nvSpPr>
        <p:spPr>
          <a:xfrm>
            <a:off x="716973" y="1328913"/>
            <a:ext cx="10714758" cy="4618532"/>
          </a:xfrm>
        </p:spPr>
        <p:txBody>
          <a:bodyPr vert="horz" lIns="91440" tIns="45720" rIns="91440" bIns="45720" rtlCol="0" anchor="t">
            <a:normAutofit/>
          </a:bodyPr>
          <a:lstStyle/>
          <a:p>
            <a:pPr>
              <a:lnSpc>
                <a:spcPct val="120000"/>
              </a:lnSpc>
            </a:pPr>
            <a:r>
              <a:rPr lang="en-US">
                <a:ea typeface="+mn-lt"/>
                <a:cs typeface="+mn-lt"/>
              </a:rPr>
              <a:t>AB will provide email notification of shipment (1030 – 1600 hrs.)</a:t>
            </a:r>
            <a:endParaRPr lang="en-US"/>
          </a:p>
          <a:p>
            <a:pPr>
              <a:lnSpc>
                <a:spcPct val="120000"/>
              </a:lnSpc>
            </a:pPr>
            <a:r>
              <a:rPr lang="en-US">
                <a:ea typeface="+mn-lt"/>
                <a:cs typeface="+mn-lt"/>
              </a:rPr>
              <a:t>Shipments insulated boxes packed with dry ice pellets</a:t>
            </a:r>
          </a:p>
          <a:p>
            <a:pPr>
              <a:lnSpc>
                <a:spcPct val="120000"/>
              </a:lnSpc>
            </a:pPr>
            <a:r>
              <a:rPr lang="en-US">
                <a:ea typeface="+mn-lt"/>
                <a:cs typeface="+mn-lt"/>
              </a:rPr>
              <a:t>Providers will need gloves to unpack the boxes</a:t>
            </a:r>
            <a:endParaRPr lang="en-US"/>
          </a:p>
          <a:p>
            <a:pPr>
              <a:lnSpc>
                <a:spcPct val="120000"/>
              </a:lnSpc>
            </a:pPr>
            <a:r>
              <a:rPr lang="en-US">
                <a:ea typeface="+mn-lt"/>
                <a:cs typeface="+mn-lt"/>
              </a:rPr>
              <a:t>Vaccine &amp; data logger in packing envelope (25 vials max)</a:t>
            </a:r>
          </a:p>
          <a:p>
            <a:pPr>
              <a:lnSpc>
                <a:spcPct val="120000"/>
              </a:lnSpc>
            </a:pPr>
            <a:r>
              <a:rPr lang="en-US">
                <a:ea typeface="+mn-lt"/>
                <a:cs typeface="+mn-lt"/>
              </a:rPr>
              <a:t>Data logger will be set for -94°C to -15°C</a:t>
            </a:r>
          </a:p>
          <a:p>
            <a:pPr>
              <a:lnSpc>
                <a:spcPct val="120000"/>
              </a:lnSpc>
            </a:pPr>
            <a:r>
              <a:rPr lang="en-US">
                <a:ea typeface="+mn-lt"/>
                <a:cs typeface="+mn-lt"/>
              </a:rPr>
              <a:t>Data logger display will not work until the temperature rises – 3 to 5 minutes after removal</a:t>
            </a:r>
          </a:p>
          <a:p>
            <a:pPr marL="0" indent="0">
              <a:lnSpc>
                <a:spcPct val="120000"/>
              </a:lnSpc>
              <a:buNone/>
            </a:pPr>
            <a:endParaRPr lang="en-US">
              <a:cs typeface="Arial"/>
            </a:endParaRPr>
          </a:p>
          <a:p>
            <a:pPr>
              <a:lnSpc>
                <a:spcPct val="120000"/>
              </a:lnSpc>
              <a:buFont typeface="Courier New,monospace" panose="020B0604020202020204" pitchFamily="34" charset="0"/>
              <a:buChar char="o"/>
            </a:pPr>
            <a:endParaRPr lang="en-US">
              <a:cs typeface="Arial"/>
            </a:endParaRPr>
          </a:p>
          <a:p>
            <a:pPr>
              <a:lnSpc>
                <a:spcPct val="110000"/>
              </a:lnSpc>
            </a:pPr>
            <a:endParaRPr lang="en-US">
              <a:cs typeface="Arial"/>
            </a:endParaRPr>
          </a:p>
          <a:p>
            <a:endParaRPr lang="en-US">
              <a:cs typeface="Arial"/>
            </a:endParaRPr>
          </a:p>
        </p:txBody>
      </p:sp>
      <p:sp>
        <p:nvSpPr>
          <p:cNvPr id="4" name="Slide Number Placeholder 3">
            <a:extLst>
              <a:ext uri="{FF2B5EF4-FFF2-40B4-BE49-F238E27FC236}">
                <a16:creationId xmlns:a16="http://schemas.microsoft.com/office/drawing/2014/main" id="{98DBB02F-05A5-40E8-9EC5-C10137E8ED0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88557955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BF6EF6D0-2CB0-415C-B2C8-7EDF0F02E11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 name="Picture 6">
            <a:extLst>
              <a:ext uri="{FF2B5EF4-FFF2-40B4-BE49-F238E27FC236}">
                <a16:creationId xmlns:a16="http://schemas.microsoft.com/office/drawing/2014/main" id="{305440A2-5824-402C-A865-5C42BF94EC28}"/>
              </a:ext>
            </a:extLst>
          </p:cNvPr>
          <p:cNvPicPr>
            <a:picLocks noChangeAspect="1"/>
          </p:cNvPicPr>
          <p:nvPr/>
        </p:nvPicPr>
        <p:blipFill>
          <a:blip r:embed="rId2"/>
          <a:stretch>
            <a:fillRect/>
          </a:stretch>
        </p:blipFill>
        <p:spPr>
          <a:xfrm>
            <a:off x="5659262" y="1281840"/>
            <a:ext cx="1830200" cy="3259874"/>
          </a:xfrm>
          <a:prstGeom prst="rect">
            <a:avLst/>
          </a:prstGeom>
        </p:spPr>
      </p:pic>
      <p:pic>
        <p:nvPicPr>
          <p:cNvPr id="7" name="Picture 7">
            <a:extLst>
              <a:ext uri="{FF2B5EF4-FFF2-40B4-BE49-F238E27FC236}">
                <a16:creationId xmlns:a16="http://schemas.microsoft.com/office/drawing/2014/main" id="{335F6F59-F166-466A-BBE4-4E704A713618}"/>
              </a:ext>
            </a:extLst>
          </p:cNvPr>
          <p:cNvPicPr>
            <a:picLocks noChangeAspect="1"/>
          </p:cNvPicPr>
          <p:nvPr/>
        </p:nvPicPr>
        <p:blipFill rotWithShape="1">
          <a:blip r:embed="rId3"/>
          <a:srcRect t="11396" b="25356"/>
          <a:stretch/>
        </p:blipFill>
        <p:spPr>
          <a:xfrm>
            <a:off x="5645746" y="3689913"/>
            <a:ext cx="1839491" cy="2061803"/>
          </a:xfrm>
          <a:prstGeom prst="rect">
            <a:avLst/>
          </a:prstGeom>
        </p:spPr>
      </p:pic>
      <p:pic>
        <p:nvPicPr>
          <p:cNvPr id="8" name="Picture 8">
            <a:extLst>
              <a:ext uri="{FF2B5EF4-FFF2-40B4-BE49-F238E27FC236}">
                <a16:creationId xmlns:a16="http://schemas.microsoft.com/office/drawing/2014/main" id="{D7E29A8B-C661-4D6E-8C05-4D6668BF389F}"/>
              </a:ext>
            </a:extLst>
          </p:cNvPr>
          <p:cNvPicPr>
            <a:picLocks noChangeAspect="1"/>
          </p:cNvPicPr>
          <p:nvPr/>
        </p:nvPicPr>
        <p:blipFill>
          <a:blip r:embed="rId4"/>
          <a:stretch>
            <a:fillRect/>
          </a:stretch>
        </p:blipFill>
        <p:spPr>
          <a:xfrm>
            <a:off x="7485486" y="1799695"/>
            <a:ext cx="1839492" cy="3259876"/>
          </a:xfrm>
          <a:prstGeom prst="rect">
            <a:avLst/>
          </a:prstGeom>
        </p:spPr>
      </p:pic>
      <p:pic>
        <p:nvPicPr>
          <p:cNvPr id="9" name="Picture 9">
            <a:extLst>
              <a:ext uri="{FF2B5EF4-FFF2-40B4-BE49-F238E27FC236}">
                <a16:creationId xmlns:a16="http://schemas.microsoft.com/office/drawing/2014/main" id="{65212949-44CE-4791-8FA4-40321C51F6C5}"/>
              </a:ext>
            </a:extLst>
          </p:cNvPr>
          <p:cNvPicPr>
            <a:picLocks noChangeAspect="1"/>
          </p:cNvPicPr>
          <p:nvPr/>
        </p:nvPicPr>
        <p:blipFill rotWithShape="1">
          <a:blip r:embed="rId5"/>
          <a:srcRect l="18561" t="16988" r="21451" b="-16988"/>
          <a:stretch/>
        </p:blipFill>
        <p:spPr>
          <a:xfrm>
            <a:off x="9317679" y="2507566"/>
            <a:ext cx="1796127" cy="2243256"/>
          </a:xfrm>
          <a:prstGeom prst="rect">
            <a:avLst/>
          </a:prstGeom>
        </p:spPr>
      </p:pic>
      <p:sp>
        <p:nvSpPr>
          <p:cNvPr id="2" name="Title 1">
            <a:extLst>
              <a:ext uri="{FF2B5EF4-FFF2-40B4-BE49-F238E27FC236}">
                <a16:creationId xmlns:a16="http://schemas.microsoft.com/office/drawing/2014/main" id="{436E831C-7A20-49D1-A2E0-3617610BE632}"/>
              </a:ext>
            </a:extLst>
          </p:cNvPr>
          <p:cNvSpPr>
            <a:spLocks noGrp="1"/>
          </p:cNvSpPr>
          <p:nvPr>
            <p:ph type="title"/>
          </p:nvPr>
        </p:nvSpPr>
        <p:spPr>
          <a:xfrm>
            <a:off x="838200" y="186995"/>
            <a:ext cx="11146971" cy="1325563"/>
          </a:xfrm>
        </p:spPr>
        <p:txBody>
          <a:bodyPr>
            <a:normAutofit/>
          </a:bodyPr>
          <a:lstStyle/>
          <a:p>
            <a:r>
              <a:rPr lang="en-US" sz="3600">
                <a:cs typeface="Arial"/>
              </a:rPr>
              <a:t>Third-party Redistributor (The Visuals)</a:t>
            </a:r>
          </a:p>
        </p:txBody>
      </p:sp>
      <p:pic>
        <p:nvPicPr>
          <p:cNvPr id="3" name="Picture 10" descr="AB 03.jpg">
            <a:extLst>
              <a:ext uri="{FF2B5EF4-FFF2-40B4-BE49-F238E27FC236}">
                <a16:creationId xmlns:a16="http://schemas.microsoft.com/office/drawing/2014/main" id="{F7DB85DE-C72A-430A-A740-815946168FF4}"/>
              </a:ext>
            </a:extLst>
          </p:cNvPr>
          <p:cNvPicPr>
            <a:picLocks noChangeAspect="1"/>
          </p:cNvPicPr>
          <p:nvPr/>
        </p:nvPicPr>
        <p:blipFill>
          <a:blip r:embed="rId6"/>
          <a:stretch>
            <a:fillRect/>
          </a:stretch>
        </p:blipFill>
        <p:spPr>
          <a:xfrm>
            <a:off x="2912326" y="2205154"/>
            <a:ext cx="2743200" cy="2057400"/>
          </a:xfrm>
          <a:prstGeom prst="rect">
            <a:avLst/>
          </a:prstGeom>
        </p:spPr>
      </p:pic>
      <p:pic>
        <p:nvPicPr>
          <p:cNvPr id="5" name="Picture 5">
            <a:extLst>
              <a:ext uri="{FF2B5EF4-FFF2-40B4-BE49-F238E27FC236}">
                <a16:creationId xmlns:a16="http://schemas.microsoft.com/office/drawing/2014/main" id="{1ED84A94-5803-4717-B4E9-9E5CC063A70F}"/>
              </a:ext>
            </a:extLst>
          </p:cNvPr>
          <p:cNvPicPr>
            <a:picLocks noChangeAspect="1"/>
          </p:cNvPicPr>
          <p:nvPr/>
        </p:nvPicPr>
        <p:blipFill>
          <a:blip r:embed="rId7"/>
          <a:stretch>
            <a:fillRect/>
          </a:stretch>
        </p:blipFill>
        <p:spPr>
          <a:xfrm>
            <a:off x="1078605" y="1839403"/>
            <a:ext cx="1828509" cy="3257550"/>
          </a:xfrm>
          <a:prstGeom prst="rect">
            <a:avLst/>
          </a:prstGeom>
        </p:spPr>
      </p:pic>
    </p:spTree>
    <p:extLst>
      <p:ext uri="{BB962C8B-B14F-4D97-AF65-F5344CB8AC3E}">
        <p14:creationId xmlns:p14="http://schemas.microsoft.com/office/powerpoint/2010/main" val="333980759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9C5EF4-84BB-41EF-98C8-47826B7D0580}"/>
              </a:ext>
            </a:extLst>
          </p:cNvPr>
          <p:cNvSpPr>
            <a:spLocks noGrp="1"/>
          </p:cNvSpPr>
          <p:nvPr>
            <p:ph type="title"/>
          </p:nvPr>
        </p:nvSpPr>
        <p:spPr>
          <a:xfrm>
            <a:off x="838200" y="186995"/>
            <a:ext cx="11146971" cy="1325563"/>
          </a:xfrm>
        </p:spPr>
        <p:txBody>
          <a:bodyPr>
            <a:normAutofit/>
          </a:bodyPr>
          <a:lstStyle/>
          <a:p>
            <a:r>
              <a:rPr lang="en-US" sz="3600">
                <a:cs typeface="Arial"/>
              </a:rPr>
              <a:t>Receiving Redistributed Small Orders</a:t>
            </a:r>
          </a:p>
        </p:txBody>
      </p:sp>
      <p:sp>
        <p:nvSpPr>
          <p:cNvPr id="4" name="Slide Number Placeholder 3">
            <a:extLst>
              <a:ext uri="{FF2B5EF4-FFF2-40B4-BE49-F238E27FC236}">
                <a16:creationId xmlns:a16="http://schemas.microsoft.com/office/drawing/2014/main" id="{98DBB02F-05A5-40E8-9EC5-C10137E8ED0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5" name="Picture 5">
            <a:extLst>
              <a:ext uri="{FF2B5EF4-FFF2-40B4-BE49-F238E27FC236}">
                <a16:creationId xmlns:a16="http://schemas.microsoft.com/office/drawing/2014/main" id="{3A85B925-1485-499A-A909-E7CCAD3CC0E2}"/>
              </a:ext>
            </a:extLst>
          </p:cNvPr>
          <p:cNvPicPr>
            <a:picLocks noChangeAspect="1"/>
          </p:cNvPicPr>
          <p:nvPr/>
        </p:nvPicPr>
        <p:blipFill rotWithShape="1">
          <a:blip r:embed="rId2">
            <a:extLst>
              <a:ext uri="{28A0092B-C50C-407E-A947-70E740481C1C}">
                <a14:useLocalDpi xmlns:a14="http://schemas.microsoft.com/office/drawing/2010/main" val="0"/>
              </a:ext>
            </a:extLst>
          </a:blip>
          <a:srcRect t="1866" b="-1"/>
          <a:stretch/>
        </p:blipFill>
        <p:spPr>
          <a:xfrm>
            <a:off x="338466" y="1597902"/>
            <a:ext cx="2724556" cy="3476506"/>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6" name="Picture 6">
            <a:extLst>
              <a:ext uri="{FF2B5EF4-FFF2-40B4-BE49-F238E27FC236}">
                <a16:creationId xmlns:a16="http://schemas.microsoft.com/office/drawing/2014/main" id="{30DBE8A3-8338-4BA5-AA89-55AB73632D94}"/>
              </a:ext>
            </a:extLst>
          </p:cNvPr>
          <p:cNvPicPr>
            <a:picLocks noChangeAspect="1"/>
          </p:cNvPicPr>
          <p:nvPr/>
        </p:nvPicPr>
        <p:blipFill rotWithShape="1">
          <a:blip r:embed="rId3">
            <a:extLst>
              <a:ext uri="{28A0092B-C50C-407E-A947-70E740481C1C}">
                <a14:useLocalDpi xmlns:a14="http://schemas.microsoft.com/office/drawing/2010/main" val="0"/>
              </a:ext>
            </a:extLst>
          </a:blip>
          <a:srcRect t="1986"/>
          <a:stretch/>
        </p:blipFill>
        <p:spPr>
          <a:xfrm>
            <a:off x="3238573" y="1593908"/>
            <a:ext cx="2717062" cy="34805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7" name="Picture 7">
            <a:extLst>
              <a:ext uri="{FF2B5EF4-FFF2-40B4-BE49-F238E27FC236}">
                <a16:creationId xmlns:a16="http://schemas.microsoft.com/office/drawing/2014/main" id="{71F5D9AF-3733-4107-A777-E9DAD7AFED48}"/>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6104856" y="1593908"/>
            <a:ext cx="2708787" cy="3480500"/>
          </a:xfrm>
          <a:prstGeom prst="rect">
            <a:avLst/>
          </a:prstGeom>
          <a:ln>
            <a:solidFill>
              <a:schemeClr val="bg1">
                <a:lumMod val="85000"/>
              </a:schemeClr>
            </a:solidFill>
          </a:ln>
          <a:effectLst>
            <a:outerShdw blurRad="50800" dist="38100" dir="2700000" algn="tl" rotWithShape="0">
              <a:prstClr val="black">
                <a:alpha val="40000"/>
              </a:prstClr>
            </a:outerShdw>
          </a:effectLst>
        </p:spPr>
      </p:pic>
      <p:pic>
        <p:nvPicPr>
          <p:cNvPr id="8" name="Picture 8">
            <a:extLst>
              <a:ext uri="{FF2B5EF4-FFF2-40B4-BE49-F238E27FC236}">
                <a16:creationId xmlns:a16="http://schemas.microsoft.com/office/drawing/2014/main" id="{0D86BC53-75A5-4061-A870-0FF643EBB155}"/>
              </a:ext>
            </a:extLst>
          </p:cNvPr>
          <p:cNvPicPr>
            <a:picLocks noChangeAspect="1"/>
          </p:cNvPicPr>
          <p:nvPr/>
        </p:nvPicPr>
        <p:blipFill rotWithShape="1">
          <a:blip r:embed="rId5">
            <a:extLst>
              <a:ext uri="{28A0092B-C50C-407E-A947-70E740481C1C}">
                <a14:useLocalDpi xmlns:a14="http://schemas.microsoft.com/office/drawing/2010/main" val="0"/>
              </a:ext>
            </a:extLst>
          </a:blip>
          <a:srcRect b="1816"/>
          <a:stretch/>
        </p:blipFill>
        <p:spPr>
          <a:xfrm>
            <a:off x="8966045" y="1597362"/>
            <a:ext cx="2714830" cy="3477046"/>
          </a:xfrm>
          <a:prstGeom prst="rect">
            <a:avLst/>
          </a:prstGeom>
          <a:ln>
            <a:solidFill>
              <a:schemeClr val="bg1">
                <a:lumMod val="85000"/>
              </a:schemeClr>
            </a:solidFill>
          </a:ln>
          <a:effectLst>
            <a:outerShdw blurRad="50800" dist="38100" dir="2700000" algn="tl" rotWithShape="0">
              <a:prstClr val="black">
                <a:alpha val="40000"/>
              </a:prstClr>
            </a:outerShdw>
          </a:effectLst>
        </p:spPr>
      </p:pic>
      <p:sp>
        <p:nvSpPr>
          <p:cNvPr id="9" name="TextBox 8">
            <a:extLst>
              <a:ext uri="{FF2B5EF4-FFF2-40B4-BE49-F238E27FC236}">
                <a16:creationId xmlns:a16="http://schemas.microsoft.com/office/drawing/2014/main" id="{469ACFAA-A381-374C-ABF5-7801B0A3C178}"/>
              </a:ext>
            </a:extLst>
          </p:cNvPr>
          <p:cNvSpPr txBox="1"/>
          <p:nvPr/>
        </p:nvSpPr>
        <p:spPr>
          <a:xfrm>
            <a:off x="2181139" y="6356350"/>
            <a:ext cx="1677798" cy="369332"/>
          </a:xfrm>
          <a:prstGeom prst="rect">
            <a:avLst/>
          </a:prstGeom>
          <a:noFill/>
        </p:spPr>
        <p:txBody>
          <a:bodyPr wrap="square" rtlCol="0">
            <a:spAutoFit/>
          </a:bodyPr>
          <a:lstStyle/>
          <a:p>
            <a:r>
              <a:rPr lang="en-US">
                <a:solidFill>
                  <a:schemeClr val="bg1"/>
                </a:solidFill>
              </a:rPr>
              <a:t>View</a:t>
            </a:r>
            <a:r>
              <a:rPr lang="en-US"/>
              <a:t> </a:t>
            </a:r>
            <a:r>
              <a:rPr lang="en-US">
                <a:hlinkClick r:id="rId6"/>
              </a:rPr>
              <a:t>job aid</a:t>
            </a:r>
            <a:endParaRPr lang="en-US"/>
          </a:p>
        </p:txBody>
      </p:sp>
    </p:spTree>
    <p:extLst>
      <p:ext uri="{BB962C8B-B14F-4D97-AF65-F5344CB8AC3E}">
        <p14:creationId xmlns:p14="http://schemas.microsoft.com/office/powerpoint/2010/main" val="217463558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0180788-27DE-4009-9632-C255E9F03637}"/>
              </a:ext>
            </a:extLst>
          </p:cNvPr>
          <p:cNvSpPr>
            <a:spLocks noGrp="1"/>
          </p:cNvSpPr>
          <p:nvPr>
            <p:ph type="title"/>
          </p:nvPr>
        </p:nvSpPr>
        <p:spPr/>
        <p:txBody>
          <a:bodyPr/>
          <a:lstStyle/>
          <a:p>
            <a:r>
              <a:rPr lang="en-US" sz="3600">
                <a:cs typeface="Arial"/>
              </a:rPr>
              <a:t>Receiving Redistributed Small Orders</a:t>
            </a:r>
            <a:r>
              <a:rPr lang="en-US">
                <a:cs typeface="Arial"/>
              </a:rPr>
              <a:t> </a:t>
            </a:r>
            <a:endParaRPr lang="en-US"/>
          </a:p>
        </p:txBody>
      </p:sp>
      <p:sp>
        <p:nvSpPr>
          <p:cNvPr id="3" name="Content Placeholder 2">
            <a:extLst>
              <a:ext uri="{FF2B5EF4-FFF2-40B4-BE49-F238E27FC236}">
                <a16:creationId xmlns:a16="http://schemas.microsoft.com/office/drawing/2014/main" id="{7AD940CD-FF6C-40A4-A603-7C245954CFDD}"/>
              </a:ext>
            </a:extLst>
          </p:cNvPr>
          <p:cNvSpPr>
            <a:spLocks noGrp="1"/>
          </p:cNvSpPr>
          <p:nvPr>
            <p:ph idx="1"/>
          </p:nvPr>
        </p:nvSpPr>
        <p:spPr>
          <a:xfrm>
            <a:off x="838200" y="1825625"/>
            <a:ext cx="10515600" cy="3026498"/>
          </a:xfrm>
        </p:spPr>
        <p:txBody>
          <a:bodyPr vert="horz" lIns="91440" tIns="45720" rIns="91440" bIns="45720" rtlCol="0" anchor="t">
            <a:normAutofit/>
          </a:bodyPr>
          <a:lstStyle/>
          <a:p>
            <a:pPr marL="0" indent="0">
              <a:buNone/>
            </a:pPr>
            <a:r>
              <a:rPr lang="en-US">
                <a:ea typeface="+mn-lt"/>
                <a:cs typeface="+mn-lt"/>
              </a:rPr>
              <a:t>TPR job aid:</a:t>
            </a:r>
          </a:p>
          <a:p>
            <a:r>
              <a:rPr lang="en-US">
                <a:ea typeface="+mn-lt"/>
                <a:cs typeface="+mn-lt"/>
                <a:hlinkClick r:id="rId2"/>
              </a:rPr>
              <a:t>https://eziz.org/assets/docs/COVID19/IMM-1387.pdf</a:t>
            </a:r>
            <a:r>
              <a:rPr lang="en-US">
                <a:ea typeface="+mn-lt"/>
                <a:cs typeface="+mn-lt"/>
              </a:rPr>
              <a:t> </a:t>
            </a:r>
            <a:endParaRPr lang="en-US">
              <a:cs typeface="Arial"/>
            </a:endParaRPr>
          </a:p>
          <a:p>
            <a:endParaRPr lang="en-US">
              <a:ea typeface="+mn-lt"/>
              <a:cs typeface="+mn-lt"/>
            </a:endParaRPr>
          </a:p>
          <a:p>
            <a:pPr marL="0" indent="0">
              <a:buNone/>
            </a:pPr>
            <a:r>
              <a:rPr lang="en-US">
                <a:ea typeface="+mn-lt"/>
                <a:cs typeface="+mn-lt"/>
              </a:rPr>
              <a:t>TPR award-winning YouTube video:</a:t>
            </a:r>
          </a:p>
          <a:p>
            <a:r>
              <a:rPr lang="en-US">
                <a:ea typeface="+mn-lt"/>
                <a:cs typeface="+mn-lt"/>
                <a:hlinkClick r:id="rId3"/>
              </a:rPr>
              <a:t>https://www.youtube.com/watch?v=8eo9jxXrKq0</a:t>
            </a:r>
            <a:r>
              <a:rPr lang="en-US">
                <a:ea typeface="+mn-lt"/>
                <a:cs typeface="+mn-lt"/>
              </a:rPr>
              <a:t> </a:t>
            </a:r>
          </a:p>
        </p:txBody>
      </p:sp>
      <p:sp>
        <p:nvSpPr>
          <p:cNvPr id="4" name="Slide Number Placeholder 3">
            <a:extLst>
              <a:ext uri="{FF2B5EF4-FFF2-40B4-BE49-F238E27FC236}">
                <a16:creationId xmlns:a16="http://schemas.microsoft.com/office/drawing/2014/main" id="{E97155C0-0AF8-4605-8DB3-4F8834305C4E}"/>
              </a:ext>
            </a:extLst>
          </p:cNvPr>
          <p:cNvSpPr>
            <a:spLocks noGrp="1"/>
          </p:cNvSpPr>
          <p:nvPr>
            <p:ph type="sldNum" sz="quarter" idx="12"/>
          </p:nvPr>
        </p:nvSpPr>
        <p:spPr/>
        <p:txBody>
          <a:bodyPr/>
          <a:lstStyle/>
          <a:p>
            <a:fld id="{13D703BF-151A-0D40-8508-CABBAD09F9A9}" type="slidenum">
              <a:rPr lang="en-US" smtClean="0"/>
              <a:t>38</a:t>
            </a:fld>
            <a:endParaRPr lang="en-US"/>
          </a:p>
        </p:txBody>
      </p:sp>
      <p:pic>
        <p:nvPicPr>
          <p:cNvPr id="656388" name="Picture 4" descr="Best director trophy cup award and chair megaphone">
            <a:extLst>
              <a:ext uri="{FF2B5EF4-FFF2-40B4-BE49-F238E27FC236}">
                <a16:creationId xmlns:a16="http://schemas.microsoft.com/office/drawing/2014/main" id="{E51D39B0-2DD0-4F40-B5FE-F215E10E5907}"/>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10311" t="7291" r="9713" b="14705"/>
          <a:stretch/>
        </p:blipFill>
        <p:spPr bwMode="auto">
          <a:xfrm>
            <a:off x="8925096" y="3039761"/>
            <a:ext cx="2193925" cy="23109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685213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ubtitle 2">
            <a:extLst>
              <a:ext uri="{FF2B5EF4-FFF2-40B4-BE49-F238E27FC236}">
                <a16:creationId xmlns:a16="http://schemas.microsoft.com/office/drawing/2014/main" id="{3848562F-DAB2-431E-BE95-4780F2EC4E71}"/>
              </a:ext>
            </a:extLst>
          </p:cNvPr>
          <p:cNvSpPr txBox="1">
            <a:spLocks/>
          </p:cNvSpPr>
          <p:nvPr/>
        </p:nvSpPr>
        <p:spPr>
          <a:xfrm>
            <a:off x="616356" y="1519021"/>
            <a:ext cx="10952176" cy="915710"/>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0000"/>
                </a:solidFill>
                <a:effectLst/>
                <a:uLnTx/>
                <a:uFillTx/>
                <a:latin typeface="Arial"/>
                <a:ea typeface="+mn-ea"/>
                <a:cs typeface="Arial"/>
              </a:rPr>
              <a:t>Please use the Q&amp;A panel to comment or ask a question:</a:t>
            </a:r>
          </a:p>
        </p:txBody>
      </p:sp>
      <p:sp>
        <p:nvSpPr>
          <p:cNvPr id="3" name="TextBox 2">
            <a:extLst>
              <a:ext uri="{FF2B5EF4-FFF2-40B4-BE49-F238E27FC236}">
                <a16:creationId xmlns:a16="http://schemas.microsoft.com/office/drawing/2014/main" id="{612A1DC0-D52F-4F44-BFE5-C51585EFEF4D}"/>
              </a:ext>
            </a:extLst>
          </p:cNvPr>
          <p:cNvSpPr txBox="1"/>
          <p:nvPr/>
        </p:nvSpPr>
        <p:spPr>
          <a:xfrm>
            <a:off x="572661" y="472905"/>
            <a:ext cx="1166755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0479E"/>
                </a:solidFill>
                <a:effectLst/>
                <a:uLnTx/>
                <a:uFillTx/>
                <a:latin typeface="Arial"/>
                <a:ea typeface="+mn-ea"/>
                <a:cs typeface="Arial"/>
              </a:rPr>
              <a:t>Provider Office Hours Q&amp;A</a:t>
            </a:r>
          </a:p>
        </p:txBody>
      </p:sp>
      <p:grpSp>
        <p:nvGrpSpPr>
          <p:cNvPr id="6" name="Group 5">
            <a:extLst>
              <a:ext uri="{FF2B5EF4-FFF2-40B4-BE49-F238E27FC236}">
                <a16:creationId xmlns:a16="http://schemas.microsoft.com/office/drawing/2014/main" id="{750A3393-90BD-48DA-A042-CE00F3B58FC9}"/>
              </a:ext>
            </a:extLst>
          </p:cNvPr>
          <p:cNvGrpSpPr/>
          <p:nvPr/>
        </p:nvGrpSpPr>
        <p:grpSpPr>
          <a:xfrm>
            <a:off x="3647672" y="2292519"/>
            <a:ext cx="4906956" cy="3340405"/>
            <a:chOff x="737482" y="2445473"/>
            <a:chExt cx="4906956" cy="3340405"/>
          </a:xfrm>
        </p:grpSpPr>
        <p:pic>
          <p:nvPicPr>
            <p:cNvPr id="22" name="Picture 21">
              <a:extLst>
                <a:ext uri="{FF2B5EF4-FFF2-40B4-BE49-F238E27FC236}">
                  <a16:creationId xmlns:a16="http://schemas.microsoft.com/office/drawing/2014/main" id="{F02F2852-1EFE-49CD-9BD3-5AD24F712208}"/>
                </a:ext>
              </a:extLst>
            </p:cNvPr>
            <p:cNvPicPr>
              <a:picLocks noChangeAspect="1"/>
            </p:cNvPicPr>
            <p:nvPr/>
          </p:nvPicPr>
          <p:blipFill>
            <a:blip r:embed="rId3"/>
            <a:stretch>
              <a:fillRect/>
            </a:stretch>
          </p:blipFill>
          <p:spPr>
            <a:xfrm>
              <a:off x="809269" y="3150039"/>
              <a:ext cx="4835169" cy="2635839"/>
            </a:xfrm>
            <a:prstGeom prst="rect">
              <a:avLst/>
            </a:prstGeom>
          </p:spPr>
        </p:pic>
        <p:sp>
          <p:nvSpPr>
            <p:cNvPr id="23" name="Subtitle 2">
              <a:extLst>
                <a:ext uri="{FF2B5EF4-FFF2-40B4-BE49-F238E27FC236}">
                  <a16:creationId xmlns:a16="http://schemas.microsoft.com/office/drawing/2014/main" id="{1D6361C5-03A2-4707-B9FD-79A91308FFBB}"/>
                </a:ext>
              </a:extLst>
            </p:cNvPr>
            <p:cNvSpPr txBox="1">
              <a:spLocks/>
            </p:cNvSpPr>
            <p:nvPr/>
          </p:nvSpPr>
          <p:spPr>
            <a:xfrm>
              <a:off x="737482" y="2445473"/>
              <a:ext cx="4764457" cy="454238"/>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20479E">
                      <a:lumMod val="75000"/>
                    </a:srgbClr>
                  </a:solidFill>
                  <a:effectLst/>
                  <a:uLnTx/>
                  <a:uFillTx/>
                  <a:latin typeface="Arial"/>
                  <a:ea typeface="+mn-ea"/>
                  <a:cs typeface="Arial"/>
                </a:rPr>
                <a:t> Q&amp;A Panel</a:t>
              </a:r>
              <a:endParaRPr kumimoji="0" lang="en-US" sz="2400" b="0" i="0" u="none" strike="noStrike" kern="1200" cap="none" spc="0" normalizeH="0" baseline="0" noProof="0">
                <a:ln>
                  <a:noFill/>
                </a:ln>
                <a:solidFill>
                  <a:srgbClr val="20479E">
                    <a:lumMod val="75000"/>
                  </a:srgbClr>
                </a:solidFill>
                <a:effectLst/>
                <a:uLnTx/>
                <a:uFillTx/>
                <a:latin typeface="Arial"/>
                <a:ea typeface="+mn-ea"/>
                <a:cs typeface="Arial"/>
              </a:endParaRPr>
            </a:p>
          </p:txBody>
        </p:sp>
        <p:sp>
          <p:nvSpPr>
            <p:cNvPr id="24" name="Rectangle 23">
              <a:extLst>
                <a:ext uri="{FF2B5EF4-FFF2-40B4-BE49-F238E27FC236}">
                  <a16:creationId xmlns:a16="http://schemas.microsoft.com/office/drawing/2014/main" id="{74D2EE0E-DDBA-4A19-85FF-9E4E393B0FE2}"/>
                </a:ext>
              </a:extLst>
            </p:cNvPr>
            <p:cNvSpPr/>
            <p:nvPr/>
          </p:nvSpPr>
          <p:spPr>
            <a:xfrm>
              <a:off x="937405" y="3748177"/>
              <a:ext cx="3163015" cy="1365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Open the </a:t>
              </a:r>
              <a:r>
                <a:rPr kumimoji="0" lang="en-US" sz="1800" b="1" i="0" u="none" strike="noStrike" kern="1200" cap="none" spc="0" normalizeH="0" baseline="0" noProof="0">
                  <a:ln>
                    <a:noFill/>
                  </a:ln>
                  <a:solidFill>
                    <a:srgbClr val="000000"/>
                  </a:solidFill>
                  <a:effectLst/>
                  <a:uLnTx/>
                  <a:uFillTx/>
                  <a:latin typeface="Arial"/>
                  <a:ea typeface="+mn-ea"/>
                  <a:cs typeface="Arial"/>
                </a:rPr>
                <a:t>Q&amp;A </a:t>
              </a:r>
              <a:r>
                <a:rPr kumimoji="0" lang="en-US" sz="1800" b="0" i="0" u="none" strike="noStrike" kern="1200" cap="none" spc="0" normalizeH="0" baseline="0" noProof="0">
                  <a:ln>
                    <a:noFill/>
                  </a:ln>
                  <a:solidFill>
                    <a:srgbClr val="000000"/>
                  </a:solidFill>
                  <a:effectLst/>
                  <a:uLnTx/>
                  <a:uFillTx/>
                  <a:latin typeface="Arial"/>
                  <a:ea typeface="+mn-ea"/>
                  <a:cs typeface="Arial"/>
                </a:rPr>
                <a:t>panel</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Select Ask:  </a:t>
              </a:r>
              <a:r>
                <a:rPr kumimoji="0" lang="en-US" sz="1800" b="1" i="0" u="none" strike="noStrike" kern="1200" cap="none" spc="0" normalizeH="0" baseline="0" noProof="0">
                  <a:ln>
                    <a:noFill/>
                  </a:ln>
                  <a:solidFill>
                    <a:srgbClr val="000000"/>
                  </a:solidFill>
                  <a:effectLst/>
                  <a:uLnTx/>
                  <a:uFillTx/>
                  <a:latin typeface="Arial"/>
                  <a:ea typeface="+mn-ea"/>
                  <a:cs typeface="Arial"/>
                </a:rPr>
                <a:t>All Panelist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Enter Text, Click </a:t>
              </a:r>
              <a:r>
                <a:rPr kumimoji="0" lang="en-US" sz="1800" b="1" i="0" u="none" strike="noStrike" kern="1200" cap="none" spc="0" normalizeH="0" baseline="0" noProof="0">
                  <a:ln>
                    <a:noFill/>
                  </a:ln>
                  <a:solidFill>
                    <a:srgbClr val="000000"/>
                  </a:solidFill>
                  <a:effectLst/>
                  <a:uLnTx/>
                  <a:uFillTx/>
                  <a:latin typeface="Arial"/>
                  <a:ea typeface="+mn-ea"/>
                  <a:cs typeface="Arial"/>
                </a:rPr>
                <a:t>Send</a:t>
              </a:r>
            </a:p>
          </p:txBody>
        </p:sp>
      </p:grpSp>
    </p:spTree>
    <p:extLst>
      <p:ext uri="{BB962C8B-B14F-4D97-AF65-F5344CB8AC3E}">
        <p14:creationId xmlns:p14="http://schemas.microsoft.com/office/powerpoint/2010/main" val="326241325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A715E3D8-9E0B-406D-95CE-C4DF08F15DAD}"/>
              </a:ext>
            </a:extLst>
          </p:cNvPr>
          <p:cNvSpPr>
            <a:spLocks noGrp="1"/>
          </p:cNvSpPr>
          <p:nvPr>
            <p:ph type="sldNum" sz="quarter" idx="12"/>
          </p:nvPr>
        </p:nvSpPr>
        <p:spPr/>
        <p:txBody>
          <a:bodyPr/>
          <a:lstStyle/>
          <a:p>
            <a:fld id="{13D703BF-151A-0D40-8508-CABBAD09F9A9}" type="slidenum">
              <a:rPr lang="en-US" smtClean="0"/>
              <a:t>4</a:t>
            </a:fld>
            <a:endParaRPr lang="en-US"/>
          </a:p>
        </p:txBody>
      </p:sp>
      <p:sp>
        <p:nvSpPr>
          <p:cNvPr id="2" name="Title 1">
            <a:extLst>
              <a:ext uri="{FF2B5EF4-FFF2-40B4-BE49-F238E27FC236}">
                <a16:creationId xmlns:a16="http://schemas.microsoft.com/office/drawing/2014/main" id="{CBA10158-C9DE-4160-A793-C21CEC5E7503}"/>
              </a:ext>
            </a:extLst>
          </p:cNvPr>
          <p:cNvSpPr>
            <a:spLocks noGrp="1"/>
          </p:cNvSpPr>
          <p:nvPr>
            <p:ph type="title"/>
          </p:nvPr>
        </p:nvSpPr>
        <p:spPr>
          <a:xfrm>
            <a:off x="315310" y="92025"/>
            <a:ext cx="11872236" cy="929721"/>
          </a:xfrm>
          <a:noFill/>
          <a:ln>
            <a:noFill/>
          </a:ln>
        </p:spPr>
        <p:txBody>
          <a:bodyPr vert="horz" lIns="0" tIns="0" rIns="0" bIns="0" rtlCol="0" anchor="ctr">
            <a:normAutofit/>
          </a:bodyPr>
          <a:lstStyle/>
          <a:p>
            <a:r>
              <a:rPr lang="en-US" sz="3600"/>
              <a:t>Agenda: Friday, September 17, 2021</a:t>
            </a:r>
            <a:endParaRPr lang="en-US" sz="3600">
              <a:cs typeface="Arial"/>
            </a:endParaRPr>
          </a:p>
        </p:txBody>
      </p:sp>
      <p:graphicFrame>
        <p:nvGraphicFramePr>
          <p:cNvPr id="6" name="Table 5">
            <a:extLst>
              <a:ext uri="{FF2B5EF4-FFF2-40B4-BE49-F238E27FC236}">
                <a16:creationId xmlns:a16="http://schemas.microsoft.com/office/drawing/2014/main" id="{44A6AAD5-9887-4918-93B2-FFBC3E600725}"/>
              </a:ext>
            </a:extLst>
          </p:cNvPr>
          <p:cNvGraphicFramePr>
            <a:graphicFrameLocks noGrp="1"/>
          </p:cNvGraphicFramePr>
          <p:nvPr>
            <p:extLst>
              <p:ext uri="{D42A27DB-BD31-4B8C-83A1-F6EECF244321}">
                <p14:modId xmlns:p14="http://schemas.microsoft.com/office/powerpoint/2010/main" val="622063284"/>
              </p:ext>
            </p:extLst>
          </p:nvPr>
        </p:nvGraphicFramePr>
        <p:xfrm>
          <a:off x="20052" y="1183105"/>
          <a:ext cx="12164881" cy="5000895"/>
        </p:xfrm>
        <a:graphic>
          <a:graphicData uri="http://schemas.openxmlformats.org/drawingml/2006/table">
            <a:tbl>
              <a:tblPr firstRow="1" bandRow="1">
                <a:tableStyleId>{5C22544A-7EE6-4342-B048-85BDC9FD1C3A}</a:tableStyleId>
              </a:tblPr>
              <a:tblGrid>
                <a:gridCol w="600617">
                  <a:extLst>
                    <a:ext uri="{9D8B030D-6E8A-4147-A177-3AD203B41FA5}">
                      <a16:colId xmlns:a16="http://schemas.microsoft.com/office/drawing/2014/main" val="726942154"/>
                    </a:ext>
                  </a:extLst>
                </a:gridCol>
                <a:gridCol w="4963026">
                  <a:extLst>
                    <a:ext uri="{9D8B030D-6E8A-4147-A177-3AD203B41FA5}">
                      <a16:colId xmlns:a16="http://schemas.microsoft.com/office/drawing/2014/main" val="2530230057"/>
                    </a:ext>
                  </a:extLst>
                </a:gridCol>
                <a:gridCol w="5218868">
                  <a:extLst>
                    <a:ext uri="{9D8B030D-6E8A-4147-A177-3AD203B41FA5}">
                      <a16:colId xmlns:a16="http://schemas.microsoft.com/office/drawing/2014/main" val="2851166299"/>
                    </a:ext>
                  </a:extLst>
                </a:gridCol>
                <a:gridCol w="1382370">
                  <a:extLst>
                    <a:ext uri="{9D8B030D-6E8A-4147-A177-3AD203B41FA5}">
                      <a16:colId xmlns:a16="http://schemas.microsoft.com/office/drawing/2014/main" val="2927766826"/>
                    </a:ext>
                  </a:extLst>
                </a:gridCol>
              </a:tblGrid>
              <a:tr h="582382">
                <a:tc>
                  <a:txBody>
                    <a:bodyPr/>
                    <a:lstStyle/>
                    <a:p>
                      <a:pPr fontAlgn="base"/>
                      <a:r>
                        <a:rPr lang="en-US" sz="1800">
                          <a:effectLst/>
                        </a:rPr>
                        <a:t>No.​</a:t>
                      </a:r>
                      <a:endParaRPr lang="en-US" b="1">
                        <a:solidFill>
                          <a:srgbClr val="FFFFFF"/>
                        </a:solidFill>
                        <a:effectLst/>
                      </a:endParaRPr>
                    </a:p>
                  </a:txBody>
                  <a:tcPr>
                    <a:solidFill>
                      <a:schemeClr val="tx2"/>
                    </a:solidFill>
                  </a:tcPr>
                </a:tc>
                <a:tc>
                  <a:txBody>
                    <a:bodyPr/>
                    <a:lstStyle/>
                    <a:p>
                      <a:pPr fontAlgn="base"/>
                      <a:r>
                        <a:rPr lang="en-US" sz="1800">
                          <a:effectLst/>
                        </a:rPr>
                        <a:t>Item​</a:t>
                      </a:r>
                      <a:endParaRPr lang="en-US" b="1">
                        <a:solidFill>
                          <a:srgbClr val="FFFFFF"/>
                        </a:solidFill>
                        <a:effectLst/>
                      </a:endParaRPr>
                    </a:p>
                  </a:txBody>
                  <a:tcPr>
                    <a:solidFill>
                      <a:schemeClr val="tx2"/>
                    </a:solidFill>
                  </a:tcPr>
                </a:tc>
                <a:tc>
                  <a:txBody>
                    <a:bodyPr/>
                    <a:lstStyle/>
                    <a:p>
                      <a:pPr fontAlgn="base"/>
                      <a:r>
                        <a:rPr lang="en-US" sz="1800">
                          <a:effectLst/>
                        </a:rPr>
                        <a:t>Speaker​</a:t>
                      </a:r>
                      <a:endParaRPr lang="en-US" b="1">
                        <a:solidFill>
                          <a:srgbClr val="FFFFFF"/>
                        </a:solidFill>
                        <a:effectLst/>
                      </a:endParaRPr>
                    </a:p>
                  </a:txBody>
                  <a:tcPr>
                    <a:solidFill>
                      <a:schemeClr val="tx2"/>
                    </a:solidFill>
                  </a:tcPr>
                </a:tc>
                <a:tc>
                  <a:txBody>
                    <a:bodyPr/>
                    <a:lstStyle/>
                    <a:p>
                      <a:pPr fontAlgn="base"/>
                      <a:r>
                        <a:rPr lang="en-US" sz="1800">
                          <a:effectLst/>
                        </a:rPr>
                        <a:t>Time (AM)​</a:t>
                      </a:r>
                      <a:endParaRPr lang="en-US" b="1">
                        <a:solidFill>
                          <a:srgbClr val="FFFFFF"/>
                        </a:solidFill>
                        <a:effectLst/>
                      </a:endParaRPr>
                    </a:p>
                  </a:txBody>
                  <a:tcPr>
                    <a:solidFill>
                      <a:schemeClr val="tx2"/>
                    </a:solidFill>
                  </a:tcPr>
                </a:tc>
                <a:extLst>
                  <a:ext uri="{0D108BD9-81ED-4DB2-BD59-A6C34878D82A}">
                    <a16:rowId xmlns:a16="http://schemas.microsoft.com/office/drawing/2014/main" val="1430141808"/>
                  </a:ext>
                </a:extLst>
              </a:tr>
              <a:tr h="430457">
                <a:tc>
                  <a:txBody>
                    <a:bodyPr/>
                    <a:lstStyle/>
                    <a:p>
                      <a:pPr fontAlgn="base"/>
                      <a:r>
                        <a:rPr lang="en-US" sz="1400">
                          <a:effectLst/>
                        </a:rPr>
                        <a:t>1​</a:t>
                      </a:r>
                      <a:endParaRPr lang="en-US">
                        <a:effectLst/>
                      </a:endParaRPr>
                    </a:p>
                  </a:txBody>
                  <a:tcPr anchor="ctr"/>
                </a:tc>
                <a:tc>
                  <a:txBody>
                    <a:bodyPr/>
                    <a:lstStyle/>
                    <a:p>
                      <a:pPr fontAlgn="base"/>
                      <a:r>
                        <a:rPr lang="en-US" sz="1400">
                          <a:effectLst/>
                        </a:rPr>
                        <a:t>Welcome &amp; Announcements​</a:t>
                      </a:r>
                      <a:endParaRPr lang="en-US">
                        <a:effectLst/>
                      </a:endParaRPr>
                    </a:p>
                  </a:txBody>
                  <a:tcPr anchor="ctr"/>
                </a:tc>
                <a:tc>
                  <a:txBody>
                    <a:bodyPr/>
                    <a:lstStyle/>
                    <a:p>
                      <a:pPr fontAlgn="base"/>
                      <a:r>
                        <a:rPr lang="en-US" sz="1400">
                          <a:effectLst/>
                        </a:rPr>
                        <a:t>Leslie Amani (Moderator)​</a:t>
                      </a:r>
                      <a:endParaRPr lang="en-US">
                        <a:effectLst/>
                      </a:endParaRPr>
                    </a:p>
                  </a:txBody>
                  <a:tcPr anchor="ctr"/>
                </a:tc>
                <a:tc>
                  <a:txBody>
                    <a:bodyPr/>
                    <a:lstStyle/>
                    <a:p>
                      <a:pPr fontAlgn="base"/>
                      <a:r>
                        <a:rPr lang="en-US" sz="1400">
                          <a:effectLst/>
                        </a:rPr>
                        <a:t>9:00 – 9:05</a:t>
                      </a:r>
                    </a:p>
                  </a:txBody>
                  <a:tcPr anchor="ctr"/>
                </a:tc>
                <a:extLst>
                  <a:ext uri="{0D108BD9-81ED-4DB2-BD59-A6C34878D82A}">
                    <a16:rowId xmlns:a16="http://schemas.microsoft.com/office/drawing/2014/main" val="1179930337"/>
                  </a:ext>
                </a:extLst>
              </a:tr>
              <a:tr h="430457">
                <a:tc>
                  <a:txBody>
                    <a:bodyPr/>
                    <a:lstStyle/>
                    <a:p>
                      <a:pPr fontAlgn="base"/>
                      <a:r>
                        <a:rPr lang="en-US" sz="1400">
                          <a:effectLst/>
                        </a:rPr>
                        <a:t>2​</a:t>
                      </a:r>
                      <a:endParaRPr lang="en-US">
                        <a:effectLst/>
                      </a:endParaRPr>
                    </a:p>
                  </a:txBody>
                  <a:tcPr anchor="ctr"/>
                </a:tc>
                <a:tc>
                  <a:txBody>
                    <a:bodyPr/>
                    <a:lstStyle/>
                    <a:p>
                      <a:pPr fontAlgn="base"/>
                      <a:r>
                        <a:rPr lang="en-US" sz="1400">
                          <a:effectLst/>
                        </a:rPr>
                        <a:t>Vaccine Administration</a:t>
                      </a:r>
                      <a:endParaRPr lang="en-US" sz="1200">
                        <a:effectLst/>
                      </a:endParaRPr>
                    </a:p>
                  </a:txBody>
                  <a:tcPr anchor="ctr"/>
                </a:tc>
                <a:tc>
                  <a:txBody>
                    <a:bodyPr/>
                    <a:lstStyle/>
                    <a:p>
                      <a:pPr fontAlgn="base"/>
                      <a:r>
                        <a:rPr lang="en-US" sz="1400">
                          <a:effectLst/>
                        </a:rPr>
                        <a:t>Amy Pine (CDPH)</a:t>
                      </a:r>
                      <a:endParaRPr lang="en-US">
                        <a:effectLst/>
                      </a:endParaRPr>
                    </a:p>
                  </a:txBody>
                  <a:tcPr anchor="ctr"/>
                </a:tc>
                <a:tc>
                  <a:txBody>
                    <a:bodyPr/>
                    <a:lstStyle/>
                    <a:p>
                      <a:pPr fontAlgn="base"/>
                      <a:r>
                        <a:rPr lang="en-US" sz="1400">
                          <a:effectLst/>
                        </a:rPr>
                        <a:t>9:05 – 9:10</a:t>
                      </a:r>
                    </a:p>
                  </a:txBody>
                  <a:tcPr anchor="ctr"/>
                </a:tc>
                <a:extLst>
                  <a:ext uri="{0D108BD9-81ED-4DB2-BD59-A6C34878D82A}">
                    <a16:rowId xmlns:a16="http://schemas.microsoft.com/office/drawing/2014/main" val="3242566124"/>
                  </a:ext>
                </a:extLst>
              </a:tr>
              <a:tr h="430457">
                <a:tc>
                  <a:txBody>
                    <a:bodyPr/>
                    <a:lstStyle/>
                    <a:p>
                      <a:pPr lvl="0">
                        <a:buNone/>
                      </a:pPr>
                      <a:r>
                        <a:rPr lang="en-US" sz="1400">
                          <a:effectLst/>
                        </a:rPr>
                        <a:t>3</a:t>
                      </a:r>
                    </a:p>
                  </a:txBody>
                  <a:tcPr anchor="ctr"/>
                </a:tc>
                <a:tc>
                  <a:txBody>
                    <a:bodyPr/>
                    <a:lstStyle/>
                    <a:p>
                      <a:pPr lvl="0">
                        <a:buNone/>
                      </a:pPr>
                      <a:r>
                        <a:rPr lang="en-US" sz="1400">
                          <a:effectLst/>
                        </a:rPr>
                        <a:t>Data Improvement / Capacity Needs/ Booster Doses</a:t>
                      </a:r>
                    </a:p>
                  </a:txBody>
                  <a:tcPr anchor="ctr"/>
                </a:tc>
                <a:tc>
                  <a:txBody>
                    <a:bodyPr/>
                    <a:lstStyle/>
                    <a:p>
                      <a:pPr lvl="0">
                        <a:buNone/>
                      </a:pPr>
                      <a:r>
                        <a:rPr lang="en-US" sz="1400">
                          <a:effectLst/>
                        </a:rPr>
                        <a:t>Jennifer Womack (CDPH)</a:t>
                      </a:r>
                    </a:p>
                  </a:txBody>
                  <a:tcPr anchor="ctr"/>
                </a:tc>
                <a:tc>
                  <a:txBody>
                    <a:bodyPr/>
                    <a:lstStyle/>
                    <a:p>
                      <a:pPr lvl="0">
                        <a:buNone/>
                      </a:pPr>
                      <a:r>
                        <a:rPr lang="en-US" sz="1400">
                          <a:effectLst/>
                        </a:rPr>
                        <a:t>9:10 – 9:15</a:t>
                      </a:r>
                    </a:p>
                  </a:txBody>
                  <a:tcPr anchor="ctr"/>
                </a:tc>
                <a:extLst>
                  <a:ext uri="{0D108BD9-81ED-4DB2-BD59-A6C34878D82A}">
                    <a16:rowId xmlns:a16="http://schemas.microsoft.com/office/drawing/2014/main" val="1034294883"/>
                  </a:ext>
                </a:extLst>
              </a:tr>
              <a:tr h="430457">
                <a:tc>
                  <a:txBody>
                    <a:bodyPr/>
                    <a:lstStyle/>
                    <a:p>
                      <a:pPr fontAlgn="base"/>
                      <a:r>
                        <a:rPr lang="en-US" sz="1400">
                          <a:effectLst/>
                        </a:rPr>
                        <a:t>4</a:t>
                      </a:r>
                    </a:p>
                  </a:txBody>
                  <a:tcPr anchor="ctr"/>
                </a:tc>
                <a:tc>
                  <a:txBody>
                    <a:bodyPr/>
                    <a:lstStyle/>
                    <a:p>
                      <a:pPr lvl="0">
                        <a:buNone/>
                      </a:pPr>
                      <a:r>
                        <a:rPr lang="en-US" sz="1400"/>
                        <a:t>Enrollment &amp; </a:t>
                      </a:r>
                      <a:r>
                        <a:rPr lang="en-US" sz="1400" err="1"/>
                        <a:t>CalVaxGrant</a:t>
                      </a:r>
                    </a:p>
                  </a:txBody>
                  <a:tcPr anchor="ctr"/>
                </a:tc>
                <a:tc>
                  <a:txBody>
                    <a:bodyPr/>
                    <a:lstStyle/>
                    <a:p>
                      <a:pPr lvl="0">
                        <a:buNone/>
                      </a:pPr>
                      <a:r>
                        <a:rPr lang="en-US" sz="1400"/>
                        <a:t>Nisha Gandhi (CDPH)</a:t>
                      </a:r>
                      <a:endParaRPr lang="en-US"/>
                    </a:p>
                  </a:txBody>
                  <a:tcPr anchor="ctr"/>
                </a:tc>
                <a:tc>
                  <a:txBody>
                    <a:bodyPr/>
                    <a:lstStyle/>
                    <a:p>
                      <a:pPr fontAlgn="base"/>
                      <a:r>
                        <a:rPr lang="en-US" sz="1400">
                          <a:effectLst/>
                        </a:rPr>
                        <a:t>9:15 – 9:20</a:t>
                      </a:r>
                    </a:p>
                  </a:txBody>
                  <a:tcPr anchor="ctr"/>
                </a:tc>
                <a:extLst>
                  <a:ext uri="{0D108BD9-81ED-4DB2-BD59-A6C34878D82A}">
                    <a16:rowId xmlns:a16="http://schemas.microsoft.com/office/drawing/2014/main" val="4064629045"/>
                  </a:ext>
                </a:extLst>
              </a:tr>
              <a:tr h="481098">
                <a:tc>
                  <a:txBody>
                    <a:bodyPr/>
                    <a:lstStyle/>
                    <a:p>
                      <a:pPr fontAlgn="base"/>
                      <a:r>
                        <a:rPr lang="en-US" sz="1400">
                          <a:effectLst/>
                        </a:rPr>
                        <a:t>5</a:t>
                      </a:r>
                    </a:p>
                  </a:txBody>
                  <a:tcPr anchor="ctr"/>
                </a:tc>
                <a:tc>
                  <a:txBody>
                    <a:bodyPr/>
                    <a:lstStyle/>
                    <a:p>
                      <a:pPr lvl="0">
                        <a:buNone/>
                      </a:pPr>
                      <a:r>
                        <a:rPr lang="en-US" sz="1400" b="0" i="0" u="none" strike="noStrike" noProof="0">
                          <a:effectLst/>
                          <a:latin typeface="Arial"/>
                        </a:rPr>
                        <a:t>Clinical Update</a:t>
                      </a:r>
                      <a:endParaRPr lang="en-US" sz="1400" b="0" i="0" u="none" strike="noStrike" noProof="0" err="1">
                        <a:effectLst/>
                        <a:latin typeface="Arial"/>
                      </a:endParaRPr>
                    </a:p>
                  </a:txBody>
                  <a:tcPr anchor="ctr"/>
                </a:tc>
                <a:tc>
                  <a:txBody>
                    <a:bodyPr/>
                    <a:lstStyle/>
                    <a:p>
                      <a:pPr lvl="0">
                        <a:buNone/>
                      </a:pPr>
                      <a:r>
                        <a:rPr lang="en-US" sz="1400"/>
                        <a:t>Louise McNitt, M.D. (CDPH)</a:t>
                      </a:r>
                      <a:endParaRPr lang="en-US"/>
                    </a:p>
                  </a:txBody>
                  <a:tcPr anchor="ctr"/>
                </a:tc>
                <a:tc>
                  <a:txBody>
                    <a:bodyPr/>
                    <a:lstStyle/>
                    <a:p>
                      <a:pPr fontAlgn="base"/>
                      <a:r>
                        <a:rPr lang="en-US" sz="1400">
                          <a:effectLst/>
                        </a:rPr>
                        <a:t>9:20 – 9:25</a:t>
                      </a:r>
                    </a:p>
                  </a:txBody>
                  <a:tcPr anchor="ctr"/>
                </a:tc>
                <a:extLst>
                  <a:ext uri="{0D108BD9-81ED-4DB2-BD59-A6C34878D82A}">
                    <a16:rowId xmlns:a16="http://schemas.microsoft.com/office/drawing/2014/main" val="275226793"/>
                  </a:ext>
                </a:extLst>
              </a:tr>
              <a:tr h="493759">
                <a:tc>
                  <a:txBody>
                    <a:bodyPr/>
                    <a:lstStyle/>
                    <a:p>
                      <a:pPr lvl="0">
                        <a:buNone/>
                      </a:pPr>
                      <a:r>
                        <a:rPr lang="en-US" sz="1400">
                          <a:effectLst/>
                        </a:rPr>
                        <a:t>6</a:t>
                      </a:r>
                    </a:p>
                  </a:txBody>
                  <a:tcPr anchor="ctr"/>
                </a:tc>
                <a:tc>
                  <a:txBody>
                    <a:bodyPr/>
                    <a:lstStyle/>
                    <a:p>
                      <a:pPr lvl="0">
                        <a:buNone/>
                      </a:pPr>
                      <a:r>
                        <a:rPr lang="en-US" sz="1400" b="0" i="0" u="none" strike="noStrike" noProof="0">
                          <a:effectLst/>
                          <a:latin typeface="Arial"/>
                        </a:rPr>
                        <a:t>Storage &amp; Handling</a:t>
                      </a:r>
                    </a:p>
                  </a:txBody>
                  <a:tcPr anchor="ctr"/>
                </a:tc>
                <a:tc>
                  <a:txBody>
                    <a:bodyPr/>
                    <a:lstStyle/>
                    <a:p>
                      <a:pPr lvl="0">
                        <a:buNone/>
                      </a:pPr>
                      <a:r>
                        <a:rPr lang="en-US" sz="1400"/>
                        <a:t>Alan Hendrickson (CDPH)</a:t>
                      </a:r>
                      <a:endParaRPr lang="en-US" sz="1400">
                        <a:highlight>
                          <a:srgbClr val="FFFF00"/>
                        </a:highlight>
                      </a:endParaRPr>
                    </a:p>
                  </a:txBody>
                  <a:tcPr anchor="ctr"/>
                </a:tc>
                <a:tc>
                  <a:txBody>
                    <a:bodyPr/>
                    <a:lstStyle/>
                    <a:p>
                      <a:pPr lvl="0">
                        <a:buNone/>
                      </a:pPr>
                      <a:r>
                        <a:rPr lang="en-US" sz="1400">
                          <a:effectLst/>
                        </a:rPr>
                        <a:t>9:25 – 9:30</a:t>
                      </a:r>
                    </a:p>
                  </a:txBody>
                  <a:tcPr anchor="ctr"/>
                </a:tc>
                <a:extLst>
                  <a:ext uri="{0D108BD9-81ED-4DB2-BD59-A6C34878D82A}">
                    <a16:rowId xmlns:a16="http://schemas.microsoft.com/office/drawing/2014/main" val="2694444701"/>
                  </a:ext>
                </a:extLst>
              </a:tr>
              <a:tr h="430457">
                <a:tc gridSpan="3">
                  <a:txBody>
                    <a:bodyPr/>
                    <a:lstStyle/>
                    <a:p>
                      <a:pPr algn="ctr" fontAlgn="base"/>
                      <a:r>
                        <a:rPr lang="en-US" sz="1400">
                          <a:effectLst/>
                        </a:rPr>
                        <a:t>Q&amp;A ​</a:t>
                      </a:r>
                      <a:endParaRPr lang="en-US">
                        <a:effectLst/>
                      </a:endParaRPr>
                    </a:p>
                  </a:txBody>
                  <a:tcPr anchor="ctr"/>
                </a:tc>
                <a:tc hMerge="1">
                  <a:txBody>
                    <a:bodyPr/>
                    <a:lstStyle/>
                    <a:p>
                      <a:endParaRPr lang="en-US"/>
                    </a:p>
                  </a:txBody>
                  <a:tcPr/>
                </a:tc>
                <a:tc hMerge="1">
                  <a:txBody>
                    <a:bodyPr/>
                    <a:lstStyle/>
                    <a:p>
                      <a:endParaRPr lang="en-US"/>
                    </a:p>
                  </a:txBody>
                  <a:tcPr/>
                </a:tc>
                <a:tc>
                  <a:txBody>
                    <a:bodyPr/>
                    <a:lstStyle/>
                    <a:p>
                      <a:pPr fontAlgn="base"/>
                      <a:r>
                        <a:rPr lang="en-US" sz="1400">
                          <a:effectLst/>
                        </a:rPr>
                        <a:t>9:30 – 9:40</a:t>
                      </a:r>
                    </a:p>
                  </a:txBody>
                  <a:tcPr anchor="ctr"/>
                </a:tc>
                <a:extLst>
                  <a:ext uri="{0D108BD9-81ED-4DB2-BD59-A6C34878D82A}">
                    <a16:rowId xmlns:a16="http://schemas.microsoft.com/office/drawing/2014/main" val="923597877"/>
                  </a:ext>
                </a:extLst>
              </a:tr>
              <a:tr h="430457">
                <a:tc>
                  <a:txBody>
                    <a:bodyPr/>
                    <a:lstStyle/>
                    <a:p>
                      <a:pPr fontAlgn="base"/>
                      <a:r>
                        <a:rPr lang="en-US" sz="1400">
                          <a:effectLst/>
                        </a:rPr>
                        <a:t>7</a:t>
                      </a:r>
                    </a:p>
                  </a:txBody>
                  <a:tcPr anchor="ctr"/>
                </a:tc>
                <a:tc>
                  <a:txBody>
                    <a:bodyPr/>
                    <a:lstStyle/>
                    <a:p>
                      <a:pPr fontAlgn="base"/>
                      <a:r>
                        <a:rPr lang="en-US" sz="1400">
                          <a:effectLst/>
                        </a:rPr>
                        <a:t>Vaccine Management</a:t>
                      </a:r>
                      <a:endParaRPr lang="en-US" sz="1400" err="1">
                        <a:effectLst/>
                      </a:endParaRPr>
                    </a:p>
                  </a:txBody>
                  <a:tcPr anchor="ctr"/>
                </a:tc>
                <a:tc>
                  <a:txBody>
                    <a:bodyPr/>
                    <a:lstStyle/>
                    <a:p>
                      <a:pPr fontAlgn="base"/>
                      <a:r>
                        <a:rPr lang="en-US" sz="1400">
                          <a:effectLst/>
                        </a:rPr>
                        <a:t>Maria Volk &amp; Claudia Aguiluz (CDPH)</a:t>
                      </a:r>
                    </a:p>
                  </a:txBody>
                  <a:tcPr anchor="ctr"/>
                </a:tc>
                <a:tc>
                  <a:txBody>
                    <a:bodyPr/>
                    <a:lstStyle/>
                    <a:p>
                      <a:pPr fontAlgn="base"/>
                      <a:r>
                        <a:rPr lang="en-US" sz="1400">
                          <a:effectLst/>
                        </a:rPr>
                        <a:t>9:40 – 9:50</a:t>
                      </a:r>
                    </a:p>
                  </a:txBody>
                  <a:tcPr anchor="ctr"/>
                </a:tc>
                <a:extLst>
                  <a:ext uri="{0D108BD9-81ED-4DB2-BD59-A6C34878D82A}">
                    <a16:rowId xmlns:a16="http://schemas.microsoft.com/office/drawing/2014/main" val="1520074205"/>
                  </a:ext>
                </a:extLst>
              </a:tr>
              <a:tr h="430457">
                <a:tc>
                  <a:txBody>
                    <a:bodyPr/>
                    <a:lstStyle/>
                    <a:p>
                      <a:pPr lvl="0">
                        <a:buNone/>
                      </a:pPr>
                      <a:r>
                        <a:rPr lang="en-US" sz="1400">
                          <a:effectLst/>
                        </a:rPr>
                        <a:t>8</a:t>
                      </a:r>
                    </a:p>
                  </a:txBody>
                  <a:tcPr anchor="ctr"/>
                </a:tc>
                <a:tc>
                  <a:txBody>
                    <a:bodyPr/>
                    <a:lstStyle/>
                    <a:p>
                      <a:pPr lvl="0">
                        <a:buNone/>
                      </a:pPr>
                      <a:r>
                        <a:rPr lang="en-US" sz="1400">
                          <a:effectLst/>
                        </a:rPr>
                        <a:t>Wrap Up &amp; Resources</a:t>
                      </a:r>
                    </a:p>
                  </a:txBody>
                  <a:tcPr anchor="ctr"/>
                </a:tc>
                <a:tc>
                  <a:txBody>
                    <a:bodyPr/>
                    <a:lstStyle/>
                    <a:p>
                      <a:pPr lvl="0">
                        <a:buNone/>
                      </a:pPr>
                      <a:r>
                        <a:rPr lang="en-US" sz="1400">
                          <a:effectLst/>
                        </a:rPr>
                        <a:t>Leslie Amani (Moderator)</a:t>
                      </a:r>
                    </a:p>
                  </a:txBody>
                  <a:tcPr anchor="ctr"/>
                </a:tc>
                <a:tc>
                  <a:txBody>
                    <a:bodyPr/>
                    <a:lstStyle/>
                    <a:p>
                      <a:pPr lvl="0">
                        <a:buNone/>
                      </a:pPr>
                      <a:r>
                        <a:rPr lang="en-US" sz="1400">
                          <a:effectLst/>
                        </a:rPr>
                        <a:t>9:50 – 10:00</a:t>
                      </a:r>
                    </a:p>
                  </a:txBody>
                  <a:tcPr anchor="ctr"/>
                </a:tc>
                <a:extLst>
                  <a:ext uri="{0D108BD9-81ED-4DB2-BD59-A6C34878D82A}">
                    <a16:rowId xmlns:a16="http://schemas.microsoft.com/office/drawing/2014/main" val="2401004111"/>
                  </a:ext>
                </a:extLst>
              </a:tr>
              <a:tr h="430457">
                <a:tc gridSpan="3">
                  <a:txBody>
                    <a:bodyPr/>
                    <a:lstStyle/>
                    <a:p>
                      <a:pPr algn="ctr" fontAlgn="base"/>
                      <a:r>
                        <a:rPr lang="en-US" sz="1400">
                          <a:effectLst/>
                        </a:rPr>
                        <a:t>Q&amp;A​</a:t>
                      </a:r>
                      <a:endParaRPr lang="en-US">
                        <a:effectLst/>
                      </a:endParaRPr>
                    </a:p>
                  </a:txBody>
                  <a:tcPr anchor="ctr"/>
                </a:tc>
                <a:tc hMerge="1">
                  <a:txBody>
                    <a:bodyPr/>
                    <a:lstStyle/>
                    <a:p>
                      <a:endParaRPr lang="en-US"/>
                    </a:p>
                  </a:txBody>
                  <a:tcPr/>
                </a:tc>
                <a:tc hMerge="1">
                  <a:txBody>
                    <a:bodyPr/>
                    <a:lstStyle/>
                    <a:p>
                      <a:endParaRPr lang="en-US"/>
                    </a:p>
                  </a:txBody>
                  <a:tcPr/>
                </a:tc>
                <a:tc>
                  <a:txBody>
                    <a:bodyPr/>
                    <a:lstStyle/>
                    <a:p>
                      <a:pPr fontAlgn="base"/>
                      <a:endParaRPr lang="en-US">
                        <a:effectLst/>
                      </a:endParaRPr>
                    </a:p>
                  </a:txBody>
                  <a:tcPr anchor="ctr"/>
                </a:tc>
                <a:extLst>
                  <a:ext uri="{0D108BD9-81ED-4DB2-BD59-A6C34878D82A}">
                    <a16:rowId xmlns:a16="http://schemas.microsoft.com/office/drawing/2014/main" val="3595511541"/>
                  </a:ext>
                </a:extLst>
              </a:tr>
            </a:tbl>
          </a:graphicData>
        </a:graphic>
      </p:graphicFrame>
    </p:spTree>
    <p:extLst>
      <p:ext uri="{BB962C8B-B14F-4D97-AF65-F5344CB8AC3E}">
        <p14:creationId xmlns:p14="http://schemas.microsoft.com/office/powerpoint/2010/main" val="41252251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FC2B1C-F835-4983-8E4F-4F93BF7B98F8}"/>
              </a:ext>
            </a:extLst>
          </p:cNvPr>
          <p:cNvSpPr>
            <a:spLocks noGrp="1"/>
          </p:cNvSpPr>
          <p:nvPr>
            <p:ph type="title"/>
          </p:nvPr>
        </p:nvSpPr>
        <p:spPr>
          <a:xfrm>
            <a:off x="735625" y="2074858"/>
            <a:ext cx="7791845" cy="2852737"/>
          </a:xfrm>
        </p:spPr>
        <p:txBody>
          <a:bodyPr vert="horz" lIns="91440" tIns="45720" rIns="91440" bIns="45720" rtlCol="0" anchor="b">
            <a:normAutofit/>
          </a:bodyPr>
          <a:lstStyle/>
          <a:p>
            <a:r>
              <a:rPr lang="en-US" sz="4400">
                <a:cs typeface="Arial"/>
              </a:rPr>
              <a:t>Vaccine Management</a:t>
            </a:r>
          </a:p>
        </p:txBody>
      </p:sp>
      <p:sp>
        <p:nvSpPr>
          <p:cNvPr id="4" name="TextBox 3">
            <a:extLst>
              <a:ext uri="{FF2B5EF4-FFF2-40B4-BE49-F238E27FC236}">
                <a16:creationId xmlns:a16="http://schemas.microsoft.com/office/drawing/2014/main" id="{E9A00759-D3EF-4F62-BC3F-D784C6267770}"/>
              </a:ext>
            </a:extLst>
          </p:cNvPr>
          <p:cNvSpPr txBox="1"/>
          <p:nvPr/>
        </p:nvSpPr>
        <p:spPr>
          <a:xfrm>
            <a:off x="4898571" y="5987143"/>
            <a:ext cx="6803571"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endParaRPr lang="en-US">
              <a:highlight>
                <a:srgbClr val="C0C0C0"/>
              </a:highlight>
              <a:latin typeface="Source Sans Pro"/>
              <a:ea typeface="Source Sans Pro"/>
              <a:cs typeface="Arial" panose="020B0604020202020204"/>
            </a:endParaRPr>
          </a:p>
        </p:txBody>
      </p:sp>
      <p:sp>
        <p:nvSpPr>
          <p:cNvPr id="7" name="Rectangle 6">
            <a:extLst>
              <a:ext uri="{FF2B5EF4-FFF2-40B4-BE49-F238E27FC236}">
                <a16:creationId xmlns:a16="http://schemas.microsoft.com/office/drawing/2014/main" id="{A5617A82-826E-43A9-A843-0A4D3A08BF7E}"/>
              </a:ext>
            </a:extLst>
          </p:cNvPr>
          <p:cNvSpPr/>
          <p:nvPr/>
        </p:nvSpPr>
        <p:spPr>
          <a:xfrm>
            <a:off x="5489202" y="4460993"/>
            <a:ext cx="2315787" cy="933205"/>
          </a:xfrm>
          <a:prstGeom prst="rect">
            <a:avLst/>
          </a:prstGeom>
        </p:spPr>
        <p:txBody>
          <a:bodyPr wrap="square" lIns="0" tIns="0" rIns="0" bIns="0" anchor="t">
            <a:spAutoFit/>
          </a:bodyPr>
          <a:lstStyle/>
          <a:p>
            <a:endParaRPr lang="en-US" sz="1100">
              <a:cs typeface="Arial"/>
            </a:endParaRPr>
          </a:p>
        </p:txBody>
      </p:sp>
      <p:sp>
        <p:nvSpPr>
          <p:cNvPr id="5" name="Text Placeholder 4">
            <a:extLst>
              <a:ext uri="{FF2B5EF4-FFF2-40B4-BE49-F238E27FC236}">
                <a16:creationId xmlns:a16="http://schemas.microsoft.com/office/drawing/2014/main" id="{B89B93DE-6922-4112-8DB9-9CD4B94108C3}"/>
              </a:ext>
            </a:extLst>
          </p:cNvPr>
          <p:cNvSpPr>
            <a:spLocks noGrp="1"/>
          </p:cNvSpPr>
          <p:nvPr>
            <p:ph type="body" idx="1"/>
          </p:nvPr>
        </p:nvSpPr>
        <p:spPr>
          <a:xfrm>
            <a:off x="735625" y="5071801"/>
            <a:ext cx="10515600" cy="1500187"/>
          </a:xfrm>
        </p:spPr>
        <p:txBody>
          <a:bodyPr vert="horz" lIns="91440" tIns="45720" rIns="91440" bIns="45720" rtlCol="0" anchor="t">
            <a:normAutofit/>
          </a:bodyPr>
          <a:lstStyle/>
          <a:p>
            <a:r>
              <a:rPr lang="en-US">
                <a:ea typeface="+mn-lt"/>
                <a:cs typeface="+mn-lt"/>
              </a:rPr>
              <a:t>Maria Volk, My Turn and Claudia Aguiluz, CDPH</a:t>
            </a:r>
            <a:endParaRPr lang="en-US"/>
          </a:p>
        </p:txBody>
      </p:sp>
    </p:spTree>
    <p:extLst>
      <p:ext uri="{BB962C8B-B14F-4D97-AF65-F5344CB8AC3E}">
        <p14:creationId xmlns:p14="http://schemas.microsoft.com/office/powerpoint/2010/main" val="3009933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02DE6-96D9-47F8-A7C8-D6C9DE4A7C97}"/>
              </a:ext>
            </a:extLst>
          </p:cNvPr>
          <p:cNvSpPr>
            <a:spLocks noGrp="1"/>
          </p:cNvSpPr>
          <p:nvPr>
            <p:ph type="title"/>
          </p:nvPr>
        </p:nvSpPr>
        <p:spPr>
          <a:xfrm>
            <a:off x="275493" y="1"/>
            <a:ext cx="10515600" cy="1047964"/>
          </a:xfrm>
        </p:spPr>
        <p:txBody>
          <a:bodyPr>
            <a:normAutofit/>
          </a:bodyPr>
          <a:lstStyle/>
          <a:p>
            <a:r>
              <a:rPr lang="en-US" sz="3600"/>
              <a:t>Table of Contents</a:t>
            </a:r>
          </a:p>
        </p:txBody>
      </p:sp>
      <p:sp>
        <p:nvSpPr>
          <p:cNvPr id="4" name="Slide Number Placeholder 3">
            <a:extLst>
              <a:ext uri="{FF2B5EF4-FFF2-40B4-BE49-F238E27FC236}">
                <a16:creationId xmlns:a16="http://schemas.microsoft.com/office/drawing/2014/main" id="{95512496-CEE0-41FD-92DC-8A1BC7F138B1}"/>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Content Placeholder 2">
            <a:extLst>
              <a:ext uri="{FF2B5EF4-FFF2-40B4-BE49-F238E27FC236}">
                <a16:creationId xmlns:a16="http://schemas.microsoft.com/office/drawing/2014/main" id="{4F8539F2-3AFE-40CB-BC81-6D7E3A6983B7}"/>
              </a:ext>
            </a:extLst>
          </p:cNvPr>
          <p:cNvSpPr>
            <a:spLocks noGrp="1"/>
          </p:cNvSpPr>
          <p:nvPr>
            <p:ph idx="1"/>
          </p:nvPr>
        </p:nvSpPr>
        <p:spPr>
          <a:xfrm>
            <a:off x="519011" y="1136455"/>
            <a:ext cx="10720917" cy="4968194"/>
          </a:xfrm>
        </p:spPr>
        <p:txBody>
          <a:bodyPr vert="horz" lIns="91440" tIns="45720" rIns="91440" bIns="45720" rtlCol="0" anchor="t">
            <a:noAutofit/>
          </a:bodyPr>
          <a:lstStyle/>
          <a:p>
            <a:pPr algn="l" rtl="0" fontAlgn="base">
              <a:lnSpc>
                <a:spcPct val="100000"/>
              </a:lnSpc>
              <a:buFont typeface="Arial" panose="020B0604020202020204" pitchFamily="34" charset="0"/>
              <a:buChar char="•"/>
            </a:pPr>
            <a:r>
              <a:rPr lang="en-US" sz="2400" b="0" i="0" u="none" strike="noStrike">
                <a:solidFill>
                  <a:srgbClr val="000000"/>
                </a:solidFill>
                <a:effectLst/>
                <a:cs typeface="Arial"/>
              </a:rPr>
              <a:t>What’s New on My Turn</a:t>
            </a:r>
            <a:r>
              <a:rPr lang="en-US" sz="2400" b="0" i="0">
                <a:solidFill>
                  <a:srgbClr val="000000"/>
                </a:solidFill>
                <a:effectLst/>
                <a:cs typeface="Arial"/>
              </a:rPr>
              <a:t>​</a:t>
            </a:r>
            <a:endParaRPr lang="en-US"/>
          </a:p>
          <a:p>
            <a:pPr algn="l" rtl="0" fontAlgn="base">
              <a:lnSpc>
                <a:spcPct val="100000"/>
              </a:lnSpc>
              <a:buFont typeface="Arial" panose="020B0604020202020204" pitchFamily="34" charset="0"/>
              <a:buChar char="•"/>
            </a:pPr>
            <a:r>
              <a:rPr lang="en-US" sz="2400" b="0" i="0" u="none" strike="noStrike">
                <a:solidFill>
                  <a:srgbClr val="000000"/>
                </a:solidFill>
                <a:effectLst/>
                <a:cs typeface="Arial"/>
              </a:rPr>
              <a:t>My Turn </a:t>
            </a:r>
            <a:r>
              <a:rPr lang="en-US" sz="2400">
                <a:solidFill>
                  <a:srgbClr val="000000"/>
                </a:solidFill>
                <a:cs typeface="Arial"/>
              </a:rPr>
              <a:t>flu</a:t>
            </a:r>
            <a:r>
              <a:rPr lang="en-US" sz="2400" b="0" i="0" u="none" strike="noStrike">
                <a:solidFill>
                  <a:srgbClr val="000000"/>
                </a:solidFill>
                <a:effectLst/>
                <a:cs typeface="Arial"/>
              </a:rPr>
              <a:t> </a:t>
            </a:r>
            <a:r>
              <a:rPr lang="en-US" sz="2400" b="0" i="0">
                <a:solidFill>
                  <a:srgbClr val="000000"/>
                </a:solidFill>
                <a:effectLst/>
                <a:cs typeface="Arial"/>
              </a:rPr>
              <a:t>​Mockup</a:t>
            </a:r>
          </a:p>
          <a:p>
            <a:pPr algn="l" rtl="0" fontAlgn="base">
              <a:lnSpc>
                <a:spcPct val="100000"/>
              </a:lnSpc>
              <a:buFont typeface="Arial" panose="020B0604020202020204" pitchFamily="34" charset="0"/>
              <a:buChar char="•"/>
            </a:pPr>
            <a:r>
              <a:rPr lang="en-US" sz="2400" b="0" i="0" u="none" strike="noStrike">
                <a:solidFill>
                  <a:srgbClr val="000000"/>
                </a:solidFill>
                <a:effectLst/>
                <a:cs typeface="Arial"/>
              </a:rPr>
              <a:t>Upcoming </a:t>
            </a:r>
            <a:r>
              <a:rPr lang="en-US" sz="2400" b="0" i="0" u="none" strike="noStrike" err="1">
                <a:solidFill>
                  <a:srgbClr val="000000"/>
                </a:solidFill>
                <a:effectLst/>
                <a:cs typeface="Arial"/>
              </a:rPr>
              <a:t>myCAvax</a:t>
            </a:r>
            <a:r>
              <a:rPr lang="en-US" sz="2400" b="0" i="0" u="none" strike="noStrike">
                <a:solidFill>
                  <a:srgbClr val="000000"/>
                </a:solidFill>
                <a:effectLst/>
                <a:cs typeface="Arial"/>
              </a:rPr>
              <a:t> Live </a:t>
            </a:r>
            <a:r>
              <a:rPr lang="en-US" sz="2400">
                <a:solidFill>
                  <a:srgbClr val="000000"/>
                </a:solidFill>
                <a:cs typeface="Arial"/>
              </a:rPr>
              <a:t>T</a:t>
            </a:r>
            <a:r>
              <a:rPr lang="en-US" sz="2400" b="0" i="0" u="none" strike="noStrike">
                <a:solidFill>
                  <a:srgbClr val="000000"/>
                </a:solidFill>
                <a:effectLst/>
                <a:cs typeface="Arial"/>
              </a:rPr>
              <a:t>rainings</a:t>
            </a:r>
            <a:r>
              <a:rPr lang="en-US" sz="2400" b="0" i="0">
                <a:solidFill>
                  <a:srgbClr val="000000"/>
                </a:solidFill>
                <a:effectLst/>
                <a:cs typeface="Arial"/>
              </a:rPr>
              <a:t>​</a:t>
            </a:r>
            <a:endParaRPr lang="en-US" sz="2400">
              <a:solidFill>
                <a:srgbClr val="000000"/>
              </a:solidFill>
              <a:cs typeface="Arial"/>
            </a:endParaRPr>
          </a:p>
          <a:p>
            <a:pPr>
              <a:lnSpc>
                <a:spcPct val="100000"/>
              </a:lnSpc>
              <a:buFont typeface="Arial,Sans-Serif" panose="020B0604020202020204" pitchFamily="34" charset="0"/>
            </a:pPr>
            <a:r>
              <a:rPr lang="en-US" sz="2400">
                <a:solidFill>
                  <a:srgbClr val="000000"/>
                </a:solidFill>
                <a:ea typeface="+mn-lt"/>
                <a:cs typeface="+mn-lt"/>
              </a:rPr>
              <a:t>J&amp;J Vaccine Available for Ordering</a:t>
            </a:r>
            <a:endParaRPr lang="en-US" sz="2400">
              <a:ea typeface="+mn-lt"/>
              <a:cs typeface="+mn-lt"/>
            </a:endParaRPr>
          </a:p>
          <a:p>
            <a:pPr>
              <a:lnSpc>
                <a:spcPct val="100000"/>
              </a:lnSpc>
            </a:pPr>
            <a:r>
              <a:rPr lang="en-US" sz="2400">
                <a:solidFill>
                  <a:srgbClr val="000000"/>
                </a:solidFill>
                <a:cs typeface="Arial"/>
              </a:rPr>
              <a:t>Ordering Reminders</a:t>
            </a:r>
          </a:p>
          <a:p>
            <a:pPr algn="l" rtl="0" fontAlgn="base">
              <a:lnSpc>
                <a:spcPct val="100000"/>
              </a:lnSpc>
              <a:buFont typeface="Arial" panose="020B0604020202020204" pitchFamily="34" charset="0"/>
              <a:buChar char="•"/>
            </a:pPr>
            <a:r>
              <a:rPr lang="en-US" sz="2400" b="0" i="0" u="none" strike="noStrike">
                <a:solidFill>
                  <a:srgbClr val="000000"/>
                </a:solidFill>
                <a:effectLst/>
                <a:cs typeface="Arial"/>
              </a:rPr>
              <a:t>Appendix</a:t>
            </a:r>
            <a:r>
              <a:rPr lang="en-US" sz="2400" b="0" i="0">
                <a:solidFill>
                  <a:srgbClr val="000000"/>
                </a:solidFill>
                <a:effectLst/>
                <a:cs typeface="Arial"/>
              </a:rPr>
              <a:t>​</a:t>
            </a:r>
          </a:p>
          <a:p>
            <a:pPr lvl="1" fontAlgn="base">
              <a:lnSpc>
                <a:spcPct val="100000"/>
              </a:lnSpc>
              <a:buFont typeface="Courier New" panose="02070309020205020404" pitchFamily="49" charset="0"/>
              <a:buChar char="o"/>
            </a:pPr>
            <a:r>
              <a:rPr lang="en-US" sz="2000" b="0" i="0" u="none" strike="noStrike" err="1">
                <a:solidFill>
                  <a:srgbClr val="000000"/>
                </a:solidFill>
                <a:effectLst/>
                <a:cs typeface="Arial"/>
              </a:rPr>
              <a:t>myCAvax</a:t>
            </a:r>
            <a:r>
              <a:rPr lang="en-US" sz="2000" b="0" i="0" u="none" strike="noStrike">
                <a:solidFill>
                  <a:srgbClr val="000000"/>
                </a:solidFill>
                <a:effectLst/>
                <a:cs typeface="Arial"/>
              </a:rPr>
              <a:t> Known Issues &amp; Workarounds</a:t>
            </a:r>
            <a:r>
              <a:rPr lang="en-US" sz="2000" b="0" i="0">
                <a:solidFill>
                  <a:srgbClr val="000000"/>
                </a:solidFill>
                <a:effectLst/>
                <a:cs typeface="Arial"/>
              </a:rPr>
              <a:t>​</a:t>
            </a:r>
          </a:p>
          <a:p>
            <a:pPr lvl="1" fontAlgn="base">
              <a:lnSpc>
                <a:spcPct val="100000"/>
              </a:lnSpc>
              <a:buFont typeface="Courier New" panose="02070309020205020404" pitchFamily="49" charset="0"/>
              <a:buChar char="o"/>
            </a:pPr>
            <a:r>
              <a:rPr lang="en-US" sz="2000" b="0" i="0" u="none" strike="noStrike">
                <a:solidFill>
                  <a:srgbClr val="000000"/>
                </a:solidFill>
                <a:effectLst/>
                <a:cs typeface="Arial"/>
              </a:rPr>
              <a:t>My Turn and </a:t>
            </a:r>
            <a:r>
              <a:rPr lang="en-US" sz="2000" b="0" i="0" u="none" strike="noStrike" err="1">
                <a:solidFill>
                  <a:srgbClr val="000000"/>
                </a:solidFill>
                <a:effectLst/>
                <a:cs typeface="Arial"/>
              </a:rPr>
              <a:t>myCAvax</a:t>
            </a:r>
            <a:r>
              <a:rPr lang="en-US" sz="2000" b="0" i="0" u="none" strike="noStrike">
                <a:solidFill>
                  <a:srgbClr val="000000"/>
                </a:solidFill>
                <a:effectLst/>
                <a:cs typeface="Arial"/>
              </a:rPr>
              <a:t> Feedback Form</a:t>
            </a:r>
            <a:endParaRPr lang="en-US" sz="2000" b="0" i="0">
              <a:solidFill>
                <a:srgbClr val="000000"/>
              </a:solidFill>
              <a:effectLst/>
              <a:cs typeface="Arial"/>
            </a:endParaRPr>
          </a:p>
        </p:txBody>
      </p:sp>
    </p:spTree>
    <p:extLst>
      <p:ext uri="{BB962C8B-B14F-4D97-AF65-F5344CB8AC3E}">
        <p14:creationId xmlns:p14="http://schemas.microsoft.com/office/powerpoint/2010/main" val="54525121"/>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02DE6-96D9-47F8-A7C8-D6C9DE4A7C97}"/>
              </a:ext>
            </a:extLst>
          </p:cNvPr>
          <p:cNvSpPr>
            <a:spLocks noGrp="1"/>
          </p:cNvSpPr>
          <p:nvPr>
            <p:ph type="title"/>
          </p:nvPr>
        </p:nvSpPr>
        <p:spPr>
          <a:xfrm>
            <a:off x="275493" y="1"/>
            <a:ext cx="10515600" cy="1047964"/>
          </a:xfrm>
        </p:spPr>
        <p:txBody>
          <a:bodyPr>
            <a:normAutofit/>
          </a:bodyPr>
          <a:lstStyle/>
          <a:p>
            <a:r>
              <a:rPr lang="en-US" sz="3600"/>
              <a:t>What’s New on My Turn: Release 17 (9/15)</a:t>
            </a:r>
            <a:endParaRPr lang="en-US" sz="3600" b="1">
              <a:solidFill>
                <a:schemeClr val="tx1"/>
              </a:solidFill>
            </a:endParaRPr>
          </a:p>
        </p:txBody>
      </p:sp>
      <p:sp>
        <p:nvSpPr>
          <p:cNvPr id="4" name="Slide Number Placeholder 3">
            <a:extLst>
              <a:ext uri="{FF2B5EF4-FFF2-40B4-BE49-F238E27FC236}">
                <a16:creationId xmlns:a16="http://schemas.microsoft.com/office/drawing/2014/main" id="{95512496-CEE0-41FD-92DC-8A1BC7F138B1}"/>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8" name="Graphic 17" descr="Needle with solid fill">
            <a:extLst>
              <a:ext uri="{FF2B5EF4-FFF2-40B4-BE49-F238E27FC236}">
                <a16:creationId xmlns:a16="http://schemas.microsoft.com/office/drawing/2014/main" id="{93DE74A6-7E45-4E0C-B93A-E468A8058C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68068">
            <a:off x="1447380" y="1883299"/>
            <a:ext cx="1446644" cy="1446644"/>
          </a:xfrm>
          <a:prstGeom prst="rect">
            <a:avLst/>
          </a:prstGeom>
        </p:spPr>
      </p:pic>
      <p:sp>
        <p:nvSpPr>
          <p:cNvPr id="34" name="TextBox 33">
            <a:extLst>
              <a:ext uri="{FF2B5EF4-FFF2-40B4-BE49-F238E27FC236}">
                <a16:creationId xmlns:a16="http://schemas.microsoft.com/office/drawing/2014/main" id="{31F00B54-9229-4354-A04F-07485E50FC77}"/>
              </a:ext>
            </a:extLst>
          </p:cNvPr>
          <p:cNvSpPr txBox="1"/>
          <p:nvPr/>
        </p:nvSpPr>
        <p:spPr>
          <a:xfrm>
            <a:off x="6255746" y="1463134"/>
            <a:ext cx="5201762" cy="276999"/>
          </a:xfrm>
          <a:prstGeom prst="rect">
            <a:avLst/>
          </a:prstGeom>
          <a:ln w="6350">
            <a:noFill/>
            <a:miter lim="800000"/>
          </a:ln>
        </p:spPr>
        <p:txBody>
          <a:bodyPr vert="horz" wrap="square" lIns="0" tIns="0" rIns="0" bIns="0" rtlCol="0" anchor="t">
            <a:sp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800" b="0" i="0" u="none" strike="noStrike" kern="1200" cap="none" spc="0" normalizeH="0" baseline="0" noProof="0">
                <a:ln>
                  <a:noFill/>
                </a:ln>
                <a:solidFill>
                  <a:srgbClr val="000000"/>
                </a:solidFill>
                <a:effectLst/>
                <a:uLnTx/>
                <a:uFillTx/>
                <a:latin typeface="Arial" panose="020B0604020202020204"/>
                <a:ea typeface="+mn-lt"/>
                <a:cs typeface="Arial"/>
              </a:rPr>
              <a:t>	</a:t>
            </a:r>
          </a:p>
        </p:txBody>
      </p:sp>
      <p:sp>
        <p:nvSpPr>
          <p:cNvPr id="7" name="TextBox 6">
            <a:extLst>
              <a:ext uri="{FF2B5EF4-FFF2-40B4-BE49-F238E27FC236}">
                <a16:creationId xmlns:a16="http://schemas.microsoft.com/office/drawing/2014/main" id="{3458B44E-4F70-4E60-9646-62330998508A}"/>
              </a:ext>
            </a:extLst>
          </p:cNvPr>
          <p:cNvSpPr txBox="1"/>
          <p:nvPr/>
        </p:nvSpPr>
        <p:spPr>
          <a:xfrm>
            <a:off x="275833" y="1103038"/>
            <a:ext cx="3205537"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37D20"/>
                </a:solidFill>
                <a:effectLst/>
                <a:uLnTx/>
                <a:uFillTx/>
                <a:latin typeface="Arial" panose="020B0604020202020204"/>
                <a:ea typeface="+mn-ea"/>
                <a:cs typeface="+mn-cs"/>
              </a:rPr>
              <a:t>My Turn Clinic</a:t>
            </a:r>
            <a:endParaRPr kumimoji="0" lang="en-US" sz="2400" b="1" i="0" u="none" strike="noStrike" kern="1200" cap="none" spc="0" normalizeH="0" baseline="0" noProof="0">
              <a:ln>
                <a:noFill/>
              </a:ln>
              <a:solidFill>
                <a:srgbClr val="F37D20"/>
              </a:solidFill>
              <a:effectLst/>
              <a:uLnTx/>
              <a:uFillTx/>
              <a:latin typeface="Arial" panose="020B0604020202020204"/>
              <a:ea typeface="+mn-ea"/>
              <a:cs typeface="Arial"/>
            </a:endParaRPr>
          </a:p>
        </p:txBody>
      </p:sp>
      <p:sp>
        <p:nvSpPr>
          <p:cNvPr id="46" name="TextBox 45">
            <a:extLst>
              <a:ext uri="{FF2B5EF4-FFF2-40B4-BE49-F238E27FC236}">
                <a16:creationId xmlns:a16="http://schemas.microsoft.com/office/drawing/2014/main" id="{8EDC856D-CE31-4F4B-AB8A-249D12119247}"/>
              </a:ext>
            </a:extLst>
          </p:cNvPr>
          <p:cNvSpPr txBox="1"/>
          <p:nvPr/>
        </p:nvSpPr>
        <p:spPr>
          <a:xfrm>
            <a:off x="6532640" y="1103322"/>
            <a:ext cx="3205537" cy="46166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srgbClr val="F37D20"/>
                </a:solidFill>
                <a:effectLst/>
                <a:uLnTx/>
                <a:uFillTx/>
                <a:latin typeface="Arial" panose="020B0604020202020204"/>
                <a:ea typeface="+mn-ea"/>
                <a:cs typeface="+mn-cs"/>
              </a:rPr>
              <a:t>My Turn Public</a:t>
            </a:r>
            <a:endParaRPr kumimoji="0" lang="en-US" sz="2400" b="1" i="0" u="none" strike="noStrike" kern="1200" cap="none" spc="0" normalizeH="0" baseline="0" noProof="0">
              <a:ln>
                <a:noFill/>
              </a:ln>
              <a:solidFill>
                <a:srgbClr val="F37D20"/>
              </a:solidFill>
              <a:effectLst/>
              <a:uLnTx/>
              <a:uFillTx/>
              <a:latin typeface="Arial" panose="020B0604020202020204"/>
              <a:ea typeface="+mn-ea"/>
              <a:cs typeface="Arial"/>
            </a:endParaRPr>
          </a:p>
        </p:txBody>
      </p:sp>
      <p:sp>
        <p:nvSpPr>
          <p:cNvPr id="3" name="TextBox 2">
            <a:extLst>
              <a:ext uri="{FF2B5EF4-FFF2-40B4-BE49-F238E27FC236}">
                <a16:creationId xmlns:a16="http://schemas.microsoft.com/office/drawing/2014/main" id="{BD9365D5-6179-4A9D-93DD-C4044E251A45}"/>
              </a:ext>
            </a:extLst>
          </p:cNvPr>
          <p:cNvSpPr txBox="1"/>
          <p:nvPr/>
        </p:nvSpPr>
        <p:spPr>
          <a:xfrm>
            <a:off x="275106" y="1527304"/>
            <a:ext cx="5819046" cy="2462213"/>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26524"/>
              </a:buClr>
              <a:buSzTx/>
              <a:buFont typeface="Wingdings" panose="05000000000000000000" pitchFamily="2" charset="2"/>
              <a:buChar char="ü"/>
              <a:tabLst/>
              <a:defRPr/>
            </a:pP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Booster functionality</a:t>
            </a:r>
            <a:endParaRPr kumimoji="0" lang="en-US" sz="2200" b="0" i="0" u="none" strike="noStrike" kern="1200" cap="none" spc="0" normalizeH="0" baseline="0" noProof="0">
              <a:ln>
                <a:noFill/>
              </a:ln>
              <a:solidFill>
                <a:srgbClr val="000000"/>
              </a:solidFill>
              <a:effectLst/>
              <a:uLnTx/>
              <a:uFillTx/>
              <a:latin typeface="Arial" panose="020B0604020202020204"/>
              <a:ea typeface="+mn-ea"/>
              <a:cs typeface="Arial"/>
            </a:endParaRPr>
          </a:p>
          <a:p>
            <a:pPr marL="742950" marR="0" lvl="1" indent="-285750" algn="l" defTabSz="914400" rtl="0" eaLnBrk="1" fontAlgn="auto" latinLnBrk="0" hangingPunct="1">
              <a:lnSpc>
                <a:spcPct val="100000"/>
              </a:lnSpc>
              <a:spcBef>
                <a:spcPts val="0"/>
              </a:spcBef>
              <a:spcAft>
                <a:spcPts val="0"/>
              </a:spcAft>
              <a:buClr>
                <a:srgbClr val="F26524"/>
              </a:buClr>
              <a:buSzTx/>
              <a:buFont typeface="Wingdings" panose="05000000000000000000" pitchFamily="2" charset="2"/>
              <a:buChar char="ü"/>
              <a:tabLst/>
              <a:defRPr/>
            </a:pP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Clinic setup, Walk-in, </a:t>
            </a:r>
            <a:b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b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Vaccine Administration flow</a:t>
            </a:r>
            <a:endParaRPr kumimoji="0" lang="en-US" sz="22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a:p>
            <a:pPr marL="285750" marR="0" lvl="0" indent="-285750" algn="l" defTabSz="914400" rtl="0" eaLnBrk="1" fontAlgn="auto" latinLnBrk="0" hangingPunct="1">
              <a:lnSpc>
                <a:spcPct val="100000"/>
              </a:lnSpc>
              <a:spcBef>
                <a:spcPts val="0"/>
              </a:spcBef>
              <a:spcAft>
                <a:spcPts val="0"/>
              </a:spcAft>
              <a:buClr>
                <a:srgbClr val="F26524"/>
              </a:buClr>
              <a:buSzTx/>
              <a:buFont typeface="Wingdings" panose="05000000000000000000" pitchFamily="2" charset="2"/>
              <a:buChar char="ü"/>
              <a:tabLst/>
              <a:defRPr/>
            </a:pP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Editing Parent / Guardian Information date/time stamp</a:t>
            </a:r>
            <a:endParaRPr kumimoji="0" lang="en-US" sz="2200" b="0" i="0" u="none" strike="noStrike" kern="1200" cap="none" spc="0" normalizeH="0" baseline="0" noProof="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0"/>
              </a:spcBef>
              <a:spcAft>
                <a:spcPts val="0"/>
              </a:spcAft>
              <a:buClr>
                <a:srgbClr val="F26524"/>
              </a:buClr>
              <a:buSzTx/>
              <a:buFont typeface="Wingdings" panose="05000000000000000000" pitchFamily="2" charset="2"/>
              <a:buChar char="ü"/>
              <a:tabLst/>
              <a:defRPr/>
            </a:pP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Archiving clinics</a:t>
            </a:r>
            <a:endParaRPr kumimoji="0" lang="en-US" sz="2200" b="0" i="0" u="none" strike="noStrike" kern="1200" cap="none" spc="0" normalizeH="0" baseline="0" noProof="0">
              <a:ln>
                <a:noFill/>
              </a:ln>
              <a:solidFill>
                <a:srgbClr val="000000"/>
              </a:solidFill>
              <a:effectLst/>
              <a:uLnTx/>
              <a:uFillTx/>
              <a:latin typeface="Arial"/>
              <a:ea typeface="+mn-ea"/>
              <a:cs typeface="Arial"/>
            </a:endParaRPr>
          </a:p>
          <a:p>
            <a:pPr marL="457200" marR="0" lvl="1" indent="0" algn="l" defTabSz="914400" rtl="0" eaLnBrk="1" fontAlgn="base" latinLnBrk="0" hangingPunct="1">
              <a:lnSpc>
                <a:spcPct val="100000"/>
              </a:lnSpc>
              <a:spcBef>
                <a:spcPts val="0"/>
              </a:spcBef>
              <a:spcAft>
                <a:spcPts val="0"/>
              </a:spcAft>
              <a:buClrTx/>
              <a:buSzTx/>
              <a:buFontTx/>
              <a:buNone/>
              <a:tabLst/>
              <a:defRPr/>
            </a:pPr>
            <a:endParaRPr kumimoji="0" lang="en-US" sz="2200" b="1" i="0" u="none" strike="noStrike" kern="1200" cap="none" spc="0" normalizeH="0" baseline="0" noProof="0">
              <a:ln>
                <a:noFill/>
              </a:ln>
              <a:solidFill>
                <a:srgbClr val="000000"/>
              </a:solidFill>
              <a:effectLst/>
              <a:uLnTx/>
              <a:uFillTx/>
              <a:latin typeface="Arial"/>
              <a:ea typeface="+mn-ea"/>
              <a:cs typeface="Arial"/>
            </a:endParaRPr>
          </a:p>
        </p:txBody>
      </p:sp>
      <p:sp>
        <p:nvSpPr>
          <p:cNvPr id="10" name="TextBox 9">
            <a:extLst>
              <a:ext uri="{FF2B5EF4-FFF2-40B4-BE49-F238E27FC236}">
                <a16:creationId xmlns:a16="http://schemas.microsoft.com/office/drawing/2014/main" id="{5E354340-DA57-4614-AA2C-FC58EE844911}"/>
              </a:ext>
            </a:extLst>
          </p:cNvPr>
          <p:cNvSpPr txBox="1"/>
          <p:nvPr/>
        </p:nvSpPr>
        <p:spPr>
          <a:xfrm>
            <a:off x="6533036" y="1525583"/>
            <a:ext cx="5736970" cy="1785104"/>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
                <a:srgbClr val="F26524"/>
              </a:buClr>
              <a:buSzTx/>
              <a:buFont typeface="Wingdings" panose="05000000000000000000" pitchFamily="2" charset="2"/>
              <a:buChar char="ü"/>
              <a:tabLst/>
              <a:defRPr/>
            </a:pP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Clinic walk-in tags for additional doses </a:t>
            </a:r>
            <a:endParaRPr kumimoji="0" lang="en-US" sz="22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a:p>
            <a:pPr marL="285750" marR="0" lvl="0" indent="-285750" algn="l" defTabSz="914400" rtl="0" eaLnBrk="1" fontAlgn="auto" latinLnBrk="0" hangingPunct="1">
              <a:lnSpc>
                <a:spcPct val="100000"/>
              </a:lnSpc>
              <a:spcBef>
                <a:spcPts val="0"/>
              </a:spcBef>
              <a:spcAft>
                <a:spcPts val="0"/>
              </a:spcAft>
              <a:buClr>
                <a:srgbClr val="F26524"/>
              </a:buClr>
              <a:buSzTx/>
              <a:buFont typeface="Wingdings" panose="05000000000000000000" pitchFamily="2" charset="2"/>
              <a:buChar char="ü"/>
              <a:tabLst/>
              <a:defRPr/>
            </a:pP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Booster functionality (9/2021)*</a:t>
            </a:r>
          </a:p>
          <a:p>
            <a:pPr marL="742950" marR="0" lvl="1" indent="-285750" algn="l" defTabSz="914400" rtl="0" eaLnBrk="1" fontAlgn="auto" latinLnBrk="0" hangingPunct="1">
              <a:lnSpc>
                <a:spcPct val="100000"/>
              </a:lnSpc>
              <a:spcBef>
                <a:spcPts val="0"/>
              </a:spcBef>
              <a:spcAft>
                <a:spcPts val="0"/>
              </a:spcAft>
              <a:buClr>
                <a:srgbClr val="F26524"/>
              </a:buClr>
              <a:buSzTx/>
              <a:buFont typeface="Wingdings" panose="05000000000000000000" pitchFamily="2" charset="2"/>
              <a:buChar char="ü"/>
              <a:tabLst/>
              <a:defRPr/>
            </a:pP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Screening page with new eligibility questions</a:t>
            </a:r>
          </a:p>
          <a:p>
            <a:pPr marL="742950" marR="0" lvl="1" indent="-285750" algn="l" defTabSz="914400" rtl="0" eaLnBrk="1" fontAlgn="auto" latinLnBrk="0" hangingPunct="1">
              <a:lnSpc>
                <a:spcPct val="100000"/>
              </a:lnSpc>
              <a:spcBef>
                <a:spcPts val="0"/>
              </a:spcBef>
              <a:spcAft>
                <a:spcPts val="0"/>
              </a:spcAft>
              <a:buClr>
                <a:srgbClr val="F26524"/>
              </a:buClr>
              <a:buSzTx/>
              <a:buFont typeface="Wingdings" panose="05000000000000000000" pitchFamily="2" charset="2"/>
              <a:buChar char="ü"/>
              <a:tabLst/>
              <a:defRPr/>
            </a:pPr>
            <a:r>
              <a:rPr kumimoji="0" lang="en-US" sz="2200" b="0" i="0" u="none" strike="noStrike" kern="1200" cap="none" spc="0" normalizeH="0" baseline="0" noProof="0">
                <a:ln>
                  <a:noFill/>
                </a:ln>
                <a:solidFill>
                  <a:srgbClr val="000000"/>
                </a:solidFill>
                <a:effectLst/>
                <a:uLnTx/>
                <a:uFillTx/>
                <a:latin typeface="Arial" panose="020B0604020202020204"/>
                <a:ea typeface="+mn-lt"/>
                <a:cs typeface="Arial" panose="020B0604020202020204"/>
              </a:rPr>
              <a:t>Updated landing page</a:t>
            </a:r>
            <a:endParaRPr kumimoji="0" lang="en-US" sz="22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p:txBody>
      </p:sp>
      <p:pic>
        <p:nvPicPr>
          <p:cNvPr id="582658" name="Picture 2">
            <a:extLst>
              <a:ext uri="{FF2B5EF4-FFF2-40B4-BE49-F238E27FC236}">
                <a16:creationId xmlns:a16="http://schemas.microsoft.com/office/drawing/2014/main" id="{816FB389-72C4-4D60-AB66-4D8AC94228EC}"/>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r="6246"/>
          <a:stretch/>
        </p:blipFill>
        <p:spPr bwMode="auto">
          <a:xfrm>
            <a:off x="116232" y="4150951"/>
            <a:ext cx="6493888" cy="1644025"/>
          </a:xfrm>
          <a:prstGeom prst="rect">
            <a:avLst/>
          </a:prstGeom>
          <a:ln w="19050">
            <a:noFill/>
          </a:ln>
          <a:effectLst>
            <a:outerShdw blurRad="50800" dist="38100" dir="13500000" algn="br"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78F4CB63-2C63-452B-8571-1C65060C6FA0}"/>
              </a:ext>
            </a:extLst>
          </p:cNvPr>
          <p:cNvSpPr txBox="1"/>
          <p:nvPr/>
        </p:nvSpPr>
        <p:spPr>
          <a:xfrm>
            <a:off x="1768331" y="6149038"/>
            <a:ext cx="9089356" cy="64633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My Turn anticipates booster dose functionality to </a:t>
            </a:r>
            <a:r>
              <a:rPr kumimoji="0" lang="en-US" sz="1200" b="1" i="0" u="none" strike="noStrike" kern="1200" cap="none" spc="0" normalizeH="0" baseline="0" noProof="0">
                <a:ln>
                  <a:noFill/>
                </a:ln>
                <a:solidFill>
                  <a:srgbClr val="FFFFFF"/>
                </a:solidFill>
                <a:effectLst/>
                <a:uLnTx/>
                <a:uFillTx/>
                <a:latin typeface="Arial"/>
                <a:ea typeface="+mn-ea"/>
                <a:cs typeface="Arial"/>
              </a:rPr>
              <a:t>deploy 9/2021</a:t>
            </a:r>
            <a:r>
              <a:rPr kumimoji="0" lang="en-US" sz="1200" b="0" i="0" u="none" strike="noStrike" kern="1200" cap="none" spc="0" normalizeH="0" baseline="0" noProof="0">
                <a:ln>
                  <a:noFill/>
                </a:ln>
                <a:solidFill>
                  <a:srgbClr val="FFFFFF"/>
                </a:solidFill>
                <a:effectLst/>
                <a:uLnTx/>
                <a:uFillTx/>
                <a:latin typeface="Arial"/>
                <a:ea typeface="+mn-ea"/>
                <a:cs typeface="Arial"/>
              </a:rPr>
              <a:t> the administration of booster doses to patients </a:t>
            </a:r>
            <a:r>
              <a:rPr kumimoji="0" lang="en-US" sz="1200" b="1" i="0" u="none" strike="noStrike" kern="1200" cap="none" spc="0" normalizeH="0" baseline="0" noProof="0">
                <a:ln>
                  <a:noFill/>
                </a:ln>
                <a:solidFill>
                  <a:srgbClr val="FFFFFF"/>
                </a:solidFill>
                <a:effectLst/>
                <a:uLnTx/>
                <a:uFillTx/>
                <a:latin typeface="Arial"/>
                <a:ea typeface="+mn-ea"/>
                <a:cs typeface="Arial"/>
              </a:rPr>
              <a:t>currently does not </a:t>
            </a:r>
            <a:r>
              <a:rPr kumimoji="0" lang="en-US" sz="1200" b="0" i="0" u="none" strike="noStrike" kern="1200" cap="none" spc="0" normalizeH="0" baseline="0" noProof="0">
                <a:ln>
                  <a:noFill/>
                </a:ln>
                <a:solidFill>
                  <a:srgbClr val="FFFFFF"/>
                </a:solidFill>
                <a:effectLst/>
                <a:uLnTx/>
                <a:uFillTx/>
                <a:latin typeface="Arial"/>
                <a:ea typeface="+mn-ea"/>
                <a:cs typeface="Arial"/>
              </a:rPr>
              <a:t>have a guaranteed start date. </a:t>
            </a:r>
            <a:r>
              <a:rPr kumimoji="0" lang="en-US" sz="1200" b="1" i="1" u="none" strike="noStrike" kern="1200" cap="none" spc="0" normalizeH="0" baseline="0" noProof="0">
                <a:ln>
                  <a:noFill/>
                </a:ln>
                <a:solidFill>
                  <a:srgbClr val="FFFFFF"/>
                </a:solidFill>
                <a:effectLst/>
                <a:uLnTx/>
                <a:uFillTx/>
                <a:latin typeface="Arial"/>
                <a:ea typeface="+mn-ea"/>
                <a:cs typeface="Arial"/>
              </a:rPr>
              <a:t>Please continue to wait for regulatory approvals before administering booster doses.</a:t>
            </a:r>
            <a:r>
              <a:rPr kumimoji="0" lang="en-US" sz="1200" b="0" i="0" u="none" strike="noStrike" kern="1200" cap="none" spc="0" normalizeH="0" baseline="0" noProof="0">
                <a:ln>
                  <a:noFill/>
                </a:ln>
                <a:solidFill>
                  <a:srgbClr val="FFFFFF"/>
                </a:solidFill>
                <a:effectLst/>
                <a:uLnTx/>
                <a:uFillTx/>
                <a:latin typeface="Arial"/>
                <a:ea typeface="+mn-ea"/>
                <a:cs typeface="Arial"/>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a:ea typeface="+mn-ea"/>
                <a:cs typeface="Arial"/>
              </a:rPr>
              <a:t>**More details to come 9/23.</a:t>
            </a:r>
          </a:p>
        </p:txBody>
      </p:sp>
      <p:pic>
        <p:nvPicPr>
          <p:cNvPr id="9" name="Picture 10" descr="Graphical user interface, text, application, email&#10;&#10;Description automatically generated">
            <a:extLst>
              <a:ext uri="{FF2B5EF4-FFF2-40B4-BE49-F238E27FC236}">
                <a16:creationId xmlns:a16="http://schemas.microsoft.com/office/drawing/2014/main" id="{4B01E636-1EF7-4CB6-98E5-4BD50EDFF40F}"/>
              </a:ext>
            </a:extLst>
          </p:cNvPr>
          <p:cNvPicPr>
            <a:picLocks noChangeAspect="1"/>
          </p:cNvPicPr>
          <p:nvPr/>
        </p:nvPicPr>
        <p:blipFill rotWithShape="1">
          <a:blip r:embed="rId5"/>
          <a:srcRect l="4685" r="4906" b="4284"/>
          <a:stretch/>
        </p:blipFill>
        <p:spPr>
          <a:xfrm>
            <a:off x="6818842" y="3452215"/>
            <a:ext cx="4682066" cy="2667161"/>
          </a:xfrm>
          <a:prstGeom prst="rect">
            <a:avLst/>
          </a:prstGeom>
          <a:ln w="19050">
            <a:noFill/>
          </a:ln>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183130359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02DE6-96D9-47F8-A7C8-D6C9DE4A7C97}"/>
              </a:ext>
            </a:extLst>
          </p:cNvPr>
          <p:cNvSpPr>
            <a:spLocks noGrp="1"/>
          </p:cNvSpPr>
          <p:nvPr>
            <p:ph type="title"/>
          </p:nvPr>
        </p:nvSpPr>
        <p:spPr>
          <a:xfrm>
            <a:off x="275493" y="1"/>
            <a:ext cx="10515600" cy="1047964"/>
          </a:xfrm>
        </p:spPr>
        <p:txBody>
          <a:bodyPr>
            <a:normAutofit/>
          </a:bodyPr>
          <a:lstStyle/>
          <a:p>
            <a:r>
              <a:rPr lang="en-US" sz="3600"/>
              <a:t>My Turn Flu Mockup</a:t>
            </a:r>
          </a:p>
        </p:txBody>
      </p:sp>
      <p:sp>
        <p:nvSpPr>
          <p:cNvPr id="4" name="Slide Number Placeholder 3">
            <a:extLst>
              <a:ext uri="{FF2B5EF4-FFF2-40B4-BE49-F238E27FC236}">
                <a16:creationId xmlns:a16="http://schemas.microsoft.com/office/drawing/2014/main" id="{95512496-CEE0-41FD-92DC-8A1BC7F138B1}"/>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5</a:t>
            </a:r>
          </a:p>
        </p:txBody>
      </p:sp>
      <p:sp>
        <p:nvSpPr>
          <p:cNvPr id="9" name="TextBox 8">
            <a:extLst>
              <a:ext uri="{FF2B5EF4-FFF2-40B4-BE49-F238E27FC236}">
                <a16:creationId xmlns:a16="http://schemas.microsoft.com/office/drawing/2014/main" id="{3169A3EA-FA48-4EAF-AAB0-1C84A8DDAD8F}"/>
              </a:ext>
            </a:extLst>
          </p:cNvPr>
          <p:cNvSpPr txBox="1"/>
          <p:nvPr/>
        </p:nvSpPr>
        <p:spPr>
          <a:xfrm>
            <a:off x="9267290" y="6287171"/>
            <a:ext cx="2391310" cy="276999"/>
          </a:xfrm>
          <a:prstGeom prst="rect">
            <a:avLst/>
          </a:prstGeom>
          <a:noFill/>
        </p:spPr>
        <p:txBody>
          <a:bodyPr wrap="square" lIns="91440" tIns="45720" rIns="91440" bIns="45720" anchor="t">
            <a:spAutoFit/>
          </a:bodyPr>
          <a:lstStyle/>
          <a:p>
            <a:pPr marL="0" marR="0" lvl="2"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panose="020B0604020202020204"/>
                <a:ea typeface="+mn-ea"/>
                <a:cs typeface="Arial"/>
              </a:rPr>
              <a:t>*</a:t>
            </a:r>
            <a:r>
              <a:rPr kumimoji="0" lang="en-US" sz="1200" b="0" i="1" u="none" strike="noStrike" kern="1200" cap="none" spc="0" normalizeH="0" baseline="0" noProof="0">
                <a:ln>
                  <a:noFill/>
                </a:ln>
                <a:solidFill>
                  <a:srgbClr val="FFFFFF"/>
                </a:solidFill>
                <a:effectLst/>
                <a:uLnTx/>
                <a:uFillTx/>
                <a:latin typeface="Arial" panose="020B0604020202020204"/>
                <a:ea typeface="+mn-lt"/>
                <a:cs typeface="Arial" panose="020B0604020202020204"/>
              </a:rPr>
              <a:t> Launch date subject to change</a:t>
            </a:r>
            <a:endParaRPr kumimoji="0" lang="en-US" sz="1200" b="1"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504112F8-65D0-4B43-84FB-445AFA5A5C28}"/>
              </a:ext>
            </a:extLst>
          </p:cNvPr>
          <p:cNvSpPr txBox="1"/>
          <p:nvPr/>
        </p:nvSpPr>
        <p:spPr>
          <a:xfrm>
            <a:off x="1758178" y="6287740"/>
            <a:ext cx="6161607" cy="523220"/>
          </a:xfrm>
          <a:prstGeom prst="rect">
            <a:avLst/>
          </a:prstGeom>
          <a:noFill/>
          <a:ln w="19050">
            <a:solidFill>
              <a:schemeClr val="bg1"/>
            </a:solidFill>
          </a:ln>
        </p:spPr>
        <p:txBody>
          <a:bodyPr wrap="square" lIns="91440" tIns="45720" rIns="91440" bIns="45720" rtlCol="0" anchor="t">
            <a:spAutoFit/>
          </a:bodyPr>
          <a:lstStyle/>
          <a:p>
            <a:pPr algn="ctr">
              <a:defRPr/>
            </a:pPr>
            <a:r>
              <a:rPr lang="en-US" sz="1400" b="1">
                <a:solidFill>
                  <a:srgbClr val="FFFFFF"/>
                </a:solidFill>
                <a:latin typeface="Arial" panose="020B0604020202020204"/>
              </a:rPr>
              <a:t>Note: This</a:t>
            </a: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 is not final and certain patient information fields </a:t>
            </a:r>
            <a:r>
              <a:rPr lang="en-US" sz="1400" b="1">
                <a:solidFill>
                  <a:srgbClr val="FFFFFF"/>
                </a:solidFill>
                <a:latin typeface="Arial" panose="020B0604020202020204"/>
              </a:rPr>
              <a:t>and/or</a:t>
            </a:r>
            <a:r>
              <a:rPr kumimoji="0" lang="en-US" sz="1400" b="1" i="0" u="none" strike="noStrike" kern="1200" cap="none" spc="0" normalizeH="0" baseline="0" noProof="0">
                <a:ln>
                  <a:noFill/>
                </a:ln>
                <a:solidFill>
                  <a:srgbClr val="FFFFFF"/>
                </a:solidFill>
                <a:effectLst/>
                <a:uLnTx/>
                <a:uFillTx/>
                <a:latin typeface="Arial" panose="020B0604020202020204"/>
                <a:ea typeface="+mn-ea"/>
                <a:cs typeface="+mn-cs"/>
              </a:rPr>
              <a:t> screening questions may be rearranged</a:t>
            </a:r>
          </a:p>
        </p:txBody>
      </p:sp>
      <p:pic>
        <p:nvPicPr>
          <p:cNvPr id="7" name="Picture 6">
            <a:extLst>
              <a:ext uri="{FF2B5EF4-FFF2-40B4-BE49-F238E27FC236}">
                <a16:creationId xmlns:a16="http://schemas.microsoft.com/office/drawing/2014/main" id="{C2E926D7-2A19-4181-AE6C-603969912142}"/>
              </a:ext>
            </a:extLst>
          </p:cNvPr>
          <p:cNvPicPr>
            <a:picLocks noChangeAspect="1"/>
          </p:cNvPicPr>
          <p:nvPr/>
        </p:nvPicPr>
        <p:blipFill>
          <a:blip r:embed="rId2"/>
          <a:stretch>
            <a:fillRect/>
          </a:stretch>
        </p:blipFill>
        <p:spPr>
          <a:xfrm>
            <a:off x="262926" y="3244057"/>
            <a:ext cx="4006491" cy="2347453"/>
          </a:xfrm>
          <a:prstGeom prst="rect">
            <a:avLst/>
          </a:prstGeom>
          <a:effectLst>
            <a:outerShdw blurRad="50800" dist="38100" dir="13500000" algn="br" rotWithShape="0">
              <a:prstClr val="black">
                <a:alpha val="40000"/>
              </a:prstClr>
            </a:outerShdw>
          </a:effectLst>
        </p:spPr>
      </p:pic>
      <p:pic>
        <p:nvPicPr>
          <p:cNvPr id="13" name="Picture 12">
            <a:extLst>
              <a:ext uri="{FF2B5EF4-FFF2-40B4-BE49-F238E27FC236}">
                <a16:creationId xmlns:a16="http://schemas.microsoft.com/office/drawing/2014/main" id="{6181E50C-A44A-4FE8-879C-73823D79E6E9}"/>
              </a:ext>
            </a:extLst>
          </p:cNvPr>
          <p:cNvPicPr>
            <a:picLocks noChangeAspect="1"/>
          </p:cNvPicPr>
          <p:nvPr/>
        </p:nvPicPr>
        <p:blipFill>
          <a:blip r:embed="rId3"/>
          <a:stretch>
            <a:fillRect/>
          </a:stretch>
        </p:blipFill>
        <p:spPr>
          <a:xfrm>
            <a:off x="4897564" y="1195401"/>
            <a:ext cx="3860349" cy="4112535"/>
          </a:xfrm>
          <a:prstGeom prst="rect">
            <a:avLst/>
          </a:prstGeom>
          <a:effectLst>
            <a:outerShdw blurRad="50800" dist="38100" dir="13500000" algn="br" rotWithShape="0">
              <a:prstClr val="black">
                <a:alpha val="40000"/>
              </a:prstClr>
            </a:outerShdw>
          </a:effectLst>
        </p:spPr>
      </p:pic>
      <p:sp>
        <p:nvSpPr>
          <p:cNvPr id="16" name="TextBox 15">
            <a:extLst>
              <a:ext uri="{FF2B5EF4-FFF2-40B4-BE49-F238E27FC236}">
                <a16:creationId xmlns:a16="http://schemas.microsoft.com/office/drawing/2014/main" id="{8FD0CF3B-9724-496C-8337-FF5E2A5D7E27}"/>
              </a:ext>
            </a:extLst>
          </p:cNvPr>
          <p:cNvSpPr txBox="1"/>
          <p:nvPr/>
        </p:nvSpPr>
        <p:spPr>
          <a:xfrm>
            <a:off x="971724" y="5760534"/>
            <a:ext cx="2588893" cy="369332"/>
          </a:xfrm>
          <a:prstGeom prst="rect">
            <a:avLst/>
          </a:prstGeom>
          <a:noFill/>
          <a:ln w="190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My Turn Home Screen</a:t>
            </a:r>
          </a:p>
        </p:txBody>
      </p:sp>
      <p:sp>
        <p:nvSpPr>
          <p:cNvPr id="17" name="TextBox 16">
            <a:extLst>
              <a:ext uri="{FF2B5EF4-FFF2-40B4-BE49-F238E27FC236}">
                <a16:creationId xmlns:a16="http://schemas.microsoft.com/office/drawing/2014/main" id="{96D727D8-5858-44E9-82E2-E66CF378DCF6}"/>
              </a:ext>
            </a:extLst>
          </p:cNvPr>
          <p:cNvSpPr txBox="1"/>
          <p:nvPr/>
        </p:nvSpPr>
        <p:spPr>
          <a:xfrm>
            <a:off x="5533293" y="5483535"/>
            <a:ext cx="2588893" cy="646331"/>
          </a:xfrm>
          <a:prstGeom prst="rect">
            <a:avLst/>
          </a:prstGeom>
          <a:noFill/>
          <a:ln w="190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My Turn flu Landing Page</a:t>
            </a:r>
          </a:p>
        </p:txBody>
      </p:sp>
      <p:sp>
        <p:nvSpPr>
          <p:cNvPr id="18" name="TextBox 17">
            <a:extLst>
              <a:ext uri="{FF2B5EF4-FFF2-40B4-BE49-F238E27FC236}">
                <a16:creationId xmlns:a16="http://schemas.microsoft.com/office/drawing/2014/main" id="{DBFB8DBF-D7AB-42F8-9F47-C6F362BF805A}"/>
              </a:ext>
            </a:extLst>
          </p:cNvPr>
          <p:cNvSpPr txBox="1"/>
          <p:nvPr/>
        </p:nvSpPr>
        <p:spPr>
          <a:xfrm>
            <a:off x="9212911" y="5760534"/>
            <a:ext cx="2588893" cy="369332"/>
          </a:xfrm>
          <a:prstGeom prst="rect">
            <a:avLst/>
          </a:prstGeom>
          <a:noFill/>
          <a:ln w="19050">
            <a:solidFill>
              <a:schemeClr val="accent1"/>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00000"/>
                </a:solidFill>
                <a:effectLst/>
                <a:uLnTx/>
                <a:uFillTx/>
                <a:latin typeface="Arial" panose="020B0604020202020204"/>
                <a:ea typeface="+mn-ea"/>
                <a:cs typeface="+mn-cs"/>
              </a:rPr>
              <a:t>Minor Consent</a:t>
            </a:r>
          </a:p>
        </p:txBody>
      </p:sp>
      <p:sp>
        <p:nvSpPr>
          <p:cNvPr id="19" name="TextBox 18">
            <a:extLst>
              <a:ext uri="{FF2B5EF4-FFF2-40B4-BE49-F238E27FC236}">
                <a16:creationId xmlns:a16="http://schemas.microsoft.com/office/drawing/2014/main" id="{6A7AA5EF-4142-4CFB-ABD5-3FD21C3B1B36}"/>
              </a:ext>
            </a:extLst>
          </p:cNvPr>
          <p:cNvSpPr txBox="1"/>
          <p:nvPr/>
        </p:nvSpPr>
        <p:spPr>
          <a:xfrm>
            <a:off x="262926" y="1330403"/>
            <a:ext cx="3969438" cy="1323439"/>
          </a:xfrm>
          <a:prstGeom prst="rect">
            <a:avLst/>
          </a:prstGeom>
          <a:noFill/>
          <a:ln w="19050">
            <a:solidFill>
              <a:schemeClr val="accent1"/>
            </a:solidFill>
          </a:ln>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Starting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late September,</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patients can schedule annual flu vaccination and / or the COVID-19 vaccination at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MyTurn.ca.gov</a:t>
            </a:r>
          </a:p>
        </p:txBody>
      </p:sp>
      <p:pic>
        <p:nvPicPr>
          <p:cNvPr id="5" name="Picture 4" descr="Text, letter&#10;&#10;Description automatically generated">
            <a:extLst>
              <a:ext uri="{FF2B5EF4-FFF2-40B4-BE49-F238E27FC236}">
                <a16:creationId xmlns:a16="http://schemas.microsoft.com/office/drawing/2014/main" id="{720374DB-C914-40C3-99CB-1008B0DA536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212911" y="222787"/>
            <a:ext cx="2588893" cy="5466495"/>
          </a:xfrm>
          <a:prstGeom prst="rect">
            <a:avLst/>
          </a:prstGeom>
          <a:effectLst>
            <a:outerShdw blurRad="50800" dist="38100" dir="13500000" algn="br" rotWithShape="0">
              <a:prstClr val="black">
                <a:alpha val="40000"/>
              </a:prstClr>
            </a:outerShdw>
          </a:effectLst>
        </p:spPr>
      </p:pic>
    </p:spTree>
    <p:extLst>
      <p:ext uri="{BB962C8B-B14F-4D97-AF65-F5344CB8AC3E}">
        <p14:creationId xmlns:p14="http://schemas.microsoft.com/office/powerpoint/2010/main" val="3564522829"/>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a:extLst>
              <a:ext uri="{FF2B5EF4-FFF2-40B4-BE49-F238E27FC236}">
                <a16:creationId xmlns:a16="http://schemas.microsoft.com/office/drawing/2014/main" id="{9C399DE4-E10D-4213-8A80-89E741EE3EF7}"/>
              </a:ext>
            </a:extLst>
          </p:cNvPr>
          <p:cNvSpPr/>
          <p:nvPr/>
        </p:nvSpPr>
        <p:spPr>
          <a:xfrm>
            <a:off x="1293987" y="2369684"/>
            <a:ext cx="2743200" cy="2743200"/>
          </a:xfrm>
          <a:prstGeom prst="ellipse">
            <a:avLst/>
          </a:prstGeom>
          <a:solidFill>
            <a:schemeClr val="bg1"/>
          </a:solidFill>
          <a:ln w="571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2" name="Title 1">
            <a:extLst>
              <a:ext uri="{FF2B5EF4-FFF2-40B4-BE49-F238E27FC236}">
                <a16:creationId xmlns:a16="http://schemas.microsoft.com/office/drawing/2014/main" id="{3B235DEC-2830-439A-86CF-71B9DB17961A}"/>
              </a:ext>
            </a:extLst>
          </p:cNvPr>
          <p:cNvSpPr>
            <a:spLocks noGrp="1"/>
          </p:cNvSpPr>
          <p:nvPr>
            <p:ph type="title"/>
          </p:nvPr>
        </p:nvSpPr>
        <p:spPr>
          <a:xfrm>
            <a:off x="275493" y="0"/>
            <a:ext cx="10515600" cy="1044121"/>
          </a:xfrm>
        </p:spPr>
        <p:txBody>
          <a:bodyPr>
            <a:normAutofit/>
          </a:bodyPr>
          <a:lstStyle/>
          <a:p>
            <a:r>
              <a:rPr lang="en-US" sz="3600"/>
              <a:t>Upcoming </a:t>
            </a:r>
            <a:r>
              <a:rPr lang="en-US" sz="3600" err="1"/>
              <a:t>myCAvax</a:t>
            </a:r>
            <a:r>
              <a:rPr lang="en-US" sz="3600"/>
              <a:t> Live Trainings </a:t>
            </a:r>
          </a:p>
        </p:txBody>
      </p:sp>
      <p:sp>
        <p:nvSpPr>
          <p:cNvPr id="4" name="Slide Number Placeholder 3">
            <a:extLst>
              <a:ext uri="{FF2B5EF4-FFF2-40B4-BE49-F238E27FC236}">
                <a16:creationId xmlns:a16="http://schemas.microsoft.com/office/drawing/2014/main" id="{10D06FD0-58A1-4001-910F-B9E1DAF3DD83}"/>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 name="Graphic 5" descr="Classroom with solid fill">
            <a:extLst>
              <a:ext uri="{FF2B5EF4-FFF2-40B4-BE49-F238E27FC236}">
                <a16:creationId xmlns:a16="http://schemas.microsoft.com/office/drawing/2014/main" id="{37E02B80-6DA4-4449-BA08-3D2A90AD93E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53406" y="2649047"/>
            <a:ext cx="2127299" cy="2127299"/>
          </a:xfrm>
          <a:prstGeom prst="rect">
            <a:avLst/>
          </a:prstGeom>
        </p:spPr>
      </p:pic>
      <p:sp>
        <p:nvSpPr>
          <p:cNvPr id="8" name="TextBox 7">
            <a:extLst>
              <a:ext uri="{FF2B5EF4-FFF2-40B4-BE49-F238E27FC236}">
                <a16:creationId xmlns:a16="http://schemas.microsoft.com/office/drawing/2014/main" id="{176894D1-83DA-4827-BF42-2574D082E6B6}"/>
              </a:ext>
            </a:extLst>
          </p:cNvPr>
          <p:cNvSpPr txBox="1"/>
          <p:nvPr/>
        </p:nvSpPr>
        <p:spPr>
          <a:xfrm>
            <a:off x="137746" y="1044121"/>
            <a:ext cx="11916507" cy="830997"/>
          </a:xfrm>
          <a:prstGeom prst="rect">
            <a:avLst/>
          </a:prstGeom>
          <a:noFill/>
        </p:spPr>
        <p:txBody>
          <a:bodyPr wrap="square" lIns="91440" tIns="45720" rIns="91440" bIns="45720" rtlCol="0" anchor="t">
            <a:spAutoFit/>
          </a:bodyPr>
          <a:lstStyle/>
          <a:p>
            <a:pPr algn="ctr">
              <a:defRPr/>
            </a:pPr>
            <a:r>
              <a:rPr kumimoji="0" lang="en-US" sz="2400" b="0" u="none" strike="noStrike" kern="1200" cap="none" spc="0" normalizeH="0" baseline="0" noProof="0">
                <a:ln>
                  <a:noFill/>
                </a:ln>
                <a:solidFill>
                  <a:srgbClr val="000000"/>
                </a:solidFill>
                <a:effectLst/>
                <a:uLnTx/>
                <a:uFillTx/>
                <a:latin typeface="Arial" panose="020B0604020202020204"/>
                <a:ea typeface="+mn-ea"/>
                <a:cs typeface="+mn-cs"/>
              </a:rPr>
              <a:t>With so many opportunities for new Providers to onboard onto </a:t>
            </a:r>
            <a:r>
              <a:rPr kumimoji="0" lang="en-US" sz="2400" b="0" u="none" strike="noStrike" kern="1200" cap="none" spc="0" normalizeH="0" baseline="0" noProof="0" err="1">
                <a:ln>
                  <a:noFill/>
                </a:ln>
                <a:solidFill>
                  <a:srgbClr val="000000"/>
                </a:solidFill>
                <a:effectLst/>
                <a:uLnTx/>
                <a:uFillTx/>
                <a:latin typeface="Arial" panose="020B0604020202020204"/>
                <a:ea typeface="+mn-ea"/>
                <a:cs typeface="+mn-cs"/>
              </a:rPr>
              <a:t>myCAvax</a:t>
            </a:r>
            <a:r>
              <a:rPr kumimoji="0" lang="en-US" sz="2400" b="0" u="none" strike="noStrike" kern="1200" cap="none" spc="0" normalizeH="0" baseline="0" noProof="0">
                <a:ln>
                  <a:noFill/>
                </a:ln>
                <a:solidFill>
                  <a:srgbClr val="000000"/>
                </a:solidFill>
                <a:effectLst/>
                <a:uLnTx/>
                <a:uFillTx/>
                <a:latin typeface="Arial" panose="020B0604020202020204"/>
                <a:ea typeface="+mn-ea"/>
                <a:cs typeface="+mn-cs"/>
              </a:rPr>
              <a:t>, we’re hosting additional live training sessions. Providers can bring questions and receive support!</a:t>
            </a:r>
            <a:r>
              <a:rPr lang="en-US" sz="2400">
                <a:solidFill>
                  <a:srgbClr val="000000"/>
                </a:solidFill>
                <a:latin typeface="Arial" panose="020B0604020202020204"/>
              </a:rPr>
              <a:t>  </a:t>
            </a:r>
            <a:endParaRPr lang="en-US" sz="2400" b="0" u="none" strike="noStrike" kern="1200" cap="none" spc="0" normalizeH="0" baseline="0" noProof="0">
              <a:ln>
                <a:noFill/>
              </a:ln>
              <a:solidFill>
                <a:srgbClr val="000000"/>
              </a:solidFill>
              <a:effectLst/>
              <a:uLnTx/>
              <a:uFillTx/>
              <a:latin typeface="Arial" panose="020B0604020202020204"/>
              <a:cs typeface="Arial"/>
            </a:endParaRPr>
          </a:p>
        </p:txBody>
      </p:sp>
      <p:grpSp>
        <p:nvGrpSpPr>
          <p:cNvPr id="9" name="Group 8">
            <a:extLst>
              <a:ext uri="{FF2B5EF4-FFF2-40B4-BE49-F238E27FC236}">
                <a16:creationId xmlns:a16="http://schemas.microsoft.com/office/drawing/2014/main" id="{6AC27059-CFD9-43E9-90D0-6E78DA4C92BF}"/>
              </a:ext>
            </a:extLst>
          </p:cNvPr>
          <p:cNvGrpSpPr/>
          <p:nvPr/>
        </p:nvGrpSpPr>
        <p:grpSpPr>
          <a:xfrm>
            <a:off x="4874309" y="2176612"/>
            <a:ext cx="6585624" cy="3196432"/>
            <a:chOff x="5013205" y="2188503"/>
            <a:chExt cx="6585624" cy="3196432"/>
          </a:xfrm>
        </p:grpSpPr>
        <p:sp>
          <p:nvSpPr>
            <p:cNvPr id="7" name="TextBox 6">
              <a:extLst>
                <a:ext uri="{FF2B5EF4-FFF2-40B4-BE49-F238E27FC236}">
                  <a16:creationId xmlns:a16="http://schemas.microsoft.com/office/drawing/2014/main" id="{E0E938AF-905F-4482-AE77-7A176CBF3431}"/>
                </a:ext>
              </a:extLst>
            </p:cNvPr>
            <p:cNvSpPr txBox="1"/>
            <p:nvPr/>
          </p:nvSpPr>
          <p:spPr>
            <a:xfrm>
              <a:off x="5091738" y="2738057"/>
              <a:ext cx="6428558" cy="2646878"/>
            </a:xfrm>
            <a:prstGeom prst="rect">
              <a:avLst/>
            </a:prstGeom>
            <a:noFill/>
            <a:ln w="38100">
              <a:solidFill>
                <a:schemeClr val="accent1"/>
              </a:solidFill>
              <a:prstDash val="lgDash"/>
            </a:ln>
          </p:spPr>
          <p:txBody>
            <a:bodyPr wrap="square" rtlCol="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September 15 through October 27, 2021</a:t>
              </a:r>
              <a:r>
                <a:rPr kumimoji="0" lang="en-US" sz="2000" b="0" i="0" u="none" strike="noStrike" kern="1200" cap="none" spc="0" normalizeH="0" baseline="0" noProof="0">
                  <a:ln>
                    <a:noFill/>
                  </a:ln>
                  <a:solidFill>
                    <a:srgbClr val="000000"/>
                  </a:solidFill>
                  <a:effectLst/>
                  <a:uLnTx/>
                  <a:uFillTx/>
                  <a:latin typeface="Arial" panose="020B0604020202020204"/>
                  <a:ea typeface="+mn-ea"/>
                  <a:cs typeface="+mn-cs"/>
                </a:rPr>
                <a:t>, weekly sessions will take place on </a:t>
              </a:r>
              <a:r>
                <a:rPr kumimoji="0" lang="en-US" sz="2000" b="1" i="0" u="none" strike="noStrike" kern="1200" cap="none" spc="0" normalizeH="0" baseline="0" noProof="0">
                  <a:ln>
                    <a:noFill/>
                  </a:ln>
                  <a:solidFill>
                    <a:srgbClr val="000000"/>
                  </a:solidFill>
                  <a:effectLst/>
                  <a:uLnTx/>
                  <a:uFillTx/>
                  <a:latin typeface="Arial" panose="020B0604020202020204"/>
                  <a:ea typeface="+mn-ea"/>
                  <a:cs typeface="+mn-cs"/>
                </a:rPr>
                <a:t>Wednesdays (10:00-10:30AM)</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Sep 22 –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hlinkClick r:id="rId4"/>
                </a:rPr>
                <a:t>Register Here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rPr>
                <a:t>I Sep 29 – </a:t>
              </a:r>
              <a:r>
                <a:rPr kumimoji="0" lang="en-US" sz="1400" b="0" i="0" u="none" strike="noStrike" kern="1200" cap="none" spc="0" normalizeH="0" baseline="0" noProof="0">
                  <a:ln>
                    <a:noFill/>
                  </a:ln>
                  <a:solidFill>
                    <a:srgbClr val="000000"/>
                  </a:solidFill>
                  <a:effectLst/>
                  <a:uLnTx/>
                  <a:uFillTx/>
                  <a:latin typeface="Arial" panose="020B0604020202020204"/>
                  <a:ea typeface="+mn-ea"/>
                  <a:cs typeface="+mn-cs"/>
                  <a:hlinkClick r:id="rId5"/>
                </a:rPr>
                <a:t>Register Here</a:t>
              </a:r>
              <a:endParaRPr kumimoji="0" lang="en-US" sz="1400" b="0" i="0" u="none" strike="noStrike" kern="1200" cap="none" spc="0" normalizeH="0" baseline="0" noProof="0">
                <a:ln>
                  <a:noFill/>
                </a:ln>
                <a:solidFill>
                  <a:srgbClr val="000000"/>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sp>
          <p:nvSpPr>
            <p:cNvPr id="3" name="Rectangle: Rounded Corners 2">
              <a:extLst>
                <a:ext uri="{FF2B5EF4-FFF2-40B4-BE49-F238E27FC236}">
                  <a16:creationId xmlns:a16="http://schemas.microsoft.com/office/drawing/2014/main" id="{D368C82D-95DF-434E-8F06-0CDEE7993E2A}"/>
                </a:ext>
              </a:extLst>
            </p:cNvPr>
            <p:cNvSpPr/>
            <p:nvPr/>
          </p:nvSpPr>
          <p:spPr>
            <a:xfrm>
              <a:off x="5013205" y="2188503"/>
              <a:ext cx="6585624" cy="1119970"/>
            </a:xfrm>
            <a:prstGeom prst="round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300" b="1" i="0" u="none" strike="noStrike" kern="1200" cap="none" spc="0" normalizeH="0" baseline="0" noProof="0">
                  <a:ln>
                    <a:noFill/>
                  </a:ln>
                  <a:solidFill>
                    <a:srgbClr val="FFFFFF"/>
                  </a:solidFill>
                  <a:effectLst/>
                  <a:uLnTx/>
                  <a:uFillTx/>
                  <a:latin typeface="Arial" panose="020B0604020202020204"/>
                  <a:ea typeface="+mn-ea"/>
                  <a:cs typeface="+mn-cs"/>
                </a:rPr>
                <a:t>Sessions will be interactive and include a high-level overview of the </a:t>
              </a:r>
              <a:r>
                <a:rPr kumimoji="0" lang="en-US" sz="2300" b="1" i="0" u="none" strike="noStrike" kern="1200" cap="none" spc="0" normalizeH="0" baseline="0" noProof="0" err="1">
                  <a:ln>
                    <a:noFill/>
                  </a:ln>
                  <a:solidFill>
                    <a:srgbClr val="FFFFFF"/>
                  </a:solidFill>
                  <a:effectLst/>
                  <a:uLnTx/>
                  <a:uFillTx/>
                  <a:latin typeface="Arial" panose="020B0604020202020204"/>
                  <a:ea typeface="+mn-ea"/>
                  <a:cs typeface="+mn-cs"/>
                </a:rPr>
                <a:t>myCAvax</a:t>
              </a:r>
              <a:r>
                <a:rPr kumimoji="0" lang="en-US" sz="2300" b="1" i="0" u="none" strike="noStrike" kern="1200" cap="none" spc="0" normalizeH="0" baseline="0" noProof="0">
                  <a:ln>
                    <a:noFill/>
                  </a:ln>
                  <a:solidFill>
                    <a:srgbClr val="FFFFFF"/>
                  </a:solidFill>
                  <a:effectLst/>
                  <a:uLnTx/>
                  <a:uFillTx/>
                  <a:latin typeface="Arial" panose="020B0604020202020204"/>
                  <a:ea typeface="+mn-ea"/>
                  <a:cs typeface="+mn-cs"/>
                </a:rPr>
                <a:t> enrollment process.</a:t>
              </a:r>
            </a:p>
          </p:txBody>
        </p:sp>
      </p:grpSp>
    </p:spTree>
    <p:extLst>
      <p:ext uri="{BB962C8B-B14F-4D97-AF65-F5344CB8AC3E}">
        <p14:creationId xmlns:p14="http://schemas.microsoft.com/office/powerpoint/2010/main" val="156936778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C87BB1-62F3-49AC-9D27-67C9A9935863}"/>
              </a:ext>
            </a:extLst>
          </p:cNvPr>
          <p:cNvSpPr>
            <a:spLocks noGrp="1"/>
          </p:cNvSpPr>
          <p:nvPr>
            <p:ph type="title"/>
          </p:nvPr>
        </p:nvSpPr>
        <p:spPr>
          <a:xfrm>
            <a:off x="275493" y="33052"/>
            <a:ext cx="10515600" cy="993748"/>
          </a:xfrm>
        </p:spPr>
        <p:txBody>
          <a:bodyPr>
            <a:normAutofit/>
          </a:bodyPr>
          <a:lstStyle/>
          <a:p>
            <a:r>
              <a:rPr lang="en-US" sz="3600">
                <a:cs typeface="Arial"/>
              </a:rPr>
              <a:t>J&amp;J Vaccine Available for Ordering</a:t>
            </a:r>
            <a:endParaRPr lang="en-US" sz="3600"/>
          </a:p>
        </p:txBody>
      </p:sp>
      <p:sp>
        <p:nvSpPr>
          <p:cNvPr id="3" name="Content Placeholder 2">
            <a:extLst>
              <a:ext uri="{FF2B5EF4-FFF2-40B4-BE49-F238E27FC236}">
                <a16:creationId xmlns:a16="http://schemas.microsoft.com/office/drawing/2014/main" id="{2605F0A0-4330-4571-AF9D-3A4E1A2E129D}"/>
              </a:ext>
            </a:extLst>
          </p:cNvPr>
          <p:cNvSpPr>
            <a:spLocks noGrp="1"/>
          </p:cNvSpPr>
          <p:nvPr>
            <p:ph idx="1"/>
          </p:nvPr>
        </p:nvSpPr>
        <p:spPr>
          <a:xfrm>
            <a:off x="368299" y="1403595"/>
            <a:ext cx="7033224" cy="4351338"/>
          </a:xfrm>
        </p:spPr>
        <p:txBody>
          <a:bodyPr vert="horz" lIns="91440" tIns="45720" rIns="91440" bIns="45720" rtlCol="0" anchor="t">
            <a:normAutofit/>
          </a:bodyPr>
          <a:lstStyle/>
          <a:p>
            <a:pPr marL="0" indent="0">
              <a:lnSpc>
                <a:spcPct val="100000"/>
              </a:lnSpc>
              <a:buNone/>
            </a:pPr>
            <a:r>
              <a:rPr lang="en-US" sz="2200" b="1">
                <a:cs typeface="Arial"/>
              </a:rPr>
              <a:t>Ordering guidance and tips</a:t>
            </a:r>
          </a:p>
          <a:p>
            <a:pPr>
              <a:lnSpc>
                <a:spcPct val="100000"/>
              </a:lnSpc>
              <a:buClr>
                <a:schemeClr val="accent1"/>
              </a:buClr>
            </a:pPr>
            <a:r>
              <a:rPr lang="en-US" sz="2200">
                <a:cs typeface="Arial"/>
              </a:rPr>
              <a:t>Limited Janssen vaccine doses  are now available for ordering through </a:t>
            </a:r>
            <a:r>
              <a:rPr lang="en-US" sz="2200" err="1">
                <a:cs typeface="Arial"/>
              </a:rPr>
              <a:t>myCAvax</a:t>
            </a:r>
            <a:endParaRPr lang="en-US" sz="2200">
              <a:cs typeface="Arial"/>
            </a:endParaRPr>
          </a:p>
          <a:p>
            <a:pPr>
              <a:lnSpc>
                <a:spcPct val="100000"/>
              </a:lnSpc>
              <a:buClr>
                <a:schemeClr val="accent1"/>
              </a:buClr>
            </a:pPr>
            <a:r>
              <a:rPr lang="en-US" sz="2200">
                <a:cs typeface="Arial"/>
              </a:rPr>
              <a:t>A 200-dose cap initially included has been removed</a:t>
            </a:r>
            <a:endParaRPr lang="en-US"/>
          </a:p>
          <a:p>
            <a:pPr>
              <a:lnSpc>
                <a:spcPct val="100000"/>
              </a:lnSpc>
              <a:buClr>
                <a:srgbClr val="F37D20"/>
              </a:buClr>
            </a:pPr>
            <a:r>
              <a:rPr lang="en-US" sz="2200">
                <a:cs typeface="Arial"/>
              </a:rPr>
              <a:t>No expiration extension for this product</a:t>
            </a:r>
          </a:p>
          <a:p>
            <a:pPr>
              <a:lnSpc>
                <a:spcPct val="100000"/>
              </a:lnSpc>
              <a:buClr>
                <a:srgbClr val="F37D20"/>
              </a:buClr>
            </a:pPr>
            <a:r>
              <a:rPr lang="en-US" sz="2200">
                <a:ea typeface="+mn-lt"/>
                <a:cs typeface="+mn-lt"/>
              </a:rPr>
              <a:t>Many lots of this vaccine will be expiring soon (or by November)</a:t>
            </a:r>
            <a:endParaRPr lang="en-US" sz="2200">
              <a:cs typeface="Arial"/>
            </a:endParaRPr>
          </a:p>
          <a:p>
            <a:pPr marL="0" indent="0">
              <a:lnSpc>
                <a:spcPct val="100000"/>
              </a:lnSpc>
              <a:buNone/>
            </a:pPr>
            <a:r>
              <a:rPr lang="en-US" sz="2200" b="1">
                <a:cs typeface="Arial"/>
              </a:rPr>
              <a:t>Ordering Tips for Janssen:</a:t>
            </a:r>
          </a:p>
          <a:p>
            <a:pPr>
              <a:lnSpc>
                <a:spcPct val="100000"/>
              </a:lnSpc>
              <a:buClr>
                <a:schemeClr val="accent1"/>
              </a:buClr>
            </a:pPr>
            <a:r>
              <a:rPr lang="en-US" sz="2200">
                <a:cs typeface="Arial"/>
              </a:rPr>
              <a:t>Check on-hand inventory</a:t>
            </a:r>
          </a:p>
          <a:p>
            <a:pPr>
              <a:lnSpc>
                <a:spcPct val="100000"/>
              </a:lnSpc>
              <a:buClr>
                <a:schemeClr val="accent1"/>
              </a:buClr>
            </a:pPr>
            <a:r>
              <a:rPr lang="en-US" sz="2200">
                <a:cs typeface="Arial"/>
              </a:rPr>
              <a:t>Order / reorder what is needed</a:t>
            </a:r>
          </a:p>
        </p:txBody>
      </p:sp>
      <p:sp>
        <p:nvSpPr>
          <p:cNvPr id="4" name="Slide Number Placeholder 3">
            <a:extLst>
              <a:ext uri="{FF2B5EF4-FFF2-40B4-BE49-F238E27FC236}">
                <a16:creationId xmlns:a16="http://schemas.microsoft.com/office/drawing/2014/main" id="{EE432B54-9E78-4F09-9623-0E7F09452678}"/>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5" name="TextBox 4">
            <a:extLst>
              <a:ext uri="{FF2B5EF4-FFF2-40B4-BE49-F238E27FC236}">
                <a16:creationId xmlns:a16="http://schemas.microsoft.com/office/drawing/2014/main" id="{7001C896-B0C4-4E56-974B-5A6FC533E45C}"/>
              </a:ext>
            </a:extLst>
          </p:cNvPr>
          <p:cNvSpPr txBox="1"/>
          <p:nvPr/>
        </p:nvSpPr>
        <p:spPr>
          <a:xfrm>
            <a:off x="3999123" y="5960125"/>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mn-cs"/>
            </a:endParaRPr>
          </a:p>
        </p:txBody>
      </p:sp>
      <p:grpSp>
        <p:nvGrpSpPr>
          <p:cNvPr id="12" name="Group 11">
            <a:extLst>
              <a:ext uri="{FF2B5EF4-FFF2-40B4-BE49-F238E27FC236}">
                <a16:creationId xmlns:a16="http://schemas.microsoft.com/office/drawing/2014/main" id="{C83A4AF1-7DF9-4315-A7B0-7E863E434E20}"/>
              </a:ext>
            </a:extLst>
          </p:cNvPr>
          <p:cNvGrpSpPr/>
          <p:nvPr/>
        </p:nvGrpSpPr>
        <p:grpSpPr>
          <a:xfrm>
            <a:off x="7546109" y="1403595"/>
            <a:ext cx="4486275" cy="4005792"/>
            <a:chOff x="7546109" y="1403595"/>
            <a:chExt cx="4486275" cy="4005792"/>
          </a:xfrm>
        </p:grpSpPr>
        <p:pic>
          <p:nvPicPr>
            <p:cNvPr id="9" name="Picture 8">
              <a:extLst>
                <a:ext uri="{FF2B5EF4-FFF2-40B4-BE49-F238E27FC236}">
                  <a16:creationId xmlns:a16="http://schemas.microsoft.com/office/drawing/2014/main" id="{A39F3F39-A57F-4398-9524-90B7C9898B92}"/>
                </a:ext>
              </a:extLst>
            </p:cNvPr>
            <p:cNvPicPr>
              <a:picLocks noChangeAspect="1"/>
            </p:cNvPicPr>
            <p:nvPr/>
          </p:nvPicPr>
          <p:blipFill rotWithShape="1">
            <a:blip r:embed="rId2"/>
            <a:srcRect l="2797"/>
            <a:stretch/>
          </p:blipFill>
          <p:spPr>
            <a:xfrm>
              <a:off x="7546109" y="1403595"/>
              <a:ext cx="4486275" cy="4005792"/>
            </a:xfrm>
            <a:prstGeom prst="rect">
              <a:avLst/>
            </a:prstGeom>
            <a:effectLst>
              <a:outerShdw blurRad="50800" dist="38100" dir="13500000" algn="br" rotWithShape="0">
                <a:prstClr val="black">
                  <a:alpha val="40000"/>
                </a:prstClr>
              </a:outerShdw>
            </a:effectLst>
          </p:spPr>
        </p:pic>
        <p:pic>
          <p:nvPicPr>
            <p:cNvPr id="11" name="Picture 10">
              <a:extLst>
                <a:ext uri="{FF2B5EF4-FFF2-40B4-BE49-F238E27FC236}">
                  <a16:creationId xmlns:a16="http://schemas.microsoft.com/office/drawing/2014/main" id="{29F13E08-5C90-4D3F-9856-418CEBA51D22}"/>
                </a:ext>
              </a:extLst>
            </p:cNvPr>
            <p:cNvPicPr>
              <a:picLocks noChangeAspect="1"/>
            </p:cNvPicPr>
            <p:nvPr/>
          </p:nvPicPr>
          <p:blipFill>
            <a:blip r:embed="rId3"/>
            <a:stretch>
              <a:fillRect/>
            </a:stretch>
          </p:blipFill>
          <p:spPr>
            <a:xfrm>
              <a:off x="7702551" y="2973257"/>
              <a:ext cx="4121150" cy="456621"/>
            </a:xfrm>
            <a:prstGeom prst="rect">
              <a:avLst/>
            </a:prstGeom>
          </p:spPr>
        </p:pic>
      </p:grpSp>
    </p:spTree>
    <p:extLst>
      <p:ext uri="{BB962C8B-B14F-4D97-AF65-F5344CB8AC3E}">
        <p14:creationId xmlns:p14="http://schemas.microsoft.com/office/powerpoint/2010/main" val="414093009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82CDBB-1E91-4DFA-A7CE-2F4C21C32947}"/>
              </a:ext>
            </a:extLst>
          </p:cNvPr>
          <p:cNvSpPr>
            <a:spLocks noGrp="1"/>
          </p:cNvSpPr>
          <p:nvPr>
            <p:ph type="title"/>
          </p:nvPr>
        </p:nvSpPr>
        <p:spPr/>
        <p:txBody>
          <a:bodyPr/>
          <a:lstStyle/>
          <a:p>
            <a:r>
              <a:rPr lang="en-US" b="1">
                <a:cs typeface="Arial"/>
              </a:rPr>
              <a:t>Ordering Reminders</a:t>
            </a:r>
            <a:endParaRPr lang="en-US" b="1"/>
          </a:p>
        </p:txBody>
      </p:sp>
      <p:pic>
        <p:nvPicPr>
          <p:cNvPr id="5" name="Picture 5">
            <a:extLst>
              <a:ext uri="{FF2B5EF4-FFF2-40B4-BE49-F238E27FC236}">
                <a16:creationId xmlns:a16="http://schemas.microsoft.com/office/drawing/2014/main" id="{3FE41F8A-5470-4888-A6F5-05DE2C902D93}"/>
              </a:ext>
            </a:extLst>
          </p:cNvPr>
          <p:cNvPicPr>
            <a:picLocks noGrp="1" noChangeAspect="1"/>
          </p:cNvPicPr>
          <p:nvPr>
            <p:ph sz="half" idx="1"/>
          </p:nvPr>
        </p:nvPicPr>
        <p:blipFill>
          <a:blip r:embed="rId2"/>
          <a:stretch>
            <a:fillRect/>
          </a:stretch>
        </p:blipFill>
        <p:spPr>
          <a:xfrm>
            <a:off x="613988" y="1594051"/>
            <a:ext cx="4077269" cy="4210638"/>
          </a:xfrm>
        </p:spPr>
      </p:pic>
      <p:sp>
        <p:nvSpPr>
          <p:cNvPr id="6" name="Content Placeholder 5">
            <a:extLst>
              <a:ext uri="{FF2B5EF4-FFF2-40B4-BE49-F238E27FC236}">
                <a16:creationId xmlns:a16="http://schemas.microsoft.com/office/drawing/2014/main" id="{FEDD5A5B-7DC5-40BA-8253-3D45827CFAA8}"/>
              </a:ext>
            </a:extLst>
          </p:cNvPr>
          <p:cNvSpPr>
            <a:spLocks noGrp="1"/>
          </p:cNvSpPr>
          <p:nvPr>
            <p:ph sz="half" idx="2"/>
          </p:nvPr>
        </p:nvSpPr>
        <p:spPr>
          <a:xfrm>
            <a:off x="5234521" y="1596770"/>
            <a:ext cx="6538586" cy="4351338"/>
          </a:xfrm>
        </p:spPr>
        <p:txBody>
          <a:bodyPr vert="horz" lIns="91440" tIns="45720" rIns="91440" bIns="45720" rtlCol="0" anchor="t">
            <a:normAutofit fontScale="77500" lnSpcReduction="20000"/>
          </a:bodyPr>
          <a:lstStyle/>
          <a:p>
            <a:pPr>
              <a:lnSpc>
                <a:spcPct val="120000"/>
              </a:lnSpc>
              <a:buFont typeface="Wingdings" panose="020B0604020202020204" pitchFamily="34" charset="0"/>
              <a:buChar char="ü"/>
            </a:pPr>
            <a:r>
              <a:rPr lang="en-US">
                <a:cs typeface="Arial"/>
              </a:rPr>
              <a:t>Report doses administered and on-hand inventory </a:t>
            </a:r>
            <a:endParaRPr lang="en-US"/>
          </a:p>
          <a:p>
            <a:pPr>
              <a:lnSpc>
                <a:spcPct val="120000"/>
              </a:lnSpc>
              <a:buFont typeface="Wingdings" panose="020B0604020202020204" pitchFamily="34" charset="0"/>
              <a:buChar char="ü"/>
            </a:pPr>
            <a:r>
              <a:rPr lang="en-US">
                <a:cs typeface="Arial"/>
              </a:rPr>
              <a:t>Determine vaccine need</a:t>
            </a:r>
          </a:p>
          <a:p>
            <a:pPr lvl="1">
              <a:lnSpc>
                <a:spcPct val="120000"/>
              </a:lnSpc>
            </a:pPr>
            <a:r>
              <a:rPr lang="en-US">
                <a:cs typeface="Arial"/>
              </a:rPr>
              <a:t>Based on inventory on hand</a:t>
            </a:r>
          </a:p>
          <a:p>
            <a:pPr lvl="1">
              <a:lnSpc>
                <a:spcPct val="120000"/>
              </a:lnSpc>
            </a:pPr>
            <a:r>
              <a:rPr lang="en-US">
                <a:cs typeface="Arial"/>
              </a:rPr>
              <a:t>Current vaccination efforts</a:t>
            </a:r>
          </a:p>
          <a:p>
            <a:pPr lvl="1">
              <a:lnSpc>
                <a:spcPct val="120000"/>
              </a:lnSpc>
            </a:pPr>
            <a:r>
              <a:rPr lang="en-US">
                <a:cs typeface="Arial"/>
              </a:rPr>
              <a:t>Forecasted vaccination efforts -near future/Ordering period</a:t>
            </a:r>
          </a:p>
          <a:p>
            <a:pPr lvl="1">
              <a:lnSpc>
                <a:spcPct val="120000"/>
              </a:lnSpc>
            </a:pPr>
            <a:r>
              <a:rPr lang="en-US">
                <a:cs typeface="Arial"/>
              </a:rPr>
              <a:t>Reminder: New field added for determining # of doses in order to be used for the additional dose </a:t>
            </a:r>
          </a:p>
          <a:p>
            <a:pPr>
              <a:lnSpc>
                <a:spcPct val="120000"/>
              </a:lnSpc>
              <a:buFont typeface="Wingdings" panose="020B0604020202020204" pitchFamily="34" charset="0"/>
              <a:buChar char="ü"/>
            </a:pPr>
            <a:r>
              <a:rPr lang="en-US">
                <a:cs typeface="Arial"/>
              </a:rPr>
              <a:t>Order as needed, every week</a:t>
            </a:r>
          </a:p>
          <a:p>
            <a:pPr>
              <a:lnSpc>
                <a:spcPct val="120000"/>
              </a:lnSpc>
              <a:buFont typeface="Wingdings" panose="020B0604020202020204" pitchFamily="34" charset="0"/>
              <a:buChar char="ü"/>
            </a:pPr>
            <a:r>
              <a:rPr lang="en-US">
                <a:cs typeface="Arial"/>
              </a:rPr>
              <a:t>Consider order review/approval/delivery timelines </a:t>
            </a:r>
          </a:p>
          <a:p>
            <a:endParaRPr lang="en-US">
              <a:cs typeface="Arial"/>
            </a:endParaRPr>
          </a:p>
        </p:txBody>
      </p:sp>
      <p:sp>
        <p:nvSpPr>
          <p:cNvPr id="4" name="Slide Number Placeholder 3">
            <a:extLst>
              <a:ext uri="{FF2B5EF4-FFF2-40B4-BE49-F238E27FC236}">
                <a16:creationId xmlns:a16="http://schemas.microsoft.com/office/drawing/2014/main" id="{0054EC65-19B7-4E96-A1E5-0E3A0E0A610F}"/>
              </a:ext>
            </a:extLst>
          </p:cNvPr>
          <p:cNvSpPr>
            <a:spLocks noGrp="1"/>
          </p:cNvSpPr>
          <p:nvPr>
            <p:ph type="sldNum" sz="quarter" idx="12"/>
          </p:nvPr>
        </p:nvSpPr>
        <p:spPr/>
        <p:txBody>
          <a:bodyPr/>
          <a:lstStyle/>
          <a:p>
            <a:fld id="{13D703BF-151A-0D40-8508-CABBAD09F9A9}" type="slidenum">
              <a:rPr lang="en-US" smtClean="0"/>
              <a:t>46</a:t>
            </a:fld>
            <a:endParaRPr lang="en-US"/>
          </a:p>
        </p:txBody>
      </p:sp>
    </p:spTree>
    <p:extLst>
      <p:ext uri="{BB962C8B-B14F-4D97-AF65-F5344CB8AC3E}">
        <p14:creationId xmlns:p14="http://schemas.microsoft.com/office/powerpoint/2010/main" val="2344511547"/>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04EA949-B03D-4FAD-8089-3F4360C39C76}"/>
              </a:ext>
            </a:extLst>
          </p:cNvPr>
          <p:cNvSpPr>
            <a:spLocks noGrp="1"/>
          </p:cNvSpPr>
          <p:nvPr>
            <p:ph type="sldNum" sz="quarter" idx="12"/>
          </p:nvPr>
        </p:nvSpPr>
        <p:spPr/>
        <p:txBody>
          <a:bodyPr/>
          <a:lstStyle/>
          <a:p>
            <a:fld id="{13D703BF-151A-0D40-8508-CABBAD09F9A9}" type="slidenum">
              <a:rPr lang="en-US" smtClean="0"/>
              <a:t>47</a:t>
            </a:fld>
            <a:endParaRPr lang="en-US"/>
          </a:p>
        </p:txBody>
      </p:sp>
      <p:pic>
        <p:nvPicPr>
          <p:cNvPr id="13" name="Picture 13">
            <a:extLst>
              <a:ext uri="{FF2B5EF4-FFF2-40B4-BE49-F238E27FC236}">
                <a16:creationId xmlns:a16="http://schemas.microsoft.com/office/drawing/2014/main" id="{C185463D-9428-4ECD-B820-F075E56EA544}"/>
              </a:ext>
            </a:extLst>
          </p:cNvPr>
          <p:cNvPicPr>
            <a:picLocks noChangeAspect="1"/>
          </p:cNvPicPr>
          <p:nvPr/>
        </p:nvPicPr>
        <p:blipFill>
          <a:blip r:embed="rId2"/>
          <a:stretch>
            <a:fillRect/>
          </a:stretch>
        </p:blipFill>
        <p:spPr>
          <a:xfrm>
            <a:off x="79333" y="144051"/>
            <a:ext cx="12043773" cy="6006227"/>
          </a:xfrm>
          <a:prstGeom prst="rect">
            <a:avLst/>
          </a:prstGeom>
        </p:spPr>
      </p:pic>
    </p:spTree>
    <p:extLst>
      <p:ext uri="{BB962C8B-B14F-4D97-AF65-F5344CB8AC3E}">
        <p14:creationId xmlns:p14="http://schemas.microsoft.com/office/powerpoint/2010/main" val="341719095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27DF4895-254F-446A-B9DA-DF0A33086B3E}"/>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8" name="Title 1">
            <a:extLst>
              <a:ext uri="{FF2B5EF4-FFF2-40B4-BE49-F238E27FC236}">
                <a16:creationId xmlns:a16="http://schemas.microsoft.com/office/drawing/2014/main" id="{97B243BE-E6B0-4BC7-A6AC-6E6659F8A328}"/>
              </a:ext>
            </a:extLst>
          </p:cNvPr>
          <p:cNvSpPr>
            <a:spLocks noGrp="1"/>
          </p:cNvSpPr>
          <p:nvPr>
            <p:ph type="title"/>
          </p:nvPr>
        </p:nvSpPr>
        <p:spPr>
          <a:xfrm>
            <a:off x="3876782" y="2851009"/>
            <a:ext cx="4438437" cy="1155982"/>
          </a:xfrm>
          <a:solidFill>
            <a:schemeClr val="tx2">
              <a:lumMod val="20000"/>
              <a:lumOff val="80000"/>
            </a:schemeClr>
          </a:solidFill>
        </p:spPr>
        <p:txBody>
          <a:bodyPr>
            <a:normAutofit/>
          </a:bodyPr>
          <a:lstStyle/>
          <a:p>
            <a:r>
              <a:rPr lang="en-US" sz="2400" b="1">
                <a:solidFill>
                  <a:schemeClr val="tx1"/>
                </a:solidFill>
              </a:rPr>
              <a:t> </a:t>
            </a:r>
          </a:p>
        </p:txBody>
      </p:sp>
      <p:sp>
        <p:nvSpPr>
          <p:cNvPr id="9" name="TextBox 8">
            <a:extLst>
              <a:ext uri="{FF2B5EF4-FFF2-40B4-BE49-F238E27FC236}">
                <a16:creationId xmlns:a16="http://schemas.microsoft.com/office/drawing/2014/main" id="{74491261-A7FB-4678-8C60-EACD90DCC671}"/>
              </a:ext>
            </a:extLst>
          </p:cNvPr>
          <p:cNvSpPr txBox="1"/>
          <p:nvPr/>
        </p:nvSpPr>
        <p:spPr>
          <a:xfrm>
            <a:off x="4106912" y="3023171"/>
            <a:ext cx="3978177" cy="811659"/>
          </a:xfrm>
          <a:prstGeom prst="rect">
            <a:avLst/>
          </a:prstGeom>
          <a:solidFill>
            <a:schemeClr val="tx2">
              <a:lumMod val="20000"/>
              <a:lumOff val="80000"/>
            </a:schemeClr>
          </a:solidFill>
          <a:ln w="6350">
            <a:noFill/>
            <a:miter lim="800000"/>
          </a:ln>
        </p:spPr>
        <p:txBody>
          <a:bodyPr vert="horz" wrap="square" lIns="0" tIns="0" rIns="0" bIns="0" rtlCol="0">
            <a:noAutofit/>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6000" b="1" i="0" u="none" strike="noStrike" kern="1200" cap="none" spc="0" normalizeH="0" baseline="0" noProof="0">
                <a:ln>
                  <a:noFill/>
                </a:ln>
                <a:solidFill>
                  <a:srgbClr val="000000"/>
                </a:solidFill>
                <a:effectLst/>
                <a:uLnTx/>
                <a:uFillTx/>
                <a:latin typeface="Arial" panose="020B0604020202020204"/>
                <a:ea typeface="+mn-ea"/>
                <a:cs typeface="+mn-cs"/>
              </a:rPr>
              <a:t>APPENDIX</a:t>
            </a:r>
          </a:p>
        </p:txBody>
      </p:sp>
    </p:spTree>
    <p:extLst>
      <p:ext uri="{BB962C8B-B14F-4D97-AF65-F5344CB8AC3E}">
        <p14:creationId xmlns:p14="http://schemas.microsoft.com/office/powerpoint/2010/main" val="122227844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02DE6-96D9-47F8-A7C8-D6C9DE4A7C97}"/>
              </a:ext>
            </a:extLst>
          </p:cNvPr>
          <p:cNvSpPr>
            <a:spLocks noGrp="1"/>
          </p:cNvSpPr>
          <p:nvPr>
            <p:ph type="title"/>
          </p:nvPr>
        </p:nvSpPr>
        <p:spPr>
          <a:xfrm>
            <a:off x="275493" y="1"/>
            <a:ext cx="11223780" cy="1047964"/>
          </a:xfrm>
        </p:spPr>
        <p:txBody>
          <a:bodyPr>
            <a:normAutofit/>
          </a:bodyPr>
          <a:lstStyle/>
          <a:p>
            <a:r>
              <a:rPr lang="en-US" sz="3600" err="1"/>
              <a:t>myCAvax</a:t>
            </a:r>
            <a:r>
              <a:rPr lang="en-US" sz="3600"/>
              <a:t> – Known Issues</a:t>
            </a:r>
            <a:endParaRPr lang="en-US" sz="2800" b="1">
              <a:solidFill>
                <a:schemeClr val="accent4"/>
              </a:solidFill>
            </a:endParaRPr>
          </a:p>
        </p:txBody>
      </p:sp>
      <p:sp>
        <p:nvSpPr>
          <p:cNvPr id="4" name="Slide Number Placeholder 3">
            <a:extLst>
              <a:ext uri="{FF2B5EF4-FFF2-40B4-BE49-F238E27FC236}">
                <a16:creationId xmlns:a16="http://schemas.microsoft.com/office/drawing/2014/main" id="{95512496-CEE0-41FD-92DC-8A1BC7F138B1}"/>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8" name="Graphic 17" descr="Needle with solid fill">
            <a:extLst>
              <a:ext uri="{FF2B5EF4-FFF2-40B4-BE49-F238E27FC236}">
                <a16:creationId xmlns:a16="http://schemas.microsoft.com/office/drawing/2014/main" id="{93DE74A6-7E45-4E0C-B93A-E468A8058CA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rot="768068">
            <a:off x="1447380" y="1883299"/>
            <a:ext cx="1446644" cy="1446644"/>
          </a:xfrm>
          <a:prstGeom prst="rect">
            <a:avLst/>
          </a:prstGeom>
        </p:spPr>
      </p:pic>
      <p:sp>
        <p:nvSpPr>
          <p:cNvPr id="30" name="TextBox 29">
            <a:extLst>
              <a:ext uri="{FF2B5EF4-FFF2-40B4-BE49-F238E27FC236}">
                <a16:creationId xmlns:a16="http://schemas.microsoft.com/office/drawing/2014/main" id="{48792F08-59C2-43C0-AB2B-57FFBFA25803}"/>
              </a:ext>
            </a:extLst>
          </p:cNvPr>
          <p:cNvSpPr txBox="1"/>
          <p:nvPr/>
        </p:nvSpPr>
        <p:spPr>
          <a:xfrm>
            <a:off x="960597" y="1275764"/>
            <a:ext cx="4783350" cy="4893647"/>
          </a:xfrm>
          <a:prstGeom prst="rect">
            <a:avLst/>
          </a:prstGeom>
          <a:ln w="6350">
            <a:noFill/>
            <a:miter lim="800000"/>
          </a:ln>
        </p:spPr>
        <p:txBody>
          <a:bodyPr vert="horz" wrap="square" lIns="0" tIns="0" rIns="0" bIns="0" rtlCol="0" anchor="t">
            <a:spAutoFit/>
          </a:bodyPr>
          <a:lstStyle/>
          <a:p>
            <a:pPr marL="0" marR="0" lvl="0" indent="0" algn="l" defTabSz="914400" rtl="0" eaLnBrk="1" fontAlgn="auto" latinLnBrk="0" hangingPunct="1">
              <a:lnSpc>
                <a:spcPct val="100000"/>
              </a:lnSpc>
              <a:spcBef>
                <a:spcPts val="300"/>
              </a:spcBef>
              <a:spcAft>
                <a:spcPts val="300"/>
              </a:spcAft>
              <a:buClr>
                <a:srgbClr val="F37D20"/>
              </a:buClr>
              <a:buSzTx/>
              <a:buFontTx/>
              <a:buNone/>
              <a:tabLst/>
              <a:defRPr/>
            </a:pPr>
            <a:r>
              <a:rPr kumimoji="0" lang="en-US" sz="2200" b="1" i="0" u="none" strike="noStrike" kern="0" cap="none" spc="0" normalizeH="0" baseline="0" noProof="0">
                <a:ln>
                  <a:noFill/>
                </a:ln>
                <a:solidFill>
                  <a:srgbClr val="20479E"/>
                </a:solidFill>
                <a:effectLst/>
                <a:uLnTx/>
                <a:uFillTx/>
                <a:latin typeface="Arial" panose="020B0604020202020204"/>
                <a:ea typeface="+mn-ea"/>
                <a:cs typeface="Arial"/>
              </a:rPr>
              <a:t>Known Issues</a:t>
            </a:r>
          </a:p>
          <a:p>
            <a:pPr marL="0" marR="0" lvl="0" indent="0" algn="l" defTabSz="914400" rtl="0" eaLnBrk="1" fontAlgn="auto" latinLnBrk="0" hangingPunct="1">
              <a:lnSpc>
                <a:spcPct val="100000"/>
              </a:lnSpc>
              <a:spcBef>
                <a:spcPts val="0"/>
              </a:spcBef>
              <a:spcAft>
                <a:spcPts val="0"/>
              </a:spcAft>
              <a:buClr>
                <a:srgbClr val="F37D20"/>
              </a:buClr>
              <a:buSzTx/>
              <a:buFontTx/>
              <a:buNone/>
              <a:tabLst/>
              <a:defRPr/>
            </a:pPr>
            <a:endParaRPr kumimoji="0" lang="en-US" sz="2200" b="1" i="0" u="none" strike="noStrike" kern="0" cap="none" spc="0" normalizeH="0" baseline="0" noProof="0">
              <a:ln>
                <a:noFill/>
              </a:ln>
              <a:solidFill>
                <a:srgbClr val="000000"/>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
                <a:srgbClr val="F37D20"/>
              </a:buClr>
              <a:buSzTx/>
              <a:buFontTx/>
              <a:buNone/>
              <a:tabLst/>
              <a:defRPr/>
            </a:pPr>
            <a:r>
              <a:rPr kumimoji="0" lang="en-US" sz="2200" b="1" i="0" u="none" strike="noStrike" kern="0" cap="none" spc="0" normalizeH="0" baseline="0" noProof="0">
                <a:ln>
                  <a:noFill/>
                </a:ln>
                <a:solidFill>
                  <a:srgbClr val="000000"/>
                </a:solidFill>
                <a:effectLst/>
                <a:uLnTx/>
                <a:uFillTx/>
                <a:latin typeface="Arial" panose="020B0604020202020204"/>
                <a:ea typeface="+mn-lt"/>
                <a:cs typeface="Arial" panose="020B0604020202020204"/>
              </a:rPr>
              <a:t>Users Forced to Enter Fax Number</a:t>
            </a:r>
            <a:endParaRPr kumimoji="0" lang="en-US" sz="2200" b="1" i="0" u="none" strike="noStrike" kern="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0" cap="none" spc="0" normalizeH="0" baseline="0" noProof="0">
                <a:ln>
                  <a:noFill/>
                </a:ln>
                <a:solidFill>
                  <a:srgbClr val="000000"/>
                </a:solidFill>
                <a:effectLst/>
                <a:uLnTx/>
                <a:uFillTx/>
                <a:latin typeface="Arial" panose="020B0604020202020204"/>
                <a:ea typeface="+mn-lt"/>
                <a:cs typeface="Arial" panose="020B0604020202020204"/>
              </a:rPr>
              <a:t>       </a:t>
            </a:r>
            <a:endParaRPr kumimoji="0" lang="en-US" sz="2200" b="0" i="0" u="none" strike="noStrike" kern="1200" cap="none" spc="0" normalizeH="0" baseline="0" noProof="0">
              <a:ln>
                <a:noFill/>
              </a:ln>
              <a:solidFill>
                <a:srgbClr val="000000"/>
              </a:solidFill>
              <a:effectLst/>
              <a:uLnTx/>
              <a:uFillTx/>
              <a:latin typeface="Arial" panose="020B0604020202020204"/>
              <a:ea typeface="+mn-ea"/>
              <a:cs typeface="+mn-cs"/>
            </a:endParaRPr>
          </a:p>
          <a:p>
            <a:pPr marL="285750" marR="0" lvl="0" indent="-285750" algn="l" defTabSz="914400" rtl="0" eaLnBrk="1" fontAlgn="auto" latinLnBrk="0" hangingPunct="1">
              <a:lnSpc>
                <a:spcPct val="100000"/>
              </a:lnSpc>
              <a:spcBef>
                <a:spcPts val="0"/>
              </a:spcBef>
              <a:spcAft>
                <a:spcPts val="0"/>
              </a:spcAft>
              <a:buClr>
                <a:srgbClr val="F37D20"/>
              </a:buClr>
              <a:buSzTx/>
              <a:buFont typeface="Wingdings"/>
              <a:buChar char="ü"/>
              <a:tabLst/>
              <a:defRPr/>
            </a:pPr>
            <a:r>
              <a:rPr kumimoji="0" lang="en-US" sz="2200" b="0" i="0" u="none" strike="noStrike" kern="0" cap="none" spc="0" normalizeH="0" baseline="0" noProof="0">
                <a:ln>
                  <a:noFill/>
                </a:ln>
                <a:solidFill>
                  <a:srgbClr val="000000"/>
                </a:solidFill>
                <a:effectLst/>
                <a:uLnTx/>
                <a:uFillTx/>
                <a:latin typeface="Arial" panose="020B0604020202020204"/>
                <a:ea typeface="+mn-lt"/>
                <a:cs typeface="Arial" panose="020B0604020202020204"/>
              </a:rPr>
              <a:t>Some users are forced to enter a supply fax number during enrollment. The user may face issues when the fax number field is clicked. If so, it will require the user to enter a 10-digit fax number.</a:t>
            </a:r>
            <a:endParaRPr kumimoji="0" lang="en-US" sz="2200" b="0" i="0" u="none" strike="noStrike" kern="120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0"/>
              </a:spcBef>
              <a:spcAft>
                <a:spcPts val="0"/>
              </a:spcAft>
              <a:buClr>
                <a:srgbClr val="F37D20"/>
              </a:buClr>
              <a:buSzTx/>
              <a:buFontTx/>
              <a:buNone/>
              <a:tabLst/>
              <a:defRPr/>
            </a:pPr>
            <a:br>
              <a:rPr kumimoji="0" lang="en-US" sz="2200" b="0" i="0" u="none" strike="noStrike" kern="1200" cap="none" spc="0" normalizeH="0" baseline="0" noProof="0">
                <a:ln>
                  <a:noFill/>
                </a:ln>
                <a:solidFill>
                  <a:srgbClr val="000000"/>
                </a:solidFill>
                <a:effectLst/>
                <a:uLnTx/>
                <a:uFillTx/>
                <a:latin typeface="Arial" panose="020B0604020202020204"/>
                <a:ea typeface="+mn-ea"/>
                <a:cs typeface="+mn-cs"/>
              </a:rPr>
            </a:br>
            <a:endParaRPr kumimoji="0" lang="en-US" sz="2200" b="0" i="0" u="none" strike="noStrike" kern="1200" cap="none" spc="0" normalizeH="0" baseline="0" noProof="0">
              <a:ln>
                <a:noFill/>
              </a:ln>
              <a:solidFill>
                <a:srgbClr val="000000"/>
              </a:solidFill>
              <a:effectLst/>
              <a:uLnTx/>
              <a:uFillTx/>
              <a:latin typeface="Arial" panose="020B0604020202020204"/>
              <a:ea typeface="+mn-ea"/>
              <a:cs typeface="Arial" panose="020B0604020202020204"/>
            </a:endParaRPr>
          </a:p>
          <a:p>
            <a:pPr marL="342900" marR="0" lvl="0" indent="-342900" algn="l" defTabSz="914400" rtl="0" eaLnBrk="1" fontAlgn="auto" latinLnBrk="0" hangingPunct="1">
              <a:lnSpc>
                <a:spcPct val="100000"/>
              </a:lnSpc>
              <a:spcBef>
                <a:spcPts val="300"/>
              </a:spcBef>
              <a:spcAft>
                <a:spcPts val="300"/>
              </a:spcAft>
              <a:buClr>
                <a:srgbClr val="F37D20"/>
              </a:buClr>
              <a:buSzTx/>
              <a:buFont typeface="Wingdings"/>
              <a:buChar char="ü"/>
              <a:tabLst/>
              <a:defRPr/>
            </a:pPr>
            <a:endParaRPr kumimoji="0" lang="en-US" sz="2200" b="0" i="0" u="none" strike="noStrike" kern="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300"/>
              </a:spcBef>
              <a:spcAft>
                <a:spcPts val="300"/>
              </a:spcAft>
              <a:buClr>
                <a:srgbClr val="F37D20"/>
              </a:buClr>
              <a:buSzTx/>
              <a:buFontTx/>
              <a:buNone/>
              <a:tabLst/>
              <a:defRPr/>
            </a:pPr>
            <a:endParaRPr kumimoji="0" lang="en-US" sz="2200" b="0" i="0" u="none" strike="noStrike" kern="0" cap="none" spc="0" normalizeH="0" baseline="0" noProof="0">
              <a:ln>
                <a:noFill/>
              </a:ln>
              <a:solidFill>
                <a:srgbClr val="000000"/>
              </a:solidFill>
              <a:effectLst/>
              <a:uLnTx/>
              <a:uFillTx/>
              <a:latin typeface="Arial" panose="020B0604020202020204"/>
              <a:ea typeface="+mn-ea"/>
              <a:cs typeface="Arial"/>
            </a:endParaRPr>
          </a:p>
        </p:txBody>
      </p:sp>
      <p:pic>
        <p:nvPicPr>
          <p:cNvPr id="39" name="Graphic 38" descr="Cmd Terminal with solid fill">
            <a:extLst>
              <a:ext uri="{FF2B5EF4-FFF2-40B4-BE49-F238E27FC236}">
                <a16:creationId xmlns:a16="http://schemas.microsoft.com/office/drawing/2014/main" id="{0C848C4A-766C-4040-8638-1B9F15075A2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rcRect/>
          <a:stretch/>
        </p:blipFill>
        <p:spPr>
          <a:xfrm>
            <a:off x="312007" y="1164904"/>
            <a:ext cx="543057" cy="543057"/>
          </a:xfrm>
          <a:prstGeom prst="rect">
            <a:avLst/>
          </a:prstGeom>
        </p:spPr>
      </p:pic>
      <p:sp>
        <p:nvSpPr>
          <p:cNvPr id="19" name="TextBox 18">
            <a:extLst>
              <a:ext uri="{FF2B5EF4-FFF2-40B4-BE49-F238E27FC236}">
                <a16:creationId xmlns:a16="http://schemas.microsoft.com/office/drawing/2014/main" id="{F0622431-D76C-4A75-AF3B-F733DD2052CC}"/>
              </a:ext>
            </a:extLst>
          </p:cNvPr>
          <p:cNvSpPr txBox="1"/>
          <p:nvPr/>
        </p:nvSpPr>
        <p:spPr>
          <a:xfrm>
            <a:off x="6645549" y="1275764"/>
            <a:ext cx="5257526" cy="2677656"/>
          </a:xfrm>
          <a:prstGeom prst="rect">
            <a:avLst/>
          </a:prstGeom>
          <a:ln w="6350">
            <a:noFill/>
            <a:miter lim="800000"/>
          </a:ln>
        </p:spPr>
        <p:txBody>
          <a:bodyPr vert="horz" wrap="square" lIns="0" tIns="0" rIns="0" bIns="0" rtlCol="0" anchor="t">
            <a:spAutoFit/>
          </a:bodyPr>
          <a:lstStyle/>
          <a:p>
            <a:pPr marL="0" marR="0" lvl="0" indent="0" algn="l" defTabSz="914400" rtl="0" eaLnBrk="1" fontAlgn="auto" latinLnBrk="0" hangingPunct="1">
              <a:lnSpc>
                <a:spcPct val="100000"/>
              </a:lnSpc>
              <a:spcBef>
                <a:spcPts val="300"/>
              </a:spcBef>
              <a:spcAft>
                <a:spcPts val="300"/>
              </a:spcAft>
              <a:buClr>
                <a:srgbClr val="F37D20"/>
              </a:buClr>
              <a:buSzTx/>
              <a:buFontTx/>
              <a:buNone/>
              <a:tabLst/>
              <a:defRPr/>
            </a:pPr>
            <a:r>
              <a:rPr kumimoji="0" lang="en-US" sz="2200" b="1" i="0" u="none" strike="noStrike" kern="0" cap="none" spc="0" normalizeH="0" baseline="0" noProof="0">
                <a:ln>
                  <a:noFill/>
                </a:ln>
                <a:solidFill>
                  <a:srgbClr val="20479E"/>
                </a:solidFill>
                <a:effectLst/>
                <a:uLnTx/>
                <a:uFillTx/>
                <a:latin typeface="Arial" panose="020B0604020202020204"/>
                <a:ea typeface="+mn-ea"/>
                <a:cs typeface="Arial"/>
              </a:rPr>
              <a:t>Workaround</a:t>
            </a:r>
          </a:p>
          <a:p>
            <a:pPr marL="285750" marR="0" lvl="0" indent="-285750" algn="l" defTabSz="914400" rtl="0" eaLnBrk="1" fontAlgn="auto" latinLnBrk="0" hangingPunct="1">
              <a:lnSpc>
                <a:spcPct val="100000"/>
              </a:lnSpc>
              <a:spcBef>
                <a:spcPts val="300"/>
              </a:spcBef>
              <a:spcAft>
                <a:spcPts val="300"/>
              </a:spcAft>
              <a:buClr>
                <a:srgbClr val="F37D20"/>
              </a:buClr>
              <a:buSzTx/>
              <a:buFont typeface="Wingdings" panose="05000000000000000000" pitchFamily="2" charset="2"/>
              <a:buChar char="ü"/>
              <a:tabLst/>
              <a:defRPr/>
            </a:pPr>
            <a:endParaRPr kumimoji="0" lang="en-US" sz="2200" b="0" i="0" u="none" strike="noStrike" kern="0" cap="none" spc="0" normalizeH="0" baseline="0" noProof="0">
              <a:ln>
                <a:noFill/>
              </a:ln>
              <a:solidFill>
                <a:srgbClr val="000000"/>
              </a:solidFill>
              <a:effectLst/>
              <a:uLnTx/>
              <a:uFillTx/>
              <a:latin typeface="Arial" panose="020B0604020202020204"/>
              <a:ea typeface="+mn-ea"/>
              <a:cs typeface="Arial"/>
            </a:endParaRPr>
          </a:p>
          <a:p>
            <a:pPr marL="0" marR="0" lvl="0" indent="0" algn="l" defTabSz="914400" rtl="0" eaLnBrk="1" fontAlgn="auto" latinLnBrk="0" hangingPunct="1">
              <a:lnSpc>
                <a:spcPct val="100000"/>
              </a:lnSpc>
              <a:spcBef>
                <a:spcPts val="300"/>
              </a:spcBef>
              <a:spcAft>
                <a:spcPts val="300"/>
              </a:spcAft>
              <a:buClr>
                <a:srgbClr val="F37D20"/>
              </a:buClr>
              <a:buSzTx/>
              <a:buFontTx/>
              <a:buNone/>
              <a:tabLst/>
              <a:defRPr/>
            </a:pPr>
            <a:endParaRPr kumimoji="0" lang="en-US" sz="2200" b="0" i="0" u="none" strike="noStrike" kern="0" cap="none" spc="0" normalizeH="0" baseline="0" noProof="0">
              <a:ln>
                <a:noFill/>
              </a:ln>
              <a:solidFill>
                <a:srgbClr val="000000"/>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300"/>
              </a:spcBef>
              <a:spcAft>
                <a:spcPts val="300"/>
              </a:spcAft>
              <a:buClr>
                <a:srgbClr val="F37D20"/>
              </a:buClr>
              <a:buSzTx/>
              <a:buFont typeface="Wingdings" panose="05000000000000000000" pitchFamily="2" charset="2"/>
              <a:buChar char="ü"/>
              <a:tabLst/>
              <a:defRPr/>
            </a:pPr>
            <a:r>
              <a:rPr kumimoji="0" lang="en-US" sz="2200" b="0" i="0" u="none" strike="noStrike" kern="0" cap="none" spc="0" normalizeH="0" baseline="0" noProof="0">
                <a:ln>
                  <a:noFill/>
                </a:ln>
                <a:solidFill>
                  <a:srgbClr val="000000"/>
                </a:solidFill>
                <a:effectLst/>
                <a:uLnTx/>
                <a:uFillTx/>
                <a:latin typeface="Arial" panose="020B0604020202020204"/>
                <a:ea typeface="+mn-lt"/>
                <a:cs typeface="Arial" panose="020B0604020202020204"/>
              </a:rPr>
              <a:t>Users may enter 5555555555 (without any special characters or spaces) to bypass the error message.</a:t>
            </a:r>
            <a:r>
              <a:rPr kumimoji="0" lang="en-US" sz="2200" b="0" i="0" u="none" strike="noStrike" kern="0" cap="none" spc="0" normalizeH="0" baseline="0" noProof="0">
                <a:ln>
                  <a:noFill/>
                </a:ln>
                <a:solidFill>
                  <a:srgbClr val="000000"/>
                </a:solidFill>
                <a:effectLst/>
                <a:uLnTx/>
                <a:uFillTx/>
                <a:latin typeface="Arial" panose="020B0604020202020204"/>
                <a:ea typeface="+mn-ea"/>
                <a:cs typeface="Arial"/>
              </a:rPr>
              <a:t>      </a:t>
            </a:r>
          </a:p>
          <a:p>
            <a:pPr marL="0" marR="0" lvl="0" indent="0" algn="l" defTabSz="914400" rtl="0" eaLnBrk="1" fontAlgn="auto" latinLnBrk="0" hangingPunct="1">
              <a:lnSpc>
                <a:spcPct val="100000"/>
              </a:lnSpc>
              <a:spcBef>
                <a:spcPts val="300"/>
              </a:spcBef>
              <a:spcAft>
                <a:spcPts val="300"/>
              </a:spcAft>
              <a:buClrTx/>
              <a:buSzTx/>
              <a:buFontTx/>
              <a:buNone/>
              <a:tabLst/>
              <a:defRPr/>
            </a:pPr>
            <a:r>
              <a:rPr kumimoji="0" lang="en-US" sz="2200" b="0" i="0" u="none" strike="noStrike" kern="0" cap="none" spc="0" normalizeH="0" baseline="0" noProof="0">
                <a:ln>
                  <a:noFill/>
                </a:ln>
                <a:solidFill>
                  <a:srgbClr val="000000"/>
                </a:solidFill>
                <a:effectLst/>
                <a:uLnTx/>
                <a:uFillTx/>
                <a:latin typeface="Arial" panose="020B0604020202020204"/>
                <a:ea typeface="+mn-ea"/>
                <a:cs typeface="Arial"/>
              </a:rPr>
              <a:t>     Estimated Fix 9/23</a:t>
            </a:r>
          </a:p>
        </p:txBody>
      </p:sp>
      <p:cxnSp>
        <p:nvCxnSpPr>
          <p:cNvPr id="23" name="Straight Connector 22">
            <a:extLst>
              <a:ext uri="{FF2B5EF4-FFF2-40B4-BE49-F238E27FC236}">
                <a16:creationId xmlns:a16="http://schemas.microsoft.com/office/drawing/2014/main" id="{2BD3D6B1-2BE3-4E61-B37C-CF6F38E931D4}"/>
              </a:ext>
            </a:extLst>
          </p:cNvPr>
          <p:cNvCxnSpPr>
            <a:cxnSpLocks/>
          </p:cNvCxnSpPr>
          <p:nvPr/>
        </p:nvCxnSpPr>
        <p:spPr>
          <a:xfrm>
            <a:off x="5905269" y="1523982"/>
            <a:ext cx="0" cy="3896317"/>
          </a:xfrm>
          <a:prstGeom prst="line">
            <a:avLst/>
          </a:prstGeom>
          <a:ln>
            <a:solidFill>
              <a:schemeClr val="bg1">
                <a:lumMod val="65000"/>
              </a:schemeClr>
            </a:solidFill>
            <a:prstDash val="dash"/>
          </a:ln>
        </p:spPr>
        <p:style>
          <a:lnRef idx="1">
            <a:schemeClr val="accent1"/>
          </a:lnRef>
          <a:fillRef idx="0">
            <a:schemeClr val="accent1"/>
          </a:fillRef>
          <a:effectRef idx="0">
            <a:schemeClr val="accent1"/>
          </a:effectRef>
          <a:fontRef idx="minor">
            <a:schemeClr val="tx1"/>
          </a:fontRef>
        </p:style>
      </p:cxnSp>
      <p:pic>
        <p:nvPicPr>
          <p:cNvPr id="26" name="Graphic 25" descr="Lightbulb and gear with solid fill">
            <a:extLst>
              <a:ext uri="{FF2B5EF4-FFF2-40B4-BE49-F238E27FC236}">
                <a16:creationId xmlns:a16="http://schemas.microsoft.com/office/drawing/2014/main" id="{0E87FEE8-1D07-413E-99D4-2AE6342B2BD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a:stretch/>
        </p:blipFill>
        <p:spPr>
          <a:xfrm>
            <a:off x="5960643" y="1161641"/>
            <a:ext cx="579371" cy="579371"/>
          </a:xfrm>
          <a:prstGeom prst="rect">
            <a:avLst/>
          </a:prstGeom>
        </p:spPr>
      </p:pic>
      <p:sp>
        <p:nvSpPr>
          <p:cNvPr id="3" name="TextBox 2">
            <a:extLst>
              <a:ext uri="{FF2B5EF4-FFF2-40B4-BE49-F238E27FC236}">
                <a16:creationId xmlns:a16="http://schemas.microsoft.com/office/drawing/2014/main" id="{CB838EBF-ED65-45EF-B3E0-B90E81F09660}"/>
              </a:ext>
            </a:extLst>
          </p:cNvPr>
          <p:cNvSpPr txBox="1"/>
          <p:nvPr/>
        </p:nvSpPr>
        <p:spPr>
          <a:xfrm>
            <a:off x="10056063" y="6378383"/>
            <a:ext cx="144321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FFFFFF"/>
                </a:solidFill>
                <a:effectLst/>
                <a:uLnTx/>
                <a:uFillTx/>
                <a:latin typeface="Arial" panose="020B0604020202020204"/>
                <a:ea typeface="+mn-ea"/>
                <a:cs typeface="+mn-cs"/>
              </a:rPr>
              <a:t>*As of 9/10</a:t>
            </a:r>
          </a:p>
        </p:txBody>
      </p:sp>
    </p:spTree>
    <p:extLst>
      <p:ext uri="{BB962C8B-B14F-4D97-AF65-F5344CB8AC3E}">
        <p14:creationId xmlns:p14="http://schemas.microsoft.com/office/powerpoint/2010/main" val="6018658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BF56E3-A77C-4873-B432-BDAF36F0EEAC}"/>
              </a:ext>
            </a:extLst>
          </p:cNvPr>
          <p:cNvSpPr>
            <a:spLocks noGrp="1"/>
          </p:cNvSpPr>
          <p:nvPr>
            <p:ph type="ctrTitle"/>
          </p:nvPr>
        </p:nvSpPr>
        <p:spPr>
          <a:xfrm>
            <a:off x="418353" y="3342775"/>
            <a:ext cx="7102233" cy="1840524"/>
          </a:xfrm>
        </p:spPr>
        <p:txBody>
          <a:bodyPr>
            <a:normAutofit/>
          </a:bodyPr>
          <a:lstStyle/>
          <a:p>
            <a:pPr algn="l"/>
            <a:r>
              <a:rPr lang="en-US" sz="4400">
                <a:cs typeface="Arial"/>
              </a:rPr>
              <a:t>Announcements</a:t>
            </a:r>
            <a:r>
              <a:rPr lang="en-US" sz="4800">
                <a:cs typeface="Arial"/>
              </a:rPr>
              <a:t> </a:t>
            </a:r>
          </a:p>
        </p:txBody>
      </p:sp>
      <p:sp>
        <p:nvSpPr>
          <p:cNvPr id="4" name="Slide Number Placeholder 3">
            <a:extLst>
              <a:ext uri="{FF2B5EF4-FFF2-40B4-BE49-F238E27FC236}">
                <a16:creationId xmlns:a16="http://schemas.microsoft.com/office/drawing/2014/main" id="{E4BDCC31-65EF-47D7-96AD-B5CC443997B7}"/>
              </a:ext>
            </a:extLst>
          </p:cNvPr>
          <p:cNvSpPr>
            <a:spLocks noGrp="1"/>
          </p:cNvSpPr>
          <p:nvPr>
            <p:ph type="sldNum" sz="quarter" idx="12"/>
          </p:nvPr>
        </p:nvSpPr>
        <p:spPr/>
        <p:txBody>
          <a:bodyPr/>
          <a:lstStyle/>
          <a:p>
            <a:fld id="{13D703BF-151A-0D40-8508-CABBAD09F9A9}" type="slidenum">
              <a:rPr lang="en-US" smtClean="0"/>
              <a:t>5</a:t>
            </a:fld>
            <a:endParaRPr lang="en-US"/>
          </a:p>
        </p:txBody>
      </p:sp>
    </p:spTree>
    <p:extLst>
      <p:ext uri="{BB962C8B-B14F-4D97-AF65-F5344CB8AC3E}">
        <p14:creationId xmlns:p14="http://schemas.microsoft.com/office/powerpoint/2010/main" val="35160220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8702DE6-96D9-47F8-A7C8-D6C9DE4A7C97}"/>
              </a:ext>
            </a:extLst>
          </p:cNvPr>
          <p:cNvSpPr>
            <a:spLocks noGrp="1"/>
          </p:cNvSpPr>
          <p:nvPr>
            <p:ph type="title"/>
          </p:nvPr>
        </p:nvSpPr>
        <p:spPr>
          <a:xfrm>
            <a:off x="275493" y="1"/>
            <a:ext cx="10515600" cy="1047964"/>
          </a:xfrm>
        </p:spPr>
        <p:txBody>
          <a:bodyPr>
            <a:normAutofit/>
          </a:bodyPr>
          <a:lstStyle/>
          <a:p>
            <a:r>
              <a:rPr lang="en-US" sz="3600"/>
              <a:t>My Turn and </a:t>
            </a:r>
            <a:r>
              <a:rPr lang="en-US" sz="3600" err="1"/>
              <a:t>myCAvax</a:t>
            </a:r>
            <a:r>
              <a:rPr lang="en-US" sz="3600"/>
              <a:t> Feedback Form</a:t>
            </a:r>
          </a:p>
        </p:txBody>
      </p:sp>
      <p:sp>
        <p:nvSpPr>
          <p:cNvPr id="4" name="Slide Number Placeholder 3">
            <a:extLst>
              <a:ext uri="{FF2B5EF4-FFF2-40B4-BE49-F238E27FC236}">
                <a16:creationId xmlns:a16="http://schemas.microsoft.com/office/drawing/2014/main" id="{95512496-CEE0-41FD-92DC-8A1BC7F138B1}"/>
              </a:ext>
            </a:extLst>
          </p:cNvPr>
          <p:cNvSpPr>
            <a:spLocks noGrp="1"/>
          </p:cNvSpPr>
          <p:nvPr>
            <p:ph type="sldNum" sz="quarter" idx="12"/>
          </p:nvPr>
        </p:nvSpPr>
        <p:spPr>
          <a:xfrm>
            <a:off x="9159875" y="6356350"/>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Content Placeholder 2">
            <a:extLst>
              <a:ext uri="{FF2B5EF4-FFF2-40B4-BE49-F238E27FC236}">
                <a16:creationId xmlns:a16="http://schemas.microsoft.com/office/drawing/2014/main" id="{4F8539F2-3AFE-40CB-BC81-6D7E3A6983B7}"/>
              </a:ext>
            </a:extLst>
          </p:cNvPr>
          <p:cNvSpPr>
            <a:spLocks noGrp="1"/>
          </p:cNvSpPr>
          <p:nvPr>
            <p:ph idx="1"/>
          </p:nvPr>
        </p:nvSpPr>
        <p:spPr>
          <a:xfrm>
            <a:off x="519011" y="1069231"/>
            <a:ext cx="11113008" cy="4968194"/>
          </a:xfrm>
        </p:spPr>
        <p:txBody>
          <a:bodyPr vert="horz" lIns="91440" tIns="45720" rIns="91440" bIns="45720" rtlCol="0" anchor="t">
            <a:noAutofit/>
          </a:bodyPr>
          <a:lstStyle/>
          <a:p>
            <a:pPr marL="0" indent="0">
              <a:lnSpc>
                <a:spcPct val="100000"/>
              </a:lnSpc>
              <a:spcBef>
                <a:spcPts val="0"/>
              </a:spcBef>
              <a:buClr>
                <a:schemeClr val="accent1"/>
              </a:buClr>
              <a:buNone/>
            </a:pPr>
            <a:r>
              <a:rPr lang="en-US" sz="2200">
                <a:ea typeface="+mn-lt"/>
                <a:cs typeface="+mn-lt"/>
              </a:rPr>
              <a:t>The Governance and Continuous Improvement team is looking for feedback and suggestions from our LHDs and Providers.</a:t>
            </a:r>
          </a:p>
          <a:p>
            <a:pPr marL="0" indent="0">
              <a:lnSpc>
                <a:spcPct val="100000"/>
              </a:lnSpc>
              <a:spcBef>
                <a:spcPts val="0"/>
              </a:spcBef>
              <a:buClr>
                <a:schemeClr val="accent1"/>
              </a:buClr>
              <a:buNone/>
            </a:pPr>
            <a:endParaRPr lang="en-US" sz="2200">
              <a:ea typeface="+mn-lt"/>
              <a:cs typeface="+mn-lt"/>
            </a:endParaRPr>
          </a:p>
          <a:p>
            <a:pPr marL="0" indent="0">
              <a:lnSpc>
                <a:spcPct val="100000"/>
              </a:lnSpc>
              <a:spcBef>
                <a:spcPts val="0"/>
              </a:spcBef>
              <a:buClr>
                <a:schemeClr val="accent1"/>
              </a:buClr>
              <a:buNone/>
            </a:pPr>
            <a:r>
              <a:rPr lang="en-US" sz="2200" b="1">
                <a:solidFill>
                  <a:schemeClr val="tx2"/>
                </a:solidFill>
                <a:ea typeface="+mn-lt"/>
                <a:cs typeface="+mn-lt"/>
              </a:rPr>
              <a:t>Purpose</a:t>
            </a:r>
          </a:p>
          <a:p>
            <a:pPr marL="342900" indent="-342900">
              <a:lnSpc>
                <a:spcPct val="100000"/>
              </a:lnSpc>
              <a:spcBef>
                <a:spcPts val="0"/>
              </a:spcBef>
              <a:buClr>
                <a:schemeClr val="accent1"/>
              </a:buClr>
            </a:pPr>
            <a:r>
              <a:rPr lang="en-US" sz="2200"/>
              <a:t>D</a:t>
            </a:r>
            <a:r>
              <a:rPr lang="en-US" sz="2200" b="0" i="0">
                <a:effectLst/>
              </a:rPr>
              <a:t>irect line of communication for feedback and / or suggestions</a:t>
            </a:r>
            <a:endParaRPr lang="en-US" sz="2200">
              <a:ea typeface="+mn-lt"/>
              <a:cs typeface="+mn-lt"/>
            </a:endParaRPr>
          </a:p>
          <a:p>
            <a:pPr marL="342900" indent="-342900">
              <a:lnSpc>
                <a:spcPct val="100000"/>
              </a:lnSpc>
              <a:spcBef>
                <a:spcPts val="0"/>
              </a:spcBef>
              <a:buClr>
                <a:schemeClr val="accent1"/>
              </a:buClr>
            </a:pPr>
            <a:r>
              <a:rPr lang="en-US" sz="2200">
                <a:ea typeface="+mn-lt"/>
                <a:cs typeface="+mn-lt"/>
              </a:rPr>
              <a:t>Assist functional team in identifying and prioritizing enhancements</a:t>
            </a:r>
          </a:p>
          <a:p>
            <a:pPr marL="342900" indent="-342900">
              <a:lnSpc>
                <a:spcPct val="100000"/>
              </a:lnSpc>
              <a:spcBef>
                <a:spcPts val="0"/>
              </a:spcBef>
              <a:buClr>
                <a:schemeClr val="accent1"/>
              </a:buClr>
            </a:pPr>
            <a:r>
              <a:rPr lang="en-US" sz="2200">
                <a:ea typeface="+mn-lt"/>
                <a:cs typeface="+mn-lt"/>
              </a:rPr>
              <a:t>Help identify additional trainings and / or job aids needed</a:t>
            </a:r>
          </a:p>
          <a:p>
            <a:pPr marL="0" indent="0">
              <a:lnSpc>
                <a:spcPct val="100000"/>
              </a:lnSpc>
              <a:spcBef>
                <a:spcPts val="0"/>
              </a:spcBef>
              <a:buClr>
                <a:schemeClr val="accent1"/>
              </a:buClr>
              <a:buNone/>
            </a:pPr>
            <a:endParaRPr lang="en-US" sz="2200">
              <a:ea typeface="+mn-lt"/>
              <a:cs typeface="+mn-lt"/>
            </a:endParaRPr>
          </a:p>
        </p:txBody>
      </p:sp>
      <p:pic>
        <p:nvPicPr>
          <p:cNvPr id="5" name="Graphic 4" descr="Chat outline">
            <a:extLst>
              <a:ext uri="{FF2B5EF4-FFF2-40B4-BE49-F238E27FC236}">
                <a16:creationId xmlns:a16="http://schemas.microsoft.com/office/drawing/2014/main" id="{25897A66-21F2-4913-9F85-958B964DA59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8339760" y="2992036"/>
            <a:ext cx="3451747" cy="3546876"/>
          </a:xfrm>
          <a:prstGeom prst="rect">
            <a:avLst/>
          </a:prstGeom>
        </p:spPr>
      </p:pic>
      <p:sp>
        <p:nvSpPr>
          <p:cNvPr id="7" name="TextBox 6">
            <a:extLst>
              <a:ext uri="{FF2B5EF4-FFF2-40B4-BE49-F238E27FC236}">
                <a16:creationId xmlns:a16="http://schemas.microsoft.com/office/drawing/2014/main" id="{2264B62B-8320-4620-AD62-0D4E4ABB5F46}"/>
              </a:ext>
            </a:extLst>
          </p:cNvPr>
          <p:cNvSpPr txBox="1"/>
          <p:nvPr/>
        </p:nvSpPr>
        <p:spPr>
          <a:xfrm>
            <a:off x="2398567" y="3892920"/>
            <a:ext cx="4906001"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F37D20"/>
              </a:buClr>
              <a:buSzTx/>
              <a:buFontTx/>
              <a:buNone/>
              <a:tabLst/>
              <a:defRPr/>
            </a:pPr>
            <a:r>
              <a:rPr kumimoji="0" lang="en-US" sz="2400" b="1" i="0" u="none" strike="noStrike" kern="1200" cap="none" spc="0" normalizeH="0" baseline="0" noProof="0">
                <a:ln>
                  <a:noFill/>
                </a:ln>
                <a:solidFill>
                  <a:srgbClr val="F37D20"/>
                </a:solidFill>
                <a:effectLst/>
                <a:uLnTx/>
                <a:uFillTx/>
                <a:latin typeface="Arial" panose="020B0604020202020204"/>
                <a:ea typeface="+mn-lt"/>
                <a:cs typeface="Arial" panose="020B0604020202020204"/>
              </a:rPr>
              <a:t>Please submit feedback </a:t>
            </a:r>
            <a:r>
              <a:rPr kumimoji="0" lang="en-US" sz="2400" b="1" i="0" u="none" strike="noStrike" kern="1200" cap="none" spc="0" normalizeH="0" baseline="0" noProof="0">
                <a:ln>
                  <a:noFill/>
                </a:ln>
                <a:solidFill>
                  <a:srgbClr val="F37D20"/>
                </a:solidFill>
                <a:effectLst/>
                <a:uLnTx/>
                <a:uFillTx/>
                <a:latin typeface="Arial" panose="020B0604020202020204"/>
                <a:ea typeface="+mn-lt"/>
                <a:cs typeface="Arial" panose="020B0604020202020204"/>
                <a:hlinkClick r:id="rId4">
                  <a:extLst>
                    <a:ext uri="{A12FA001-AC4F-418D-AE19-62706E023703}">
                      <ahyp:hlinkClr xmlns:ahyp="http://schemas.microsoft.com/office/drawing/2018/hyperlinkcolor" val="tx"/>
                    </a:ext>
                  </a:extLst>
                </a:hlinkClick>
              </a:rPr>
              <a:t>here</a:t>
            </a:r>
            <a:r>
              <a:rPr kumimoji="0" lang="en-US" sz="2400" b="1" i="0" u="none" strike="noStrike" kern="1200" cap="none" spc="0" normalizeH="0" baseline="0" noProof="0">
                <a:ln>
                  <a:noFill/>
                </a:ln>
                <a:solidFill>
                  <a:srgbClr val="F37D20"/>
                </a:solidFill>
                <a:effectLst/>
                <a:uLnTx/>
                <a:uFillTx/>
                <a:latin typeface="Arial" panose="020B0604020202020204"/>
                <a:ea typeface="+mn-lt"/>
                <a:cs typeface="Arial" panose="020B0604020202020204"/>
              </a:rPr>
              <a:t>.</a:t>
            </a:r>
          </a:p>
        </p:txBody>
      </p:sp>
    </p:spTree>
    <p:extLst>
      <p:ext uri="{BB962C8B-B14F-4D97-AF65-F5344CB8AC3E}">
        <p14:creationId xmlns:p14="http://schemas.microsoft.com/office/powerpoint/2010/main" val="42095881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5637238-A7BF-44B8-851A-EF1BC0D9A320}"/>
              </a:ext>
            </a:extLst>
          </p:cNvPr>
          <p:cNvSpPr>
            <a:spLocks noGrp="1"/>
          </p:cNvSpPr>
          <p:nvPr>
            <p:ph type="title"/>
          </p:nvPr>
        </p:nvSpPr>
        <p:spPr>
          <a:xfrm>
            <a:off x="786052" y="1922389"/>
            <a:ext cx="10614561" cy="2852737"/>
          </a:xfrm>
        </p:spPr>
        <p:txBody>
          <a:bodyPr>
            <a:normAutofit/>
          </a:bodyPr>
          <a:lstStyle/>
          <a:p>
            <a:r>
              <a:rPr lang="en-US" sz="4400"/>
              <a:t>Wrap-Up &amp; Resources</a:t>
            </a:r>
            <a:endParaRPr lang="en-US" sz="5400">
              <a:cs typeface="Arial"/>
            </a:endParaRPr>
          </a:p>
        </p:txBody>
      </p:sp>
      <p:sp>
        <p:nvSpPr>
          <p:cNvPr id="3" name="Content Placeholder 2">
            <a:extLst>
              <a:ext uri="{FF2B5EF4-FFF2-40B4-BE49-F238E27FC236}">
                <a16:creationId xmlns:a16="http://schemas.microsoft.com/office/drawing/2014/main" id="{EF60E7E2-6BA6-4BD6-8F80-8F596DCA3B99}"/>
              </a:ext>
            </a:extLst>
          </p:cNvPr>
          <p:cNvSpPr>
            <a:spLocks noGrp="1"/>
          </p:cNvSpPr>
          <p:nvPr>
            <p:ph type="body" idx="1"/>
          </p:nvPr>
        </p:nvSpPr>
        <p:spPr>
          <a:xfrm>
            <a:off x="787548" y="4890719"/>
            <a:ext cx="10515600" cy="1500187"/>
          </a:xfrm>
        </p:spPr>
        <p:txBody>
          <a:bodyPr/>
          <a:lstStyle/>
          <a:p>
            <a:r>
              <a:rPr lang="en-US"/>
              <a:t>Leslie Amani, CDPH</a:t>
            </a:r>
          </a:p>
        </p:txBody>
      </p:sp>
      <p:sp>
        <p:nvSpPr>
          <p:cNvPr id="4" name="Slide Number Placeholder 3">
            <a:extLst>
              <a:ext uri="{FF2B5EF4-FFF2-40B4-BE49-F238E27FC236}">
                <a16:creationId xmlns:a16="http://schemas.microsoft.com/office/drawing/2014/main" id="{167A2A33-7C6B-4A71-A2DB-2FE606DF0486}"/>
              </a:ext>
            </a:extLst>
          </p:cNvPr>
          <p:cNvSpPr>
            <a:spLocks noGrp="1"/>
          </p:cNvSpPr>
          <p:nvPr>
            <p:ph type="sldNum" sz="quarter" idx="12"/>
          </p:nvPr>
        </p:nvSpPr>
        <p:spPr>
          <a:xfrm>
            <a:off x="9159875" y="6356350"/>
            <a:ext cx="2743200" cy="365125"/>
          </a:xfrm>
        </p:spPr>
        <p:txBody>
          <a:bodyPr/>
          <a:lstStyle/>
          <a:p>
            <a:fld id="{13D703BF-151A-0D40-8508-CABBAD09F9A9}" type="slidenum">
              <a:rPr lang="en-US" smtClean="0"/>
              <a:pPr/>
              <a:t>51</a:t>
            </a:fld>
            <a:endParaRPr lang="en-US"/>
          </a:p>
        </p:txBody>
      </p:sp>
    </p:spTree>
    <p:extLst>
      <p:ext uri="{BB962C8B-B14F-4D97-AF65-F5344CB8AC3E}">
        <p14:creationId xmlns:p14="http://schemas.microsoft.com/office/powerpoint/2010/main" val="178858633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6" hidden="1">
            <a:extLst>
              <a:ext uri="{FF2B5EF4-FFF2-40B4-BE49-F238E27FC236}">
                <a16:creationId xmlns:a16="http://schemas.microsoft.com/office/drawing/2014/main" id="{D0B6775C-5DFB-47C6-AEB5-B7824AC81F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7345" name="think-cell Slide" r:id="rId28" imgW="395" imgH="396" progId="TCLayout.ActiveDocument.1">
                  <p:embed/>
                </p:oleObj>
              </mc:Choice>
              <mc:Fallback>
                <p:oleObj name="think-cell Slide" r:id="rId28" imgW="395" imgH="396" progId="TCLayout.ActiveDocument.1">
                  <p:embed/>
                  <p:pic>
                    <p:nvPicPr>
                      <p:cNvPr id="5" name="Object 6" hidden="1">
                        <a:extLst>
                          <a:ext uri="{FF2B5EF4-FFF2-40B4-BE49-F238E27FC236}">
                            <a16:creationId xmlns:a16="http://schemas.microsoft.com/office/drawing/2014/main" id="{D0B6775C-5DFB-47C6-AEB5-B7824AC81F32}"/>
                          </a:ext>
                        </a:extLst>
                      </p:cNvPr>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3" name="Rectangle 1" hidden="1">
            <a:extLst>
              <a:ext uri="{FF2B5EF4-FFF2-40B4-BE49-F238E27FC236}">
                <a16:creationId xmlns:a16="http://schemas.microsoft.com/office/drawing/2014/main" id="{B8773B5A-59B9-4F21-AFEA-FB2E666B6F48}"/>
              </a:ext>
            </a:extLst>
          </p:cNvPr>
          <p:cNvSpPr/>
          <p:nvPr>
            <p:custDataLst>
              <p:tags r:id="rId3"/>
            </p:custDataLst>
          </p:nvPr>
        </p:nvSpPr>
        <p:spPr>
          <a:xfrm>
            <a:off x="0" y="0"/>
            <a:ext cx="158750" cy="15875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endParaRPr kumimoji="0" lang="en-US" sz="2000" b="1" i="0" u="none" strike="noStrike" kern="1200" cap="none" spc="0" normalizeH="0" baseline="0" noProof="0" err="1">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2. Slide Title">
            <a:extLst>
              <a:ext uri="{FF2B5EF4-FFF2-40B4-BE49-F238E27FC236}">
                <a16:creationId xmlns:a16="http://schemas.microsoft.com/office/drawing/2014/main" id="{2B3CEF44-C2A3-4700-ACC7-E7558EB60EEF}"/>
              </a:ext>
            </a:extLst>
          </p:cNvPr>
          <p:cNvSpPr>
            <a:spLocks noGrp="1"/>
          </p:cNvSpPr>
          <p:nvPr>
            <p:ph type="title"/>
            <p:custDataLst>
              <p:tags r:id="rId4"/>
            </p:custDataLst>
          </p:nvPr>
        </p:nvSpPr>
        <p:spPr>
          <a:xfrm>
            <a:off x="459990" y="1"/>
            <a:ext cx="10790872" cy="942658"/>
          </a:xfrm>
        </p:spPr>
        <p:txBody>
          <a:bodyPr vert="horz">
            <a:normAutofit/>
          </a:bodyPr>
          <a:lstStyle/>
          <a:p>
            <a:r>
              <a:rPr lang="en-US" sz="3600"/>
              <a:t>Where can I go for additional help?</a:t>
            </a:r>
          </a:p>
        </p:txBody>
      </p:sp>
      <p:sp>
        <p:nvSpPr>
          <p:cNvPr id="73" name="TextBox 72">
            <a:extLst>
              <a:ext uri="{FF2B5EF4-FFF2-40B4-BE49-F238E27FC236}">
                <a16:creationId xmlns:a16="http://schemas.microsoft.com/office/drawing/2014/main" id="{4E97E356-54B3-4219-91B3-5170EB27F91F}"/>
              </a:ext>
            </a:extLst>
          </p:cNvPr>
          <p:cNvSpPr txBox="1">
            <a:spLocks/>
          </p:cNvSpPr>
          <p:nvPr>
            <p:custDataLst>
              <p:tags r:id="rId5"/>
            </p:custDataLst>
          </p:nvPr>
        </p:nvSpPr>
        <p:spPr>
          <a:xfrm>
            <a:off x="465639" y="935254"/>
            <a:ext cx="2833196" cy="215444"/>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20479E"/>
                </a:solidFill>
                <a:effectLst/>
                <a:uLnTx/>
                <a:uFillTx/>
                <a:latin typeface="Arial"/>
                <a:ea typeface="+mn-ea"/>
                <a:cs typeface="Arial" panose="020B0604020202020204" pitchFamily="34" charset="0"/>
              </a:rPr>
              <a:t>Type of Support</a:t>
            </a:r>
          </a:p>
        </p:txBody>
      </p:sp>
      <p:sp>
        <p:nvSpPr>
          <p:cNvPr id="80" name="TextBox 79">
            <a:extLst>
              <a:ext uri="{FF2B5EF4-FFF2-40B4-BE49-F238E27FC236}">
                <a16:creationId xmlns:a16="http://schemas.microsoft.com/office/drawing/2014/main" id="{95FE142B-476A-4B5D-BB39-91985BB16C24}"/>
              </a:ext>
            </a:extLst>
          </p:cNvPr>
          <p:cNvSpPr txBox="1">
            <a:spLocks/>
          </p:cNvSpPr>
          <p:nvPr>
            <p:custDataLst>
              <p:tags r:id="rId6"/>
            </p:custDataLst>
          </p:nvPr>
        </p:nvSpPr>
        <p:spPr>
          <a:xfrm>
            <a:off x="3588212" y="888541"/>
            <a:ext cx="8058150" cy="246221"/>
          </a:xfrm>
          <a:prstGeom prst="rect">
            <a:avLst/>
          </a:prstGeom>
        </p:spPr>
        <p:txBody>
          <a:bodyPr vert="horz" wrap="square" lIns="0" tIns="0" rIns="0" bIns="0" rtlCol="0" anchor="b">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20479E"/>
                </a:solidFill>
                <a:effectLst/>
                <a:uLnTx/>
                <a:uFillTx/>
                <a:latin typeface="Arial"/>
                <a:ea typeface="+mn-ea"/>
                <a:cs typeface="Arial" panose="020B0604020202020204" pitchFamily="34" charset="0"/>
              </a:rPr>
              <a:t>Description</a:t>
            </a:r>
          </a:p>
        </p:txBody>
      </p:sp>
      <p:cxnSp>
        <p:nvCxnSpPr>
          <p:cNvPr id="88" name="Straight Connector 87">
            <a:extLst>
              <a:ext uri="{FF2B5EF4-FFF2-40B4-BE49-F238E27FC236}">
                <a16:creationId xmlns:a16="http://schemas.microsoft.com/office/drawing/2014/main" id="{6409E1A4-BC80-49F5-BE0B-D43FB43A90BB}"/>
              </a:ext>
            </a:extLst>
          </p:cNvPr>
          <p:cNvCxnSpPr>
            <a:cxnSpLocks/>
          </p:cNvCxnSpPr>
          <p:nvPr>
            <p:custDataLst>
              <p:tags r:id="rId7"/>
            </p:custDataLst>
          </p:nvPr>
        </p:nvCxnSpPr>
        <p:spPr>
          <a:xfrm>
            <a:off x="459990" y="1200863"/>
            <a:ext cx="2833196" cy="0"/>
          </a:xfrm>
          <a:prstGeom prst="line">
            <a:avLst/>
          </a:prstGeom>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sp>
        <p:nvSpPr>
          <p:cNvPr id="74" name="TextBox 73">
            <a:extLst>
              <a:ext uri="{FF2B5EF4-FFF2-40B4-BE49-F238E27FC236}">
                <a16:creationId xmlns:a16="http://schemas.microsoft.com/office/drawing/2014/main" id="{4C7BE15B-CE5F-40FC-9B84-9FED47851BB0}"/>
              </a:ext>
            </a:extLst>
          </p:cNvPr>
          <p:cNvSpPr txBox="1">
            <a:spLocks/>
          </p:cNvSpPr>
          <p:nvPr>
            <p:custDataLst>
              <p:tags r:id="rId8"/>
            </p:custDataLst>
          </p:nvPr>
        </p:nvSpPr>
        <p:spPr>
          <a:xfrm>
            <a:off x="1288140" y="1373202"/>
            <a:ext cx="2214399"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l"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OVID-19 Provider </a:t>
            </a:r>
            <a:b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br>
            <a:r>
              <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rPr>
              <a:t>Call Center</a:t>
            </a:r>
          </a:p>
        </p:txBody>
      </p:sp>
      <p:sp>
        <p:nvSpPr>
          <p:cNvPr id="81" name="TextBox 80">
            <a:extLst>
              <a:ext uri="{FF2B5EF4-FFF2-40B4-BE49-F238E27FC236}">
                <a16:creationId xmlns:a16="http://schemas.microsoft.com/office/drawing/2014/main" id="{1101544D-9614-4049-A043-157A8DD8C049}"/>
              </a:ext>
            </a:extLst>
          </p:cNvPr>
          <p:cNvSpPr txBox="1">
            <a:spLocks/>
          </p:cNvSpPr>
          <p:nvPr>
            <p:custDataLst>
              <p:tags r:id="rId9"/>
            </p:custDataLst>
          </p:nvPr>
        </p:nvSpPr>
        <p:spPr>
          <a:xfrm>
            <a:off x="3571988" y="1207471"/>
            <a:ext cx="8281190" cy="1072647"/>
          </a:xfrm>
          <a:prstGeom prst="rect">
            <a:avLst/>
          </a:prstGeom>
        </p:spPr>
        <p:txBody>
          <a:bodyPr vert="horz" wrap="square" lIns="91440" tIns="91440" rIns="91440" bIns="9144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0"/>
              </a:spcAft>
              <a:buClr>
                <a:srgbClr val="000000"/>
              </a:buClr>
              <a:defRPr/>
            </a:pPr>
            <a:r>
              <a:rPr kumimoji="0" lang="en-US" sz="1150" b="0" i="0" u="none" strike="noStrike" kern="1200" cap="none" spc="0" normalizeH="0" baseline="0" noProof="0">
                <a:ln>
                  <a:noFill/>
                </a:ln>
                <a:solidFill>
                  <a:srgbClr val="000000"/>
                </a:solidFill>
                <a:effectLst/>
                <a:uLnTx/>
                <a:uFillTx/>
                <a:latin typeface="Arial"/>
                <a:ea typeface="+mn-ea"/>
                <a:cs typeface="Arial"/>
              </a:rPr>
              <a:t>The COVID-19 Call Center for Providers and Local Health Departments is dedicated to medical providers in California and their COVID-19 response, specifically addressing questions about State program requirements, enrollment, and vaccine distribution</a:t>
            </a:r>
            <a:r>
              <a:rPr lang="en-US" sz="1150">
                <a:solidFill>
                  <a:srgbClr val="000000"/>
                </a:solidFill>
                <a:latin typeface="Arial"/>
                <a:cs typeface="Arial"/>
              </a:rPr>
              <a:t>, including the Vaccine Marketplace.</a:t>
            </a:r>
            <a:endParaRPr lang="en-US" sz="1150" b="0" i="0" u="none" strike="noStrike" kern="1200" cap="none" spc="0" normalizeH="0" baseline="0" noProof="0">
              <a:ln>
                <a:noFill/>
              </a:ln>
              <a:solidFill>
                <a:srgbClr val="000000"/>
              </a:solidFill>
              <a:effectLst/>
              <a:uLnTx/>
              <a:uFillTx/>
              <a:latin typeface="Arial"/>
              <a:cs typeface="Arial"/>
            </a:endParaRPr>
          </a:p>
          <a:p>
            <a:pPr marL="173990" lvl="1" indent="-173990">
              <a:buClr>
                <a:srgbClr val="000000"/>
              </a:buClr>
              <a:buFont typeface="Arial" panose="020B0604020202020204" pitchFamily="34" charset="0"/>
              <a:buChar char="•"/>
              <a:defRPr/>
            </a:pPr>
            <a:r>
              <a:rPr kumimoji="0" lang="en-US" sz="1150" b="0" i="0" u="none" strike="noStrike" kern="1200" cap="none" spc="0" normalizeH="0" baseline="0" noProof="0">
                <a:ln>
                  <a:noFill/>
                </a:ln>
                <a:solidFill>
                  <a:srgbClr val="202020"/>
                </a:solidFill>
                <a:effectLst/>
                <a:uLnTx/>
                <a:uFillTx/>
                <a:latin typeface="Arial"/>
                <a:ea typeface="+mn-ea"/>
                <a:cs typeface="+mn-cs"/>
              </a:rPr>
              <a:t>Email: </a:t>
            </a:r>
            <a:r>
              <a:rPr kumimoji="0" lang="en-US" sz="1150" b="0" i="0" u="none" strike="noStrike" kern="1200" cap="none" spc="0" normalizeH="0" baseline="0" noProof="0">
                <a:ln>
                  <a:noFill/>
                </a:ln>
                <a:solidFill>
                  <a:srgbClr val="0071BC"/>
                </a:solidFill>
                <a:effectLst/>
                <a:uLnTx/>
                <a:uFillTx/>
                <a:latin typeface="Arial"/>
                <a:ea typeface="+mn-ea"/>
                <a:cs typeface="+mn-cs"/>
                <a:hlinkClick r:id="rId30"/>
              </a:rPr>
              <a:t>covidcallcenter@cdph.ca.gov</a:t>
            </a:r>
            <a:r>
              <a:rPr lang="en-US" sz="1150">
                <a:solidFill>
                  <a:srgbClr val="0071BC"/>
                </a:solidFill>
                <a:latin typeface="Arial"/>
                <a:hlinkClick r:id="rId30"/>
              </a:rPr>
              <a:t> </a:t>
            </a:r>
            <a:endParaRPr lang="en-US" sz="1150">
              <a:solidFill>
                <a:srgbClr val="000000"/>
              </a:solidFill>
              <a:latin typeface="Arial"/>
              <a:cs typeface="Arial"/>
            </a:endParaRPr>
          </a:p>
          <a:p>
            <a:pPr marL="173990" lvl="1" indent="-173990">
              <a:buClr>
                <a:srgbClr val="000000"/>
              </a:buClr>
              <a:buFont typeface="Arial" panose="020B0604020202020204" pitchFamily="34" charset="0"/>
              <a:buChar char="•"/>
              <a:defRPr/>
            </a:pPr>
            <a:r>
              <a:rPr kumimoji="0" lang="en-US" sz="1150" b="0" i="0" u="none" strike="noStrike" kern="1200" cap="none" spc="0" normalizeH="0" baseline="0" noProof="0">
                <a:ln>
                  <a:noFill/>
                </a:ln>
                <a:solidFill>
                  <a:srgbClr val="202020"/>
                </a:solidFill>
                <a:effectLst/>
                <a:uLnTx/>
                <a:uFillTx/>
                <a:latin typeface="Arial"/>
                <a:ea typeface="+mn-ea"/>
                <a:cs typeface="+mn-cs"/>
              </a:rPr>
              <a:t>Phone: (833) 502-1245, Monday through Friday from 8AM–</a:t>
            </a:r>
            <a:r>
              <a:rPr lang="en-US" sz="1150">
                <a:solidFill>
                  <a:srgbClr val="202020"/>
                </a:solidFill>
                <a:latin typeface="Arial"/>
              </a:rPr>
              <a:t>6PM</a:t>
            </a:r>
            <a:endParaRPr lang="en-US" sz="1150" b="0" i="0" u="none" strike="noStrike" kern="1200" cap="none" spc="0" normalizeH="0" baseline="0" noProof="0">
              <a:ln>
                <a:noFill/>
              </a:ln>
              <a:solidFill>
                <a:srgbClr val="000000"/>
              </a:solidFill>
              <a:effectLst/>
              <a:uLnTx/>
              <a:uFillTx/>
              <a:latin typeface="Arial"/>
              <a:cs typeface="Arial"/>
            </a:endParaRPr>
          </a:p>
        </p:txBody>
      </p:sp>
      <p:cxnSp>
        <p:nvCxnSpPr>
          <p:cNvPr id="92" name="Straight Connector 91">
            <a:extLst>
              <a:ext uri="{FF2B5EF4-FFF2-40B4-BE49-F238E27FC236}">
                <a16:creationId xmlns:a16="http://schemas.microsoft.com/office/drawing/2014/main" id="{6BF1F65B-B126-43F2-BE12-553165FCA741}"/>
              </a:ext>
            </a:extLst>
          </p:cNvPr>
          <p:cNvCxnSpPr>
            <a:cxnSpLocks/>
          </p:cNvCxnSpPr>
          <p:nvPr>
            <p:custDataLst>
              <p:tags r:id="rId10"/>
            </p:custDataLst>
          </p:nvPr>
        </p:nvCxnSpPr>
        <p:spPr>
          <a:xfrm>
            <a:off x="571500" y="3081233"/>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B5415780-0D8B-48D8-A9B3-54A7CF8AE4F5}"/>
              </a:ext>
            </a:extLst>
          </p:cNvPr>
          <p:cNvCxnSpPr>
            <a:cxnSpLocks/>
          </p:cNvCxnSpPr>
          <p:nvPr>
            <p:custDataLst>
              <p:tags r:id="rId11"/>
            </p:custDataLst>
          </p:nvPr>
        </p:nvCxnSpPr>
        <p:spPr>
          <a:xfrm>
            <a:off x="605660" y="5333128"/>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0E939B2B-4391-473E-8743-A3625A6084D7}"/>
              </a:ext>
            </a:extLst>
          </p:cNvPr>
          <p:cNvSpPr txBox="1">
            <a:spLocks/>
          </p:cNvSpPr>
          <p:nvPr>
            <p:custDataLst>
              <p:tags r:id="rId12"/>
            </p:custDataLst>
          </p:nvPr>
        </p:nvSpPr>
        <p:spPr>
          <a:xfrm>
            <a:off x="1287559" y="4366692"/>
            <a:ext cx="2154299"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kumimoji="0" lang="en-US" sz="1400" b="1" i="0" u="none" strike="noStrike" kern="1200" cap="none" spc="0" normalizeH="0" baseline="0" noProof="0">
                <a:ln>
                  <a:noFill/>
                </a:ln>
                <a:solidFill>
                  <a:srgbClr val="000000"/>
                </a:solidFill>
                <a:effectLst/>
                <a:uLnTx/>
                <a:uFillTx/>
                <a:latin typeface="Arial"/>
                <a:ea typeface="+mn-ea"/>
                <a:cs typeface="Arial"/>
              </a:rPr>
              <a:t>My Turn </a:t>
            </a:r>
            <a:r>
              <a:rPr lang="en-US" sz="1400" b="1">
                <a:solidFill>
                  <a:srgbClr val="000000"/>
                </a:solidFill>
                <a:latin typeface="Arial"/>
                <a:cs typeface="Arial"/>
              </a:rPr>
              <a:t>Clinic Help Desk</a:t>
            </a:r>
            <a:endParaRPr kumimoji="0" lang="en-US" sz="1400" b="1"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08" name="TextBox 107">
            <a:extLst>
              <a:ext uri="{FF2B5EF4-FFF2-40B4-BE49-F238E27FC236}">
                <a16:creationId xmlns:a16="http://schemas.microsoft.com/office/drawing/2014/main" id="{EF55ACC7-647D-4E56-BA69-1E94D9642EFD}"/>
              </a:ext>
            </a:extLst>
          </p:cNvPr>
          <p:cNvSpPr txBox="1">
            <a:spLocks/>
          </p:cNvSpPr>
          <p:nvPr>
            <p:custDataLst>
              <p:tags r:id="rId13"/>
            </p:custDataLst>
          </p:nvPr>
        </p:nvSpPr>
        <p:spPr>
          <a:xfrm>
            <a:off x="3528857" y="4224077"/>
            <a:ext cx="8309872" cy="1005299"/>
          </a:xfrm>
          <a:prstGeom prst="rect">
            <a:avLst/>
          </a:prstGeom>
        </p:spPr>
        <p:txBody>
          <a:bodyPr vert="horz" wrap="square" lIns="91440" tIns="91440" rIns="91440" bIns="91440" rtlCol="0" anchor="t">
            <a:no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0"/>
              </a:spcAft>
              <a:buClr>
                <a:srgbClr val="000000"/>
              </a:buClr>
              <a:defRPr/>
            </a:pPr>
            <a:r>
              <a:rPr kumimoji="0" lang="en-US" sz="1150" b="0" i="0" u="none" strike="noStrike" kern="1200" cap="none" spc="0" normalizeH="0" baseline="0" noProof="0">
                <a:ln>
                  <a:noFill/>
                </a:ln>
                <a:solidFill>
                  <a:srgbClr val="000000"/>
                </a:solidFill>
                <a:effectLst/>
                <a:uLnTx/>
                <a:uFillTx/>
                <a:latin typeface="Arial"/>
                <a:ea typeface="+mn-ea"/>
                <a:cs typeface="Arial"/>
              </a:rPr>
              <a:t>For </a:t>
            </a:r>
            <a:r>
              <a:rPr lang="en-US" sz="1150" b="1">
                <a:solidFill>
                  <a:srgbClr val="000000"/>
                </a:solidFill>
                <a:latin typeface="Arial"/>
                <a:cs typeface="Arial"/>
              </a:rPr>
              <a:t>o</a:t>
            </a:r>
            <a:r>
              <a:rPr kumimoji="0" lang="en-US" sz="1150" b="1" i="0" u="none" strike="noStrike" kern="1200" cap="none" spc="0" normalizeH="0" baseline="0" noProof="0">
                <a:ln>
                  <a:noFill/>
                </a:ln>
                <a:solidFill>
                  <a:srgbClr val="000000"/>
                </a:solidFill>
                <a:effectLst/>
                <a:uLnTx/>
                <a:uFillTx/>
                <a:latin typeface="Arial"/>
                <a:ea typeface="+mn-ea"/>
                <a:cs typeface="Arial"/>
              </a:rPr>
              <a:t>nboarding support</a:t>
            </a:r>
            <a:r>
              <a:rPr lang="en-US" sz="1150" b="1">
                <a:solidFill>
                  <a:srgbClr val="000000"/>
                </a:solidFill>
                <a:latin typeface="Arial"/>
                <a:cs typeface="Arial"/>
              </a:rPr>
              <a:t> </a:t>
            </a:r>
            <a:r>
              <a:rPr lang="en-US" sz="1150">
                <a:solidFill>
                  <a:srgbClr val="000000"/>
                </a:solidFill>
                <a:latin typeface="Arial"/>
                <a:cs typeface="Arial"/>
              </a:rPr>
              <a:t>(those in the process of onboarding):</a:t>
            </a:r>
            <a:r>
              <a:rPr kumimoji="0" lang="en-US" sz="1150" b="0" i="0" u="none" strike="noStrike" kern="1200" cap="none" spc="0" normalizeH="0" baseline="0" noProof="0">
                <a:ln>
                  <a:noFill/>
                </a:ln>
                <a:solidFill>
                  <a:srgbClr val="000000"/>
                </a:solidFill>
                <a:effectLst/>
                <a:uLnTx/>
                <a:uFillTx/>
                <a:latin typeface="Arial"/>
                <a:ea typeface="+mn-ea"/>
                <a:cs typeface="Arial"/>
              </a:rPr>
              <a:t> </a:t>
            </a:r>
            <a:r>
              <a:rPr kumimoji="0" lang="en-US" sz="1150" b="0" i="0" u="none" strike="noStrike" kern="1200" cap="none" spc="0" normalizeH="0" baseline="0" noProof="0">
                <a:ln>
                  <a:noFill/>
                </a:ln>
                <a:solidFill>
                  <a:srgbClr val="000000"/>
                </a:solidFill>
                <a:effectLst/>
                <a:uLnTx/>
                <a:uFillTx/>
                <a:latin typeface="Arial"/>
                <a:ea typeface="+mn-ea"/>
                <a:cs typeface="Arial"/>
                <a:hlinkClick r:id="rId31"/>
              </a:rPr>
              <a:t>myturnonboarding@cdph.ca.gov</a:t>
            </a:r>
            <a:r>
              <a:rPr lang="en-US" sz="1150">
                <a:solidFill>
                  <a:srgbClr val="000000"/>
                </a:solidFill>
                <a:latin typeface="Arial"/>
                <a:cs typeface="Arial"/>
              </a:rPr>
              <a:t>     </a:t>
            </a:r>
            <a:endParaRPr kumimoji="0" lang="en-US" sz="115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a:p>
            <a:pPr>
              <a:spcAft>
                <a:spcPts val="0"/>
              </a:spcAft>
              <a:buClr>
                <a:srgbClr val="000000"/>
              </a:buClr>
              <a:defRPr/>
            </a:pPr>
            <a:r>
              <a:rPr kumimoji="0" lang="en-US" sz="115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For</a:t>
            </a:r>
            <a:r>
              <a:rPr kumimoji="0" lang="en-US" sz="1150" b="1" i="0" u="none" strike="noStrike" kern="1200" cap="none" spc="0" normalizeH="0" baseline="0" noProof="0">
                <a:ln>
                  <a:noFill/>
                </a:ln>
                <a:solidFill>
                  <a:srgbClr val="000000"/>
                </a:solidFill>
                <a:effectLst/>
                <a:uLnTx/>
                <a:uFillTx/>
                <a:latin typeface="Arial"/>
                <a:ea typeface="Calibri" panose="020F0502020204030204" pitchFamily="34" charset="0"/>
                <a:cs typeface="Arial"/>
              </a:rPr>
              <a:t> technical support</a:t>
            </a:r>
            <a:r>
              <a:rPr kumimoji="0" lang="en-US" sz="115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 </a:t>
            </a:r>
            <a:r>
              <a:rPr kumimoji="0" lang="en-US" sz="1150" b="0" i="0" u="none" strike="noStrike" kern="1200" cap="none" spc="0" normalizeH="0" baseline="0" noProof="0">
                <a:ln>
                  <a:noFill/>
                </a:ln>
                <a:solidFill>
                  <a:srgbClr val="000000"/>
                </a:solidFill>
                <a:effectLst/>
                <a:uLnTx/>
                <a:uFillTx/>
                <a:latin typeface="Arial"/>
                <a:ea typeface="Calibri" panose="020F0502020204030204" pitchFamily="34" charset="0"/>
                <a:cs typeface="Arial"/>
                <a:hlinkClick r:id="rId32"/>
              </a:rPr>
              <a:t>MyTurn.Clinic.HD@Accenture.com</a:t>
            </a:r>
            <a:r>
              <a:rPr lang="en-US" sz="1150">
                <a:solidFill>
                  <a:srgbClr val="000000"/>
                </a:solidFill>
                <a:latin typeface="Arial"/>
                <a:ea typeface="Calibri" panose="020F0502020204030204" pitchFamily="34" charset="0"/>
                <a:cs typeface="Arial"/>
              </a:rPr>
              <a:t> or</a:t>
            </a:r>
            <a:r>
              <a:rPr kumimoji="0" lang="en-US" sz="115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 </a:t>
            </a:r>
            <a:r>
              <a:rPr lang="en-US" sz="1150">
                <a:solidFill>
                  <a:srgbClr val="000000"/>
                </a:solidFill>
                <a:latin typeface="Arial"/>
                <a:ea typeface="Calibri" panose="020F0502020204030204" pitchFamily="34" charset="0"/>
                <a:cs typeface="Arial"/>
              </a:rPr>
              <a:t>(833) 502-1245, option 4:</a:t>
            </a:r>
            <a:r>
              <a:rPr kumimoji="0" lang="en-US" sz="1150" b="0" i="0" u="none" strike="noStrike" kern="1200" cap="none" spc="0" normalizeH="0" baseline="0" noProof="0">
                <a:ln>
                  <a:noFill/>
                </a:ln>
                <a:solidFill>
                  <a:srgbClr val="000000"/>
                </a:solidFill>
                <a:effectLst/>
                <a:uLnTx/>
                <a:uFillTx/>
                <a:latin typeface="Arial"/>
                <a:ea typeface="Calibri" panose="020F0502020204030204" pitchFamily="34" charset="0"/>
                <a:cs typeface="Arial"/>
              </a:rPr>
              <a:t> </a:t>
            </a:r>
            <a:r>
              <a:rPr lang="en-US" sz="1150">
                <a:solidFill>
                  <a:srgbClr val="000000"/>
                </a:solidFill>
                <a:latin typeface="Arial"/>
                <a:ea typeface="Calibri" panose="020F0502020204030204" pitchFamily="34" charset="0"/>
                <a:cs typeface="Arial"/>
              </a:rPr>
              <a:t>Monday through Friday 7AM–7PM, Saturday and Sunday 8AM–1PM.</a:t>
            </a:r>
            <a:endParaRPr lang="en-US" sz="1150">
              <a:solidFill>
                <a:srgbClr val="000000"/>
              </a:solidFill>
              <a:latin typeface="Arial"/>
              <a:cs typeface="Arial"/>
            </a:endParaRPr>
          </a:p>
          <a:p>
            <a:pPr>
              <a:spcAft>
                <a:spcPts val="0"/>
              </a:spcAft>
              <a:buClr>
                <a:srgbClr val="000000"/>
              </a:buClr>
              <a:defRPr/>
            </a:pPr>
            <a:br>
              <a:rPr lang="en-US" sz="1150" b="0" i="0" u="none" strike="noStrike" kern="1200" cap="none" spc="0" normalizeH="0" baseline="0" noProof="0">
                <a:ln>
                  <a:noFill/>
                </a:ln>
                <a:effectLst/>
                <a:uLnTx/>
                <a:uFillTx/>
                <a:latin typeface="Arial"/>
                <a:cs typeface="Arial"/>
              </a:rPr>
            </a:br>
            <a:r>
              <a:rPr kumimoji="0" lang="en-US" sz="1150" b="0" i="0" u="none" strike="noStrike" kern="1200" cap="none" spc="0" normalizeH="0" baseline="0" noProof="0">
                <a:ln>
                  <a:noFill/>
                </a:ln>
                <a:solidFill>
                  <a:srgbClr val="000000"/>
                </a:solidFill>
                <a:effectLst/>
                <a:uLnTx/>
                <a:uFillTx/>
                <a:latin typeface="Arial"/>
                <a:ea typeface="+mn-ea"/>
                <a:cs typeface="Arial"/>
              </a:rPr>
              <a:t>For job aids and demo and training opportunities: </a:t>
            </a:r>
            <a:r>
              <a:rPr kumimoji="0" lang="en-US" sz="1150" b="0" i="0" u="none" strike="noStrike" kern="1200" cap="none" spc="0" normalizeH="0" baseline="0" noProof="0">
                <a:ln>
                  <a:noFill/>
                </a:ln>
                <a:solidFill>
                  <a:srgbClr val="000000"/>
                </a:solidFill>
                <a:effectLst/>
                <a:uLnTx/>
                <a:uFillTx/>
                <a:latin typeface="Arial"/>
                <a:ea typeface="+mn-ea"/>
                <a:cs typeface="Arial"/>
                <a:hlinkClick r:id="rId33"/>
              </a:rPr>
              <a:t>https://eziz.org/covid/myturn/</a:t>
            </a:r>
            <a:endParaRPr lang="en-US" sz="1150" b="0" i="0" u="none" strike="noStrike" kern="1200" cap="none" spc="0" normalizeH="0" baseline="0" noProof="0">
              <a:ln>
                <a:noFill/>
              </a:ln>
              <a:solidFill>
                <a:srgbClr val="000000"/>
              </a:solidFill>
              <a:effectLst/>
              <a:uLnTx/>
              <a:uFillTx/>
              <a:latin typeface="Arial"/>
              <a:cs typeface="Arial"/>
            </a:endParaRPr>
          </a:p>
        </p:txBody>
      </p:sp>
      <p:cxnSp>
        <p:nvCxnSpPr>
          <p:cNvPr id="109" name="Straight Connector 108">
            <a:extLst>
              <a:ext uri="{FF2B5EF4-FFF2-40B4-BE49-F238E27FC236}">
                <a16:creationId xmlns:a16="http://schemas.microsoft.com/office/drawing/2014/main" id="{35189460-D2DB-4151-95DD-021206A34723}"/>
              </a:ext>
            </a:extLst>
          </p:cNvPr>
          <p:cNvCxnSpPr>
            <a:cxnSpLocks/>
          </p:cNvCxnSpPr>
          <p:nvPr>
            <p:custDataLst>
              <p:tags r:id="rId14"/>
            </p:custDataLst>
          </p:nvPr>
        </p:nvCxnSpPr>
        <p:spPr>
          <a:xfrm>
            <a:off x="595937" y="4208837"/>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2AD700C-D2EF-43D1-9F4F-8F4AAF315872}"/>
              </a:ext>
            </a:extLst>
          </p:cNvPr>
          <p:cNvCxnSpPr>
            <a:cxnSpLocks/>
          </p:cNvCxnSpPr>
          <p:nvPr>
            <p:custDataLst>
              <p:tags r:id="rId15"/>
            </p:custDataLst>
          </p:nvPr>
        </p:nvCxnSpPr>
        <p:spPr>
          <a:xfrm>
            <a:off x="3554546" y="1204135"/>
            <a:ext cx="8241050" cy="0"/>
          </a:xfrm>
          <a:prstGeom prst="line">
            <a:avLst/>
          </a:prstGeom>
          <a:ln w="28575" cap="flat">
            <a:solidFill>
              <a:schemeClr val="tx2"/>
            </a:solidFill>
            <a:miter lim="800000"/>
            <a:tailEnd type="none"/>
          </a:ln>
        </p:spPr>
        <p:style>
          <a:lnRef idx="1">
            <a:schemeClr val="accent1"/>
          </a:lnRef>
          <a:fillRef idx="0">
            <a:schemeClr val="accent1"/>
          </a:fillRef>
          <a:effectRef idx="0">
            <a:schemeClr val="accent1"/>
          </a:effectRef>
          <a:fontRef idx="minor">
            <a:schemeClr val="tx1"/>
          </a:fontRef>
        </p:style>
      </p:cxnSp>
      <p:pic>
        <p:nvPicPr>
          <p:cNvPr id="16" name="CustomIcon">
            <a:extLst>
              <a:ext uri="{FF2B5EF4-FFF2-40B4-BE49-F238E27FC236}">
                <a16:creationId xmlns:a16="http://schemas.microsoft.com/office/drawing/2014/main" id="{639CB8E4-9AF1-43A5-B63E-53B1442DFE4A}"/>
              </a:ext>
            </a:extLst>
          </p:cNvPr>
          <p:cNvPicPr>
            <a:picLocks/>
          </p:cNvPicPr>
          <p:nvPr>
            <p:custDataLst>
              <p:tags r:id="rId16"/>
            </p:custDataLst>
          </p:nvPr>
        </p:nvPicPr>
        <p:blipFill>
          <a:blip r:embed="rId34">
            <a:extLst>
              <a:ext uri="{96DAC541-7B7A-43D3-8B79-37D633B846F1}">
                <asvg:svgBlip xmlns:asvg="http://schemas.microsoft.com/office/drawing/2016/SVG/main" r:embed="rId35"/>
              </a:ext>
            </a:extLst>
          </a:blip>
          <a:stretch>
            <a:fillRect/>
          </a:stretch>
        </p:blipFill>
        <p:spPr>
          <a:xfrm>
            <a:off x="503076" y="1379763"/>
            <a:ext cx="548640" cy="548640"/>
          </a:xfrm>
          <a:prstGeom prst="rect">
            <a:avLst/>
          </a:prstGeom>
        </p:spPr>
      </p:pic>
      <p:pic>
        <p:nvPicPr>
          <p:cNvPr id="32" name="CustomIcon">
            <a:extLst>
              <a:ext uri="{FF2B5EF4-FFF2-40B4-BE49-F238E27FC236}">
                <a16:creationId xmlns:a16="http://schemas.microsoft.com/office/drawing/2014/main" id="{4E815B06-6195-4967-828F-083C06B4421A}"/>
              </a:ext>
            </a:extLst>
          </p:cNvPr>
          <p:cNvPicPr>
            <a:picLocks noChangeAspect="1"/>
          </p:cNvPicPr>
          <p:nvPr>
            <p:custDataLst>
              <p:tags r:id="rId17"/>
            </p:custDataLst>
          </p:nvPr>
        </p:nvPicPr>
        <p:blipFill>
          <a:blip r:embed="rId36">
            <a:extLst>
              <a:ext uri="{96DAC541-7B7A-43D3-8B79-37D633B846F1}">
                <asvg:svgBlip xmlns:asvg="http://schemas.microsoft.com/office/drawing/2016/SVG/main" r:embed="rId37"/>
              </a:ext>
            </a:extLst>
          </a:blip>
          <a:stretch>
            <a:fillRect/>
          </a:stretch>
        </p:blipFill>
        <p:spPr>
          <a:xfrm>
            <a:off x="532190" y="3281446"/>
            <a:ext cx="548640" cy="548640"/>
          </a:xfrm>
          <a:prstGeom prst="rect">
            <a:avLst/>
          </a:prstGeom>
        </p:spPr>
      </p:pic>
      <p:sp>
        <p:nvSpPr>
          <p:cNvPr id="33" name="TextBox 32">
            <a:extLst>
              <a:ext uri="{FF2B5EF4-FFF2-40B4-BE49-F238E27FC236}">
                <a16:creationId xmlns:a16="http://schemas.microsoft.com/office/drawing/2014/main" id="{9825E38E-199D-4637-9DFB-8738856C54B5}"/>
              </a:ext>
            </a:extLst>
          </p:cNvPr>
          <p:cNvSpPr txBox="1">
            <a:spLocks/>
          </p:cNvSpPr>
          <p:nvPr>
            <p:custDataLst>
              <p:tags r:id="rId18"/>
            </p:custDataLst>
          </p:nvPr>
        </p:nvSpPr>
        <p:spPr>
          <a:xfrm>
            <a:off x="3528856" y="3074287"/>
            <a:ext cx="8309872" cy="1184940"/>
          </a:xfrm>
          <a:prstGeom prst="rect">
            <a:avLst/>
          </a:prstGeom>
        </p:spPr>
        <p:txBody>
          <a:bodyPr vert="horz" wrap="square" lIns="91440" tIns="91440" rIns="91440" bIns="9144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spcAft>
                <a:spcPts val="0"/>
              </a:spcAft>
              <a:buClr>
                <a:srgbClr val="000000"/>
              </a:buClr>
              <a:buNone/>
              <a:defRPr/>
            </a:pPr>
            <a:r>
              <a:rPr kumimoji="0" lang="en-US" sz="1150" b="0" i="0" u="none" strike="noStrike" kern="1200" cap="none" spc="0" normalizeH="0" baseline="0" noProof="0">
                <a:ln>
                  <a:noFill/>
                </a:ln>
                <a:solidFill>
                  <a:srgbClr val="000000"/>
                </a:solidFill>
                <a:effectLst/>
                <a:uLnTx/>
                <a:uFillTx/>
                <a:latin typeface="Arial"/>
                <a:ea typeface="+mn-ea"/>
                <a:cs typeface="Arial"/>
              </a:rPr>
              <a:t>Dedicated staff </a:t>
            </a:r>
            <a:r>
              <a:rPr lang="en-US" sz="1150">
                <a:solidFill>
                  <a:srgbClr val="000000"/>
                </a:solidFill>
                <a:latin typeface="Arial"/>
                <a:cs typeface="Arial"/>
              </a:rPr>
              <a:t>provide </a:t>
            </a:r>
            <a:r>
              <a:rPr kumimoji="0" lang="en-US" sz="1150" b="0" i="0" u="none" strike="noStrike" kern="1200" cap="none" spc="0" normalizeH="0" baseline="0" noProof="0">
                <a:ln>
                  <a:noFill/>
                </a:ln>
                <a:solidFill>
                  <a:srgbClr val="000000"/>
                </a:solidFill>
                <a:effectLst/>
                <a:uLnTx/>
                <a:uFillTx/>
                <a:latin typeface="Arial"/>
                <a:ea typeface="+mn-ea"/>
                <a:cs typeface="Arial"/>
              </a:rPr>
              <a:t>up-to-date information and technical support </a:t>
            </a:r>
            <a:r>
              <a:rPr lang="en-US" sz="1150">
                <a:solidFill>
                  <a:srgbClr val="000000"/>
                </a:solidFill>
                <a:latin typeface="Arial"/>
                <a:cs typeface="Arial"/>
              </a:rPr>
              <a:t>on the </a:t>
            </a:r>
            <a:r>
              <a:rPr lang="en-US" sz="1150" err="1">
                <a:solidFill>
                  <a:srgbClr val="000000"/>
                </a:solidFill>
                <a:latin typeface="Arial"/>
                <a:cs typeface="Arial"/>
              </a:rPr>
              <a:t>myCAvax</a:t>
            </a:r>
            <a:r>
              <a:rPr kumimoji="0" lang="en-US" sz="1150" b="0" i="0" u="none" strike="noStrike" kern="1200" cap="none" spc="0" normalizeH="0" baseline="0" noProof="0">
                <a:ln>
                  <a:noFill/>
                </a:ln>
                <a:solidFill>
                  <a:srgbClr val="000000"/>
                </a:solidFill>
                <a:effectLst/>
                <a:uLnTx/>
                <a:uFillTx/>
                <a:latin typeface="Arial"/>
                <a:ea typeface="+mn-ea"/>
                <a:cs typeface="Arial"/>
              </a:rPr>
              <a:t> </a:t>
            </a:r>
            <a:r>
              <a:rPr lang="en-US" sz="1150">
                <a:solidFill>
                  <a:srgbClr val="000000"/>
                </a:solidFill>
                <a:latin typeface="Arial"/>
                <a:cs typeface="Arial"/>
              </a:rPr>
              <a:t>system. </a:t>
            </a:r>
          </a:p>
          <a:p>
            <a:pPr marL="171450" indent="-171450">
              <a:spcAft>
                <a:spcPts val="0"/>
              </a:spcAft>
              <a:buClr>
                <a:srgbClr val="000000"/>
              </a:buClr>
              <a:buFont typeface="Arial" panose="020B0604020202020204" pitchFamily="34" charset="0"/>
              <a:buChar char="•"/>
              <a:defRPr/>
            </a:pPr>
            <a:r>
              <a:rPr lang="en-US" sz="1150">
                <a:solidFill>
                  <a:srgbClr val="000000"/>
                </a:solidFill>
                <a:latin typeface="Arial"/>
                <a:cs typeface="Arial"/>
              </a:rPr>
              <a:t>Email:</a:t>
            </a:r>
            <a:r>
              <a:rPr kumimoji="0" lang="en-US" sz="1150" b="0" i="0" u="none" strike="noStrike" kern="1200" cap="none" spc="0" normalizeH="0" baseline="0" noProof="0">
                <a:ln>
                  <a:noFill/>
                </a:ln>
                <a:solidFill>
                  <a:srgbClr val="000000"/>
                </a:solidFill>
                <a:effectLst/>
                <a:uLnTx/>
                <a:uFillTx/>
                <a:latin typeface="Arial"/>
                <a:ea typeface="+mn-ea"/>
                <a:cs typeface="Arial"/>
              </a:rPr>
              <a:t> </a:t>
            </a:r>
            <a:r>
              <a:rPr kumimoji="0" lang="en-US" sz="1150" b="0" i="0" u="none" strike="noStrike" kern="1200" cap="none" spc="0" normalizeH="0" baseline="0" noProof="0">
                <a:ln>
                  <a:noFill/>
                </a:ln>
                <a:solidFill>
                  <a:srgbClr val="000000"/>
                </a:solidFill>
                <a:effectLst/>
                <a:uLnTx/>
                <a:uFillTx/>
                <a:latin typeface="Arial"/>
                <a:ea typeface="+mn-ea"/>
                <a:cs typeface="Arial"/>
                <a:hlinkClick r:id="rId38"/>
              </a:rPr>
              <a:t>myCAvax.HD@Accenture.com</a:t>
            </a:r>
            <a:r>
              <a:rPr lang="en-US" sz="1150">
                <a:solidFill>
                  <a:srgbClr val="000000"/>
                </a:solidFill>
                <a:latin typeface="Arial"/>
                <a:cs typeface="Arial"/>
              </a:rPr>
              <a:t> </a:t>
            </a:r>
          </a:p>
          <a:p>
            <a:pPr marL="171450" indent="-171450">
              <a:spcAft>
                <a:spcPts val="0"/>
              </a:spcAft>
              <a:buClr>
                <a:srgbClr val="000000"/>
              </a:buClr>
              <a:buFont typeface="Arial" panose="020B0604020202020204" pitchFamily="34" charset="0"/>
              <a:buChar char="•"/>
              <a:defRPr/>
            </a:pPr>
            <a:r>
              <a:rPr kumimoji="0" lang="en-US" sz="1150" b="0" i="0" u="none" strike="noStrike" kern="1200" cap="none" spc="0" normalizeH="0" baseline="0" noProof="0">
                <a:ln>
                  <a:noFill/>
                </a:ln>
                <a:solidFill>
                  <a:srgbClr val="000000"/>
                </a:solidFill>
                <a:effectLst/>
                <a:uLnTx/>
                <a:uFillTx/>
                <a:latin typeface="Arial"/>
                <a:ea typeface="+mn-ea"/>
                <a:cs typeface="Arial"/>
              </a:rPr>
              <a:t>Phone: (833)-502-1245</a:t>
            </a:r>
            <a:r>
              <a:rPr lang="en-US" sz="1150">
                <a:solidFill>
                  <a:srgbClr val="000000"/>
                </a:solidFill>
                <a:latin typeface="Arial"/>
                <a:cs typeface="Arial"/>
              </a:rPr>
              <a:t>, option 2, Monday through Friday 7AM–7PM, Saturday and Sunday 8AM-1PM</a:t>
            </a:r>
          </a:p>
          <a:p>
            <a:pPr>
              <a:spcAft>
                <a:spcPts val="0"/>
              </a:spcAft>
              <a:buClr>
                <a:srgbClr val="000000"/>
              </a:buClr>
              <a:buNone/>
              <a:defRPr/>
            </a:pPr>
            <a:br>
              <a:rPr lang="en-US" sz="1150">
                <a:latin typeface="Arial"/>
                <a:cs typeface="Arial"/>
              </a:rPr>
            </a:br>
            <a:r>
              <a:rPr lang="en-US" sz="1150">
                <a:solidFill>
                  <a:srgbClr val="000000"/>
                </a:solidFill>
                <a:latin typeface="Arial"/>
                <a:cs typeface="Arial"/>
              </a:rPr>
              <a:t>For training </a:t>
            </a:r>
            <a:r>
              <a:rPr lang="en-US" sz="1150">
                <a:solidFill>
                  <a:srgbClr val="000000"/>
                </a:solidFill>
                <a:cs typeface="Arial"/>
              </a:rPr>
              <a:t>opportunities: </a:t>
            </a:r>
            <a:r>
              <a:rPr lang="en-US" sz="1150">
                <a:solidFill>
                  <a:srgbClr val="000000"/>
                </a:solidFill>
                <a:cs typeface="Arial"/>
                <a:hlinkClick r:id="rId39"/>
              </a:rPr>
              <a:t>https://eziz.org/covid/education/</a:t>
            </a:r>
            <a:r>
              <a:rPr lang="en-US" sz="1150">
                <a:solidFill>
                  <a:srgbClr val="000000"/>
                </a:solidFill>
                <a:cs typeface="Arial"/>
              </a:rPr>
              <a:t> </a:t>
            </a:r>
            <a:r>
              <a:rPr lang="en-US" sz="1150">
                <a:solidFill>
                  <a:srgbClr val="000000"/>
                </a:solidFill>
                <a:latin typeface="Arial"/>
                <a:cs typeface="Arial"/>
              </a:rPr>
              <a:t> </a:t>
            </a:r>
            <a:endParaRPr lang="en-US" sz="1150" b="0" i="0" u="none" strike="noStrike" kern="1200" cap="none" spc="0" normalizeH="0" baseline="0" noProof="0">
              <a:ln>
                <a:noFill/>
              </a:ln>
              <a:solidFill>
                <a:srgbClr val="000000"/>
              </a:solidFill>
              <a:effectLst/>
              <a:uLnTx/>
              <a:uFillTx/>
              <a:latin typeface="Arial"/>
            </a:endParaRPr>
          </a:p>
        </p:txBody>
      </p:sp>
      <p:sp>
        <p:nvSpPr>
          <p:cNvPr id="34" name="TextBox 33">
            <a:extLst>
              <a:ext uri="{FF2B5EF4-FFF2-40B4-BE49-F238E27FC236}">
                <a16:creationId xmlns:a16="http://schemas.microsoft.com/office/drawing/2014/main" id="{EB6CC080-3B4B-40DB-93C1-4D1D4885E131}"/>
              </a:ext>
            </a:extLst>
          </p:cNvPr>
          <p:cNvSpPr txBox="1">
            <a:spLocks/>
          </p:cNvSpPr>
          <p:nvPr>
            <p:custDataLst>
              <p:tags r:id="rId19"/>
            </p:custDataLst>
          </p:nvPr>
        </p:nvSpPr>
        <p:spPr>
          <a:xfrm>
            <a:off x="1287679" y="3280769"/>
            <a:ext cx="2109296"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400" b="1" err="1">
                <a:solidFill>
                  <a:srgbClr val="000000"/>
                </a:solidFill>
                <a:latin typeface="Arial"/>
                <a:cs typeface="Arial"/>
              </a:rPr>
              <a:t>myCAvax</a:t>
            </a:r>
            <a:r>
              <a:rPr lang="en-US" sz="1400" b="1">
                <a:solidFill>
                  <a:srgbClr val="000000"/>
                </a:solidFill>
                <a:latin typeface="Arial"/>
                <a:cs typeface="Arial"/>
              </a:rPr>
              <a:t> Help Desk</a:t>
            </a:r>
            <a:endParaRPr kumimoji="0" lang="en-US" sz="1400" b="1" i="0" u="none" strike="noStrike" kern="1200" cap="none" spc="0" normalizeH="0" baseline="0" noProof="0">
              <a:ln>
                <a:noFill/>
              </a:ln>
              <a:solidFill>
                <a:srgbClr val="000000"/>
              </a:solidFill>
              <a:effectLst/>
              <a:uLnTx/>
              <a:uFillTx/>
              <a:latin typeface="Arial"/>
              <a:ea typeface="+mn-ea"/>
              <a:cs typeface="Arial"/>
            </a:endParaRPr>
          </a:p>
        </p:txBody>
      </p:sp>
      <p:pic>
        <p:nvPicPr>
          <p:cNvPr id="39" name="CustomIcon">
            <a:extLst>
              <a:ext uri="{FF2B5EF4-FFF2-40B4-BE49-F238E27FC236}">
                <a16:creationId xmlns:a16="http://schemas.microsoft.com/office/drawing/2014/main" id="{18A756F8-00D9-44DD-A07D-2EDC0E3C21AD}"/>
              </a:ext>
            </a:extLst>
          </p:cNvPr>
          <p:cNvPicPr>
            <a:picLocks noChangeAspect="1"/>
          </p:cNvPicPr>
          <p:nvPr>
            <p:custDataLst>
              <p:tags r:id="rId20"/>
            </p:custDataLst>
          </p:nvPr>
        </p:nvPicPr>
        <p:blipFill>
          <a:blip r:embed="rId36">
            <a:extLst>
              <a:ext uri="{96DAC541-7B7A-43D3-8B79-37D633B846F1}">
                <asvg:svgBlip xmlns:asvg="http://schemas.microsoft.com/office/drawing/2016/SVG/main" r:embed="rId37"/>
              </a:ext>
            </a:extLst>
          </a:blip>
          <a:stretch>
            <a:fillRect/>
          </a:stretch>
        </p:blipFill>
        <p:spPr>
          <a:xfrm>
            <a:off x="503076" y="4396282"/>
            <a:ext cx="548640" cy="548640"/>
          </a:xfrm>
          <a:prstGeom prst="rect">
            <a:avLst/>
          </a:prstGeom>
        </p:spPr>
      </p:pic>
      <p:cxnSp>
        <p:nvCxnSpPr>
          <p:cNvPr id="29" name="Straight Connector 28">
            <a:extLst>
              <a:ext uri="{FF2B5EF4-FFF2-40B4-BE49-F238E27FC236}">
                <a16:creationId xmlns:a16="http://schemas.microsoft.com/office/drawing/2014/main" id="{6E886AFD-8083-4D4B-BDB4-405803A49B6F}"/>
              </a:ext>
            </a:extLst>
          </p:cNvPr>
          <p:cNvCxnSpPr>
            <a:cxnSpLocks/>
          </p:cNvCxnSpPr>
          <p:nvPr>
            <p:custDataLst>
              <p:tags r:id="rId21"/>
            </p:custDataLst>
          </p:nvPr>
        </p:nvCxnSpPr>
        <p:spPr>
          <a:xfrm>
            <a:off x="577149" y="2276673"/>
            <a:ext cx="11049000" cy="0"/>
          </a:xfrm>
          <a:prstGeom prst="line">
            <a:avLst/>
          </a:prstGeom>
          <a:ln w="6350" cap="flat">
            <a:solidFill>
              <a:srgbClr val="7F7F7F"/>
            </a:solidFill>
            <a:prstDash val="solid"/>
            <a:miter lim="800000"/>
            <a:tailEnd type="non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2743BEE4-86AD-4F04-9F0A-A4D9F0DA983F}"/>
              </a:ext>
            </a:extLst>
          </p:cNvPr>
          <p:cNvSpPr txBox="1"/>
          <p:nvPr/>
        </p:nvSpPr>
        <p:spPr>
          <a:xfrm>
            <a:off x="3547218" y="2333055"/>
            <a:ext cx="8291511" cy="1015663"/>
          </a:xfrm>
          <a:prstGeom prst="rect">
            <a:avLst/>
          </a:prstGeom>
          <a:noFill/>
          <a:ln w="6350">
            <a:noFill/>
            <a:miter lim="800000"/>
          </a:ln>
        </p:spPr>
        <p:txBody>
          <a:bodyPr wrap="square" lIns="91440" tIns="45720" rIns="91440" bIns="45720" anchor="t">
            <a:spAutoFit/>
          </a:bodyPr>
          <a:lstStyle/>
          <a:p>
            <a:pPr>
              <a:buClr>
                <a:srgbClr val="000000"/>
              </a:buClr>
              <a:defRPr/>
            </a:pPr>
            <a:r>
              <a:rPr lang="en-US" sz="1150">
                <a:solidFill>
                  <a:srgbClr val="000000"/>
                </a:solidFill>
                <a:latin typeface="Arial"/>
                <a:cs typeface="Arial"/>
              </a:rPr>
              <a:t>For Provider enrollment support, please contact </a:t>
            </a:r>
            <a:r>
              <a:rPr lang="en-US" sz="1150" err="1">
                <a:solidFill>
                  <a:srgbClr val="000000"/>
                </a:solidFill>
                <a:latin typeface="Arial"/>
                <a:cs typeface="Arial"/>
              </a:rPr>
              <a:t>myCAvax</a:t>
            </a:r>
            <a:r>
              <a:rPr lang="en-US" sz="1150">
                <a:solidFill>
                  <a:srgbClr val="000000"/>
                </a:solidFill>
                <a:latin typeface="Arial"/>
                <a:cs typeface="Arial"/>
              </a:rPr>
              <a:t> Clinic Operations at</a:t>
            </a:r>
            <a:endParaRPr lang="en-US" sz="1150">
              <a:solidFill>
                <a:srgbClr val="000000"/>
              </a:solidFill>
              <a:latin typeface="Arial"/>
              <a:cs typeface="Arial" panose="020B0604020202020204" pitchFamily="34" charset="0"/>
            </a:endParaRPr>
          </a:p>
          <a:p>
            <a:pPr>
              <a:defRPr/>
            </a:pPr>
            <a:endParaRPr lang="en-US" sz="1150">
              <a:solidFill>
                <a:srgbClr val="000000"/>
              </a:solidFill>
              <a:latin typeface="Arial"/>
              <a:cs typeface="Arial"/>
            </a:endParaRPr>
          </a:p>
          <a:p>
            <a:pPr marL="171450" indent="-171450">
              <a:buFont typeface="Arial"/>
              <a:buChar char="•"/>
              <a:defRPr/>
            </a:pPr>
            <a:r>
              <a:rPr lang="en-US" sz="1150">
                <a:solidFill>
                  <a:srgbClr val="000000"/>
                </a:solidFill>
                <a:latin typeface="Arial"/>
                <a:cs typeface="Arial"/>
              </a:rPr>
              <a:t>Email: </a:t>
            </a:r>
            <a:r>
              <a:rPr lang="en-US" sz="1150">
                <a:solidFill>
                  <a:srgbClr val="000000"/>
                </a:solidFill>
                <a:latin typeface="Arial"/>
                <a:cs typeface="Arial"/>
                <a:hlinkClick r:id="rId40"/>
              </a:rPr>
              <a:t>myCAvaxinfo@cdph.ca.gov</a:t>
            </a:r>
            <a:endParaRPr lang="en-US" sz="1150" b="0" i="0" u="none" strike="noStrike" kern="1200" cap="none" spc="0" normalizeH="0" baseline="0" noProof="0">
              <a:ln>
                <a:noFill/>
              </a:ln>
              <a:solidFill>
                <a:srgbClr val="000000"/>
              </a:solidFill>
              <a:effectLst/>
              <a:uLnTx/>
              <a:uFillTx/>
              <a:latin typeface="Arial"/>
              <a:cs typeface="Arial" panose="020B0604020202020204" pitchFamily="34" charset="0"/>
            </a:endParaRPr>
          </a:p>
          <a:p>
            <a:pPr>
              <a:spcBef>
                <a:spcPts val="300"/>
              </a:spcBef>
              <a:buClr>
                <a:srgbClr val="000000"/>
              </a:buClr>
              <a:defRPr/>
            </a:pPr>
            <a:endParaRPr lang="en-US" sz="1150" b="0" i="0" u="none" strike="noStrike" kern="1200" cap="none" spc="0" normalizeH="0" baseline="0" noProof="0">
              <a:ln>
                <a:noFill/>
              </a:ln>
              <a:solidFill>
                <a:srgbClr val="000000"/>
              </a:solidFill>
              <a:effectLst/>
              <a:uLnTx/>
              <a:uFillTx/>
              <a:latin typeface="Arial"/>
              <a:cs typeface="Arial" panose="020B0604020202020204" pitchFamily="34" charset="0"/>
            </a:endParaRPr>
          </a:p>
          <a:p>
            <a:pPr marL="171450" indent="-171450">
              <a:buClr>
                <a:srgbClr val="000000"/>
              </a:buClr>
              <a:buFont typeface="Arial" panose="020B0604020202020204" pitchFamily="34" charset="0"/>
              <a:buChar char="•"/>
              <a:defRPr/>
            </a:pPr>
            <a:endParaRPr lang="en-US" sz="1150">
              <a:solidFill>
                <a:srgbClr val="000000"/>
              </a:solidFill>
              <a:latin typeface="Arial"/>
              <a:cs typeface="Arial" panose="020B0604020202020204" pitchFamily="34" charset="0"/>
            </a:endParaRPr>
          </a:p>
        </p:txBody>
      </p:sp>
      <p:sp>
        <p:nvSpPr>
          <p:cNvPr id="41" name="TextBox 40">
            <a:extLst>
              <a:ext uri="{FF2B5EF4-FFF2-40B4-BE49-F238E27FC236}">
                <a16:creationId xmlns:a16="http://schemas.microsoft.com/office/drawing/2014/main" id="{E91FD4EF-3F21-498E-80DB-191FADE7787A}"/>
              </a:ext>
            </a:extLst>
          </p:cNvPr>
          <p:cNvSpPr txBox="1">
            <a:spLocks/>
          </p:cNvSpPr>
          <p:nvPr>
            <p:custDataLst>
              <p:tags r:id="rId22"/>
            </p:custDataLst>
          </p:nvPr>
        </p:nvSpPr>
        <p:spPr>
          <a:xfrm>
            <a:off x="1240757" y="2425743"/>
            <a:ext cx="2109296" cy="215444"/>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endParaRPr lang="en-US" sz="1400" b="1" i="0" u="none" strike="noStrike" kern="1200" cap="none" spc="0" normalizeH="0" baseline="0" noProof="0">
              <a:ln>
                <a:noFill/>
              </a:ln>
              <a:solidFill>
                <a:srgbClr val="000000"/>
              </a:solidFill>
              <a:effectLst/>
              <a:uLnTx/>
              <a:uFillTx/>
              <a:latin typeface="Arial"/>
              <a:cs typeface="Arial" panose="020B0604020202020204" pitchFamily="34" charset="0"/>
            </a:endParaRPr>
          </a:p>
        </p:txBody>
      </p:sp>
      <p:sp>
        <p:nvSpPr>
          <p:cNvPr id="42" name="TextBox 41">
            <a:extLst>
              <a:ext uri="{FF2B5EF4-FFF2-40B4-BE49-F238E27FC236}">
                <a16:creationId xmlns:a16="http://schemas.microsoft.com/office/drawing/2014/main" id="{76BEE15C-F1B5-4652-AADF-60058F5C5777}"/>
              </a:ext>
            </a:extLst>
          </p:cNvPr>
          <p:cNvSpPr txBox="1">
            <a:spLocks/>
          </p:cNvSpPr>
          <p:nvPr>
            <p:custDataLst>
              <p:tags r:id="rId23"/>
            </p:custDataLst>
          </p:nvPr>
        </p:nvSpPr>
        <p:spPr>
          <a:xfrm>
            <a:off x="10276792" y="953218"/>
            <a:ext cx="1377868" cy="184666"/>
          </a:xfrm>
          <a:prstGeom prst="rect">
            <a:avLst/>
          </a:prstGeom>
        </p:spPr>
        <p:txBody>
          <a:bodyPr vert="horz" wrap="square" lIns="0" tIns="0" rIns="0" bIns="0" rtlCol="0" anchor="b">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marL="0" marR="0" lvl="0" indent="0" algn="r" defTabSz="914400" rtl="0" eaLnBrk="1" fontAlgn="auto" latinLnBrk="0" hangingPunct="1">
              <a:lnSpc>
                <a:spcPct val="100000"/>
              </a:lnSpc>
              <a:spcBef>
                <a:spcPts val="300"/>
              </a:spcBef>
              <a:spcAft>
                <a:spcPts val="300"/>
              </a:spcAft>
              <a:buClr>
                <a:srgbClr val="000000"/>
              </a:buClr>
              <a:buSzPct val="100000"/>
              <a:buFont typeface="Segoe UI" panose="020B0502040204020203" pitchFamily="34" charset="0"/>
              <a:buChar char="​"/>
              <a:tabLst/>
              <a:defRPr/>
            </a:pPr>
            <a:r>
              <a:rPr kumimoji="0" lang="en-US" sz="1200" b="1" i="0" u="none" strike="noStrike" kern="1200" cap="none" spc="0" normalizeH="0" baseline="0" noProof="0">
                <a:ln>
                  <a:noFill/>
                </a:ln>
                <a:solidFill>
                  <a:srgbClr val="20479E"/>
                </a:solidFill>
                <a:effectLst/>
                <a:uLnTx/>
                <a:uFillTx/>
                <a:latin typeface="Arial"/>
                <a:ea typeface="+mn-ea"/>
                <a:cs typeface="Arial"/>
              </a:rPr>
              <a:t>Updated </a:t>
            </a:r>
            <a:r>
              <a:rPr lang="en-US" sz="1200" b="1">
                <a:solidFill>
                  <a:srgbClr val="20479E"/>
                </a:solidFill>
                <a:latin typeface="Arial"/>
                <a:cs typeface="Arial"/>
              </a:rPr>
              <a:t>9.1.21</a:t>
            </a:r>
            <a:endParaRPr lang="en-US"/>
          </a:p>
        </p:txBody>
      </p:sp>
      <p:sp>
        <p:nvSpPr>
          <p:cNvPr id="40" name="TextBox 39">
            <a:extLst>
              <a:ext uri="{FF2B5EF4-FFF2-40B4-BE49-F238E27FC236}">
                <a16:creationId xmlns:a16="http://schemas.microsoft.com/office/drawing/2014/main" id="{1EB46EC2-38F0-428A-9FD4-E58385D74185}"/>
              </a:ext>
            </a:extLst>
          </p:cNvPr>
          <p:cNvSpPr txBox="1">
            <a:spLocks/>
          </p:cNvSpPr>
          <p:nvPr>
            <p:custDataLst>
              <p:tags r:id="rId24"/>
            </p:custDataLst>
          </p:nvPr>
        </p:nvSpPr>
        <p:spPr>
          <a:xfrm>
            <a:off x="1240756" y="5464461"/>
            <a:ext cx="2109296" cy="430887"/>
          </a:xfrm>
          <a:prstGeom prst="rect">
            <a:avLst/>
          </a:prstGeom>
        </p:spPr>
        <p:txBody>
          <a:bodyPr vert="horz" wrap="square" lIns="0" tIns="0" rIns="0" bIns="0" rtlCol="0" anchor="t">
            <a:spAutoFit/>
          </a:bodyPr>
          <a:lstStyle>
            <a:lvl1pPr lvl="0" indent="0">
              <a:lnSpc>
                <a:spcPct val="100000"/>
              </a:lnSpc>
              <a:spcBef>
                <a:spcPts val="300"/>
              </a:spcBef>
              <a:spcAft>
                <a:spcPts val="300"/>
              </a:spcAft>
              <a:buClr>
                <a:schemeClr val="tx1"/>
              </a:buClr>
              <a:buSzPct val="100000"/>
              <a:buFont typeface="Segoe UI" panose="020B0502040204020203" pitchFamily="34" charset="0"/>
              <a:buChar char="​"/>
              <a:defRPr lang="en-US" sz="1600" dirty="0">
                <a:cs typeface="Arial" panose="020B0604020202020204" pitchFamily="34" charset="0"/>
              </a:defRPr>
            </a:lvl1pPr>
            <a:lvl2pPr marL="228600" lvl="1" indent="-225425">
              <a:lnSpc>
                <a:spcPct val="100000"/>
              </a:lnSpc>
              <a:spcBef>
                <a:spcPts val="0"/>
              </a:spcBef>
              <a:spcAft>
                <a:spcPts val="300"/>
              </a:spcAft>
              <a:buClr>
                <a:schemeClr val="tx1"/>
              </a:buClr>
              <a:buSzPct val="110000"/>
              <a:buFont typeface="Wingdings" panose="05000000000000000000" pitchFamily="2" charset="2"/>
              <a:buChar char=""/>
              <a:defRPr lang="en-US" sz="1600" dirty="0"/>
            </a:lvl2pPr>
            <a:lvl3pPr marL="442913" lvl="2" indent="-214313">
              <a:lnSpc>
                <a:spcPct val="100000"/>
              </a:lnSpc>
              <a:spcBef>
                <a:spcPts val="0"/>
              </a:spcBef>
              <a:spcAft>
                <a:spcPts val="300"/>
              </a:spcAft>
              <a:buClr>
                <a:schemeClr val="tx1"/>
              </a:buClr>
              <a:buSzPct val="110000"/>
              <a:buFont typeface="Arial" panose="020B0604020202020204" pitchFamily="34" charset="0"/>
              <a:buChar char="‒"/>
              <a:defRPr lang="en-US" sz="1600" dirty="0"/>
            </a:lvl3pPr>
            <a:lvl4pPr marL="598488" lvl="3" indent="-152400">
              <a:lnSpc>
                <a:spcPct val="100000"/>
              </a:lnSpc>
              <a:spcBef>
                <a:spcPts val="0"/>
              </a:spcBef>
              <a:spcAft>
                <a:spcPts val="300"/>
              </a:spcAft>
              <a:buClr>
                <a:schemeClr val="tx1"/>
              </a:buClr>
              <a:buSzPct val="100000"/>
              <a:buFont typeface="Arial" panose="020B0604020202020204" pitchFamily="34" charset="0"/>
              <a:buChar char="•"/>
              <a:defRPr lang="en-US" sz="1600" dirty="0"/>
            </a:lvl4pPr>
            <a:lvl5pPr marL="817563" lvl="4" indent="-147638">
              <a:lnSpc>
                <a:spcPct val="100000"/>
              </a:lnSpc>
              <a:spcBef>
                <a:spcPts val="0"/>
              </a:spcBef>
              <a:spcAft>
                <a:spcPts val="300"/>
              </a:spcAft>
              <a:buClr>
                <a:schemeClr val="tx1"/>
              </a:buClr>
              <a:buSzPct val="100000"/>
              <a:buFont typeface="Arial" panose="020B0604020202020204" pitchFamily="34" charset="0"/>
              <a:buChar char="̶"/>
              <a:defRPr lang="en-US" sz="1600" dirty="0"/>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a:buClr>
                <a:srgbClr val="000000"/>
              </a:buClr>
              <a:defRPr/>
            </a:pPr>
            <a:r>
              <a:rPr lang="en-US" sz="1400" b="1" err="1">
                <a:solidFill>
                  <a:srgbClr val="000000"/>
                </a:solidFill>
                <a:latin typeface="Arial"/>
                <a:cs typeface="Arial"/>
              </a:rPr>
              <a:t>CalVaxGrant</a:t>
            </a:r>
            <a:r>
              <a:rPr lang="en-US" sz="1400" b="1">
                <a:solidFill>
                  <a:srgbClr val="000000"/>
                </a:solidFill>
                <a:latin typeface="Arial"/>
                <a:cs typeface="Arial"/>
              </a:rPr>
              <a:t> Program Support</a:t>
            </a:r>
            <a:endParaRPr lang="en-US" sz="1400" b="1" i="0" u="none" strike="noStrike" kern="1200" cap="none" spc="0" normalizeH="0" baseline="0" noProof="0">
              <a:ln>
                <a:noFill/>
              </a:ln>
              <a:solidFill>
                <a:srgbClr val="000000"/>
              </a:solidFill>
              <a:effectLst/>
              <a:uLnTx/>
              <a:uFillTx/>
              <a:latin typeface="Arial"/>
              <a:cs typeface="Arial" panose="020B0604020202020204" pitchFamily="34" charset="0"/>
            </a:endParaRPr>
          </a:p>
        </p:txBody>
      </p:sp>
      <p:sp>
        <p:nvSpPr>
          <p:cNvPr id="45" name="TextBox 44">
            <a:extLst>
              <a:ext uri="{FF2B5EF4-FFF2-40B4-BE49-F238E27FC236}">
                <a16:creationId xmlns:a16="http://schemas.microsoft.com/office/drawing/2014/main" id="{21E26F87-7FF8-410F-877A-70504D0639AE}"/>
              </a:ext>
            </a:extLst>
          </p:cNvPr>
          <p:cNvSpPr txBox="1"/>
          <p:nvPr/>
        </p:nvSpPr>
        <p:spPr>
          <a:xfrm>
            <a:off x="3551774" y="5384260"/>
            <a:ext cx="8311613" cy="877163"/>
          </a:xfrm>
          <a:prstGeom prst="rect">
            <a:avLst/>
          </a:prstGeom>
          <a:noFill/>
          <a:ln w="6350">
            <a:noFill/>
            <a:miter lim="800000"/>
          </a:ln>
        </p:spPr>
        <p:txBody>
          <a:bodyPr wrap="square" lIns="91440" tIns="45720" rIns="91440" bIns="45720" anchor="t">
            <a:spAutoFit/>
          </a:bodyPr>
          <a:lstStyle/>
          <a:p>
            <a:pPr>
              <a:spcBef>
                <a:spcPts val="300"/>
              </a:spcBef>
              <a:buClr>
                <a:srgbClr val="000000"/>
              </a:buClr>
              <a:defRPr/>
            </a:pPr>
            <a:r>
              <a:rPr lang="en-US" sz="1150">
                <a:solidFill>
                  <a:srgbClr val="000000"/>
                </a:solidFill>
                <a:latin typeface="Arial"/>
                <a:cs typeface="Arial"/>
              </a:rPr>
              <a:t>For questions and support around </a:t>
            </a:r>
            <a:r>
              <a:rPr lang="en-US" sz="1150">
                <a:solidFill>
                  <a:srgbClr val="000000"/>
                </a:solidFill>
                <a:latin typeface="Arial"/>
                <a:cs typeface="Arial"/>
                <a:hlinkClick r:id="rId41"/>
              </a:rPr>
              <a:t>CalVaxGrant</a:t>
            </a:r>
            <a:r>
              <a:rPr lang="en-US" sz="1150">
                <a:solidFill>
                  <a:srgbClr val="000000"/>
                </a:solidFill>
                <a:latin typeface="Arial"/>
                <a:cs typeface="Arial"/>
              </a:rPr>
              <a:t>, contact the program's administrator, Physicians for a Healthy California.</a:t>
            </a:r>
            <a:endParaRPr lang="en-US" sz="1150" b="0" i="0" u="none" strike="noStrike" kern="1200" cap="none" spc="0" normalizeH="0" baseline="0" noProof="0">
              <a:ln>
                <a:noFill/>
              </a:ln>
              <a:solidFill>
                <a:srgbClr val="000000"/>
              </a:solidFill>
              <a:effectLst/>
              <a:uLnTx/>
              <a:uFillTx/>
              <a:latin typeface="Arial"/>
              <a:cs typeface="Arial" panose="020B0604020202020204" pitchFamily="34" charset="0"/>
            </a:endParaRPr>
          </a:p>
          <a:p>
            <a:pPr marL="171450" indent="-171450">
              <a:spcBef>
                <a:spcPts val="300"/>
              </a:spcBef>
              <a:buClr>
                <a:srgbClr val="000000"/>
              </a:buClr>
              <a:buFont typeface="Arial" panose="020B0604020202020204" pitchFamily="34" charset="0"/>
              <a:buChar char="•"/>
              <a:defRPr/>
            </a:pPr>
            <a:r>
              <a:rPr lang="en-US" sz="1150">
                <a:solidFill>
                  <a:srgbClr val="000000"/>
                </a:solidFill>
                <a:latin typeface="Arial"/>
                <a:cs typeface="Arial"/>
              </a:rPr>
              <a:t>Email: </a:t>
            </a:r>
            <a:r>
              <a:rPr lang="en-US" sz="1150">
                <a:solidFill>
                  <a:srgbClr val="000000"/>
                </a:solidFill>
                <a:latin typeface="Arial"/>
                <a:cs typeface="Arial"/>
                <a:hlinkClick r:id="rId42"/>
              </a:rPr>
              <a:t>calvaxgrant@phcdocs.org</a:t>
            </a:r>
            <a:r>
              <a:rPr lang="en-US" sz="1150">
                <a:solidFill>
                  <a:srgbClr val="000000"/>
                </a:solidFill>
                <a:latin typeface="Arial"/>
                <a:cs typeface="Arial"/>
              </a:rPr>
              <a:t> </a:t>
            </a:r>
            <a:endParaRPr lang="en-US" sz="1150" b="0" i="0" u="none" strike="noStrike" kern="1200" cap="none" spc="0" normalizeH="0" baseline="0" noProof="0">
              <a:ln>
                <a:noFill/>
              </a:ln>
              <a:solidFill>
                <a:srgbClr val="000000"/>
              </a:solidFill>
              <a:effectLst/>
              <a:uLnTx/>
              <a:uFillTx/>
              <a:latin typeface="Arial"/>
              <a:cs typeface="Arial"/>
            </a:endParaRPr>
          </a:p>
          <a:p>
            <a:pPr marL="171450" indent="-171450">
              <a:spcBef>
                <a:spcPts val="300"/>
              </a:spcBef>
              <a:buClr>
                <a:srgbClr val="000000"/>
              </a:buClr>
              <a:buFont typeface="Arial" panose="020B0604020202020204" pitchFamily="34" charset="0"/>
              <a:buChar char="•"/>
              <a:defRPr/>
            </a:pPr>
            <a:r>
              <a:rPr lang="en-US" sz="1150">
                <a:solidFill>
                  <a:srgbClr val="000000"/>
                </a:solidFill>
                <a:latin typeface="Arial"/>
                <a:cs typeface="Arial"/>
              </a:rPr>
              <a:t>Phone: (916) 551-2565</a:t>
            </a:r>
            <a:endParaRPr lang="en-US" sz="1150" b="0" i="0" u="none" strike="noStrike" kern="1200" cap="none" spc="0" normalizeH="0" baseline="0" noProof="0">
              <a:ln>
                <a:noFill/>
              </a:ln>
              <a:solidFill>
                <a:srgbClr val="000000"/>
              </a:solidFill>
              <a:effectLst/>
              <a:uLnTx/>
              <a:uFillTx/>
              <a:latin typeface="Arial"/>
              <a:cs typeface="Arial" panose="020B0604020202020204" pitchFamily="34" charset="0"/>
            </a:endParaRPr>
          </a:p>
          <a:p>
            <a:pPr marL="171450" indent="-171450">
              <a:buClr>
                <a:srgbClr val="000000"/>
              </a:buClr>
              <a:buFont typeface="Arial" panose="020B0604020202020204" pitchFamily="34" charset="0"/>
              <a:buChar char="•"/>
              <a:defRPr/>
            </a:pPr>
            <a:endParaRPr lang="en-US" sz="1150">
              <a:solidFill>
                <a:srgbClr val="000000"/>
              </a:solidFill>
              <a:latin typeface="Arial"/>
              <a:cs typeface="Arial" panose="020B0604020202020204" pitchFamily="34" charset="0"/>
            </a:endParaRPr>
          </a:p>
        </p:txBody>
      </p:sp>
      <p:pic>
        <p:nvPicPr>
          <p:cNvPr id="38" name="CustomIcon">
            <a:extLst>
              <a:ext uri="{FF2B5EF4-FFF2-40B4-BE49-F238E27FC236}">
                <a16:creationId xmlns:a16="http://schemas.microsoft.com/office/drawing/2014/main" id="{39FB5068-6ADF-6746-82B2-69EA9746333E}"/>
              </a:ext>
            </a:extLst>
          </p:cNvPr>
          <p:cNvPicPr>
            <a:picLocks/>
          </p:cNvPicPr>
          <p:nvPr>
            <p:custDataLst>
              <p:tags r:id="rId25"/>
            </p:custDataLst>
          </p:nvPr>
        </p:nvPicPr>
        <p:blipFill>
          <a:blip r:embed="rId34">
            <a:extLst>
              <a:ext uri="{96DAC541-7B7A-43D3-8B79-37D633B846F1}">
                <asvg:svgBlip xmlns:asvg="http://schemas.microsoft.com/office/drawing/2016/SVG/main" r:embed="rId35"/>
              </a:ext>
            </a:extLst>
          </a:blip>
          <a:stretch>
            <a:fillRect/>
          </a:stretch>
        </p:blipFill>
        <p:spPr>
          <a:xfrm>
            <a:off x="503076" y="5447015"/>
            <a:ext cx="548640" cy="548640"/>
          </a:xfrm>
          <a:prstGeom prst="rect">
            <a:avLst/>
          </a:prstGeom>
        </p:spPr>
      </p:pic>
      <p:pic>
        <p:nvPicPr>
          <p:cNvPr id="30" name="CustomIcon">
            <a:extLst>
              <a:ext uri="{FF2B5EF4-FFF2-40B4-BE49-F238E27FC236}">
                <a16:creationId xmlns:a16="http://schemas.microsoft.com/office/drawing/2014/main" id="{7532EE94-C669-4991-95F6-9FAA62345250}"/>
              </a:ext>
            </a:extLst>
          </p:cNvPr>
          <p:cNvPicPr>
            <a:picLocks/>
          </p:cNvPicPr>
          <p:nvPr>
            <p:custDataLst>
              <p:tags r:id="rId26"/>
            </p:custDataLst>
          </p:nvPr>
        </p:nvPicPr>
        <p:blipFill>
          <a:blip r:embed="rId34">
            <a:extLst>
              <a:ext uri="{96DAC541-7B7A-43D3-8B79-37D633B846F1}">
                <asvg:svgBlip xmlns:asvg="http://schemas.microsoft.com/office/drawing/2016/SVG/main" r:embed="rId35"/>
              </a:ext>
            </a:extLst>
          </a:blip>
          <a:stretch>
            <a:fillRect/>
          </a:stretch>
        </p:blipFill>
        <p:spPr>
          <a:xfrm>
            <a:off x="503076" y="2279474"/>
            <a:ext cx="548640" cy="548640"/>
          </a:xfrm>
          <a:prstGeom prst="rect">
            <a:avLst/>
          </a:prstGeom>
        </p:spPr>
      </p:pic>
      <p:sp>
        <p:nvSpPr>
          <p:cNvPr id="4" name="TextBox 3">
            <a:extLst>
              <a:ext uri="{FF2B5EF4-FFF2-40B4-BE49-F238E27FC236}">
                <a16:creationId xmlns:a16="http://schemas.microsoft.com/office/drawing/2014/main" id="{2DEEAB34-E840-45F8-AB58-17069AAFF74D}"/>
              </a:ext>
            </a:extLst>
          </p:cNvPr>
          <p:cNvSpPr txBox="1"/>
          <p:nvPr/>
        </p:nvSpPr>
        <p:spPr>
          <a:xfrm>
            <a:off x="1244906" y="2429218"/>
            <a:ext cx="1907754"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1400" b="1"/>
              <a:t>Enrollment Support</a:t>
            </a:r>
            <a:endParaRPr lang="en-US" sz="1400" b="1">
              <a:cs typeface="Arial"/>
            </a:endParaRPr>
          </a:p>
        </p:txBody>
      </p:sp>
    </p:spTree>
    <p:extLst>
      <p:ext uri="{BB962C8B-B14F-4D97-AF65-F5344CB8AC3E}">
        <p14:creationId xmlns:p14="http://schemas.microsoft.com/office/powerpoint/2010/main" val="44575415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41A0A0DC-603B-C040-AC2C-78D3F07BEB90}"/>
              </a:ext>
            </a:extLst>
          </p:cNvPr>
          <p:cNvSpPr/>
          <p:nvPr/>
        </p:nvSpPr>
        <p:spPr>
          <a:xfrm>
            <a:off x="0" y="5029036"/>
            <a:ext cx="12192000" cy="927661"/>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Google Shape;254;gbdcf8fcad3_0_678">
            <a:extLst>
              <a:ext uri="{FF2B5EF4-FFF2-40B4-BE49-F238E27FC236}">
                <a16:creationId xmlns:a16="http://schemas.microsoft.com/office/drawing/2014/main" id="{7449FE60-7467-EE4D-A7E5-C9CED37F8D9F}"/>
              </a:ext>
            </a:extLst>
          </p:cNvPr>
          <p:cNvSpPr txBox="1">
            <a:spLocks/>
          </p:cNvSpPr>
          <p:nvPr/>
        </p:nvSpPr>
        <p:spPr>
          <a:xfrm>
            <a:off x="0" y="416425"/>
            <a:ext cx="12192000" cy="540870"/>
          </a:xfrm>
          <a:prstGeom prst="rect">
            <a:avLst/>
          </a:prstGeom>
          <a:noFill/>
          <a:ln>
            <a:noFill/>
          </a:ln>
        </p:spPr>
        <p:txBody>
          <a:bodyPr spcFirstLastPara="1" wrap="square" lIns="457200" tIns="13325" rIns="0" bIns="0" anchor="t"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1400"/>
              <a:buFont typeface="Arial"/>
              <a:buNone/>
              <a:defRPr sz="3600" b="0" i="0" u="none" strike="noStrike" cap="none">
                <a:solidFill>
                  <a:srgbClr val="1F469E"/>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pPr marL="12700"/>
            <a:r>
              <a:rPr lang="en-US" sz="3200" b="1">
                <a:solidFill>
                  <a:srgbClr val="20479E"/>
                </a:solidFill>
                <a:latin typeface="Century Gothic"/>
                <a:ea typeface="Century Gothic"/>
                <a:cs typeface="Century Gothic"/>
                <a:sym typeface="Century Gothic"/>
              </a:rPr>
              <a:t>Hear it? Clear It. </a:t>
            </a:r>
            <a:endParaRPr lang="en-US" sz="3200">
              <a:solidFill>
                <a:srgbClr val="20479E"/>
              </a:solidFill>
              <a:latin typeface="Century Gothic"/>
              <a:ea typeface="Century Gothic"/>
              <a:cs typeface="Century Gothic"/>
              <a:sym typeface="Century Gothic"/>
            </a:endParaRPr>
          </a:p>
        </p:txBody>
      </p:sp>
      <p:grpSp>
        <p:nvGrpSpPr>
          <p:cNvPr id="6" name="Group 5">
            <a:extLst>
              <a:ext uri="{FF2B5EF4-FFF2-40B4-BE49-F238E27FC236}">
                <a16:creationId xmlns:a16="http://schemas.microsoft.com/office/drawing/2014/main" id="{C9C415A0-9956-9A4A-896A-4CA9BC2323B6}"/>
              </a:ext>
            </a:extLst>
          </p:cNvPr>
          <p:cNvGrpSpPr/>
          <p:nvPr/>
        </p:nvGrpSpPr>
        <p:grpSpPr>
          <a:xfrm>
            <a:off x="2427109" y="1779712"/>
            <a:ext cx="918652" cy="918652"/>
            <a:chOff x="4616305" y="1272097"/>
            <a:chExt cx="673083" cy="673083"/>
          </a:xfrm>
        </p:grpSpPr>
        <p:sp>
          <p:nvSpPr>
            <p:cNvPr id="7" name="Oval 6">
              <a:extLst>
                <a:ext uri="{FF2B5EF4-FFF2-40B4-BE49-F238E27FC236}">
                  <a16:creationId xmlns:a16="http://schemas.microsoft.com/office/drawing/2014/main" id="{8CEABBD9-30D3-D148-8CD5-22ED29645885}"/>
                </a:ext>
              </a:extLst>
            </p:cNvPr>
            <p:cNvSpPr/>
            <p:nvPr/>
          </p:nvSpPr>
          <p:spPr>
            <a:xfrm>
              <a:off x="4616305" y="1272097"/>
              <a:ext cx="673083" cy="673083"/>
            </a:xfrm>
            <a:prstGeom prst="ellipse">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Graphic 7" descr="Users with solid fill">
              <a:extLst>
                <a:ext uri="{FF2B5EF4-FFF2-40B4-BE49-F238E27FC236}">
                  <a16:creationId xmlns:a16="http://schemas.microsoft.com/office/drawing/2014/main" id="{1C31E4E7-BCB3-7049-8F3B-B9572C3E047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58195" y="1328384"/>
              <a:ext cx="590511" cy="590511"/>
            </a:xfrm>
            <a:prstGeom prst="rect">
              <a:avLst/>
            </a:prstGeom>
          </p:spPr>
        </p:pic>
      </p:grpSp>
      <p:sp>
        <p:nvSpPr>
          <p:cNvPr id="22" name="TextBox 21">
            <a:extLst>
              <a:ext uri="{FF2B5EF4-FFF2-40B4-BE49-F238E27FC236}">
                <a16:creationId xmlns:a16="http://schemas.microsoft.com/office/drawing/2014/main" id="{44A3F10D-3163-6A4E-86BA-17E128CE7836}"/>
              </a:ext>
            </a:extLst>
          </p:cNvPr>
          <p:cNvSpPr txBox="1"/>
          <p:nvPr/>
        </p:nvSpPr>
        <p:spPr>
          <a:xfrm>
            <a:off x="1681834" y="2757072"/>
            <a:ext cx="2409202" cy="1220847"/>
          </a:xfrm>
          <a:prstGeom prst="rect">
            <a:avLst/>
          </a:prstGeom>
          <a:noFill/>
        </p:spPr>
        <p:txBody>
          <a:bodyPr wrap="square" tIns="0" bIns="0" rtlCol="0" anchor="ctr" anchorCtr="0">
            <a:spAutoFit/>
          </a:bodyPr>
          <a:lstStyle/>
          <a:p>
            <a:pPr algn="ctr">
              <a:spcAft>
                <a:spcPts val="400"/>
              </a:spcAft>
            </a:pPr>
            <a:r>
              <a:rPr lang="en-US" sz="1600" b="1">
                <a:solidFill>
                  <a:srgbClr val="20479E"/>
                </a:solidFill>
                <a:latin typeface="Century Gothic" panose="020B0502020202020204" pitchFamily="34" charset="0"/>
              </a:rPr>
              <a:t>Trust and Safety Team</a:t>
            </a:r>
          </a:p>
          <a:p>
            <a:pPr algn="ctr"/>
            <a:r>
              <a:rPr lang="en-US" sz="1200">
                <a:latin typeface="Century Gothic" panose="020B0502020202020204" pitchFamily="34" charset="0"/>
              </a:rPr>
              <a:t>Our shared mission is to reduce COVID-19 vaccine hesitancy and increase vaccination across the State of California. </a:t>
            </a:r>
            <a:endParaRPr lang="en-US" sz="1800">
              <a:solidFill>
                <a:srgbClr val="20479E"/>
              </a:solidFill>
              <a:latin typeface="Century Gothic" panose="020B0502020202020204" pitchFamily="34" charset="0"/>
            </a:endParaRPr>
          </a:p>
        </p:txBody>
      </p:sp>
      <p:grpSp>
        <p:nvGrpSpPr>
          <p:cNvPr id="11" name="Group 10">
            <a:extLst>
              <a:ext uri="{FF2B5EF4-FFF2-40B4-BE49-F238E27FC236}">
                <a16:creationId xmlns:a16="http://schemas.microsoft.com/office/drawing/2014/main" id="{7CE8C661-25F9-4643-851F-090365EF0801}"/>
              </a:ext>
            </a:extLst>
          </p:cNvPr>
          <p:cNvGrpSpPr/>
          <p:nvPr/>
        </p:nvGrpSpPr>
        <p:grpSpPr>
          <a:xfrm>
            <a:off x="9190420" y="5231417"/>
            <a:ext cx="1386249" cy="452743"/>
            <a:chOff x="993509" y="3861563"/>
            <a:chExt cx="2448938" cy="753765"/>
          </a:xfrm>
        </p:grpSpPr>
        <p:sp>
          <p:nvSpPr>
            <p:cNvPr id="10" name="Rounded Rectangle 9">
              <a:extLst>
                <a:ext uri="{FF2B5EF4-FFF2-40B4-BE49-F238E27FC236}">
                  <a16:creationId xmlns:a16="http://schemas.microsoft.com/office/drawing/2014/main" id="{D8F6D26B-968A-2149-BEC3-A2888657ADAC}"/>
                </a:ext>
              </a:extLst>
            </p:cNvPr>
            <p:cNvSpPr/>
            <p:nvPr/>
          </p:nvSpPr>
          <p:spPr>
            <a:xfrm>
              <a:off x="1060744" y="3942245"/>
              <a:ext cx="2381703" cy="673083"/>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a:latin typeface="Century Gothic" panose="020B0502020202020204" pitchFamily="34" charset="0"/>
                </a:rPr>
                <a:t>CTA</a:t>
              </a:r>
            </a:p>
          </p:txBody>
        </p:sp>
        <p:sp>
          <p:nvSpPr>
            <p:cNvPr id="9" name="Rounded Rectangle 8">
              <a:extLst>
                <a:ext uri="{FF2B5EF4-FFF2-40B4-BE49-F238E27FC236}">
                  <a16:creationId xmlns:a16="http://schemas.microsoft.com/office/drawing/2014/main" id="{0E8ABA01-49EE-3845-9873-EA22AC811F80}"/>
                </a:ext>
              </a:extLst>
            </p:cNvPr>
            <p:cNvSpPr/>
            <p:nvPr/>
          </p:nvSpPr>
          <p:spPr>
            <a:xfrm>
              <a:off x="993509" y="3861563"/>
              <a:ext cx="2381703" cy="673085"/>
            </a:xfrm>
            <a:prstGeom prst="roundRect">
              <a:avLst/>
            </a:prstGeom>
            <a:solidFill>
              <a:srgbClr val="FB6E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u="sng">
                  <a:solidFill>
                    <a:schemeClr val="bg1"/>
                  </a:solidFill>
                  <a:latin typeface="Century Gothic" panose="020B0502020202020204" pitchFamily="34" charset="0"/>
                  <a:hlinkClick r:id="rId4">
                    <a:extLst>
                      <a:ext uri="{A12FA001-AC4F-418D-AE19-62706E023703}">
                        <ahyp:hlinkClr xmlns:ahyp="http://schemas.microsoft.com/office/drawing/2018/hyperlinkcolor" val="tx"/>
                      </a:ext>
                    </a:extLst>
                  </a:hlinkClick>
                </a:rPr>
                <a:t>Contact</a:t>
              </a:r>
              <a:endParaRPr lang="en-US" sz="1200" b="1" u="sng">
                <a:solidFill>
                  <a:schemeClr val="bg1"/>
                </a:solidFill>
                <a:latin typeface="Century Gothic" panose="020B0502020202020204" pitchFamily="34" charset="0"/>
              </a:endParaRPr>
            </a:p>
          </p:txBody>
        </p:sp>
      </p:grpSp>
      <p:sp>
        <p:nvSpPr>
          <p:cNvPr id="26" name="TextBox 25">
            <a:extLst>
              <a:ext uri="{FF2B5EF4-FFF2-40B4-BE49-F238E27FC236}">
                <a16:creationId xmlns:a16="http://schemas.microsoft.com/office/drawing/2014/main" id="{5CAD8679-109B-2C41-9EE1-EA03AF4A7F43}"/>
              </a:ext>
            </a:extLst>
          </p:cNvPr>
          <p:cNvSpPr txBox="1"/>
          <p:nvPr/>
        </p:nvSpPr>
        <p:spPr>
          <a:xfrm>
            <a:off x="4644560" y="2751437"/>
            <a:ext cx="2845702" cy="1036181"/>
          </a:xfrm>
          <a:prstGeom prst="rect">
            <a:avLst/>
          </a:prstGeom>
          <a:noFill/>
        </p:spPr>
        <p:txBody>
          <a:bodyPr wrap="square" lIns="91440" tIns="0" rIns="91440" bIns="0" rtlCol="0" anchor="ctr" anchorCtr="0">
            <a:spAutoFit/>
          </a:bodyPr>
          <a:lstStyle/>
          <a:p>
            <a:pPr algn="ctr">
              <a:spcAft>
                <a:spcPts val="400"/>
              </a:spcAft>
            </a:pPr>
            <a:r>
              <a:rPr lang="en-US" sz="1600" b="1">
                <a:solidFill>
                  <a:srgbClr val="20479E"/>
                </a:solidFill>
                <a:latin typeface="Century Gothic"/>
              </a:rPr>
              <a:t>How You Can Help</a:t>
            </a:r>
          </a:p>
          <a:p>
            <a:pPr algn="ctr"/>
            <a:r>
              <a:rPr lang="en-US" sz="1200">
                <a:latin typeface="Century Gothic"/>
              </a:rPr>
              <a:t>You are critical in our effort to provide Californians accurate and timely information around </a:t>
            </a:r>
            <a:br>
              <a:rPr lang="en-US" sz="1200">
                <a:latin typeface="Century Gothic"/>
              </a:rPr>
            </a:br>
            <a:r>
              <a:rPr lang="en-US" sz="1200">
                <a:latin typeface="Century Gothic"/>
              </a:rPr>
              <a:t>COVID-19 vaccination.</a:t>
            </a:r>
          </a:p>
        </p:txBody>
      </p:sp>
      <p:sp>
        <p:nvSpPr>
          <p:cNvPr id="27" name="TextBox 26">
            <a:extLst>
              <a:ext uri="{FF2B5EF4-FFF2-40B4-BE49-F238E27FC236}">
                <a16:creationId xmlns:a16="http://schemas.microsoft.com/office/drawing/2014/main" id="{C0B8F4F7-EB94-3C49-B4CD-C60FEE179C6C}"/>
              </a:ext>
            </a:extLst>
          </p:cNvPr>
          <p:cNvSpPr txBox="1"/>
          <p:nvPr/>
        </p:nvSpPr>
        <p:spPr>
          <a:xfrm>
            <a:off x="7900199" y="2757072"/>
            <a:ext cx="2656560" cy="1282402"/>
          </a:xfrm>
          <a:prstGeom prst="rect">
            <a:avLst/>
          </a:prstGeom>
          <a:noFill/>
        </p:spPr>
        <p:txBody>
          <a:bodyPr wrap="square" lIns="91440" tIns="0" rIns="91440" bIns="0" rtlCol="0" anchor="ctr" anchorCtr="0">
            <a:spAutoFit/>
          </a:bodyPr>
          <a:lstStyle/>
          <a:p>
            <a:pPr algn="ctr">
              <a:spcAft>
                <a:spcPts val="400"/>
              </a:spcAft>
            </a:pPr>
            <a:r>
              <a:rPr lang="en-US" sz="1600" b="1">
                <a:solidFill>
                  <a:srgbClr val="20479E"/>
                </a:solidFill>
                <a:latin typeface="Century Gothic"/>
              </a:rPr>
              <a:t>Monitor What You See and Hear</a:t>
            </a:r>
          </a:p>
          <a:p>
            <a:pPr algn="ctr"/>
            <a:r>
              <a:rPr lang="en-US" sz="1200">
                <a:latin typeface="Century Gothic"/>
              </a:rPr>
              <a:t>Monitor online media and what you hear in your local communities for potential rumors and inaccurate information. </a:t>
            </a:r>
            <a:endParaRPr lang="en-US"/>
          </a:p>
        </p:txBody>
      </p:sp>
      <p:sp>
        <p:nvSpPr>
          <p:cNvPr id="28" name="TextBox 27">
            <a:extLst>
              <a:ext uri="{FF2B5EF4-FFF2-40B4-BE49-F238E27FC236}">
                <a16:creationId xmlns:a16="http://schemas.microsoft.com/office/drawing/2014/main" id="{50B1F505-FE39-F84B-80A9-0223C3FFF38D}"/>
              </a:ext>
            </a:extLst>
          </p:cNvPr>
          <p:cNvSpPr txBox="1"/>
          <p:nvPr/>
        </p:nvSpPr>
        <p:spPr>
          <a:xfrm>
            <a:off x="926379" y="5125781"/>
            <a:ext cx="8120108" cy="615553"/>
          </a:xfrm>
          <a:prstGeom prst="rect">
            <a:avLst/>
          </a:prstGeom>
          <a:noFill/>
        </p:spPr>
        <p:txBody>
          <a:bodyPr wrap="square" lIns="91440" tIns="0" rIns="91440" bIns="0" rtlCol="0" anchor="ctr" anchorCtr="0">
            <a:spAutoFit/>
          </a:bodyPr>
          <a:lstStyle/>
          <a:p>
            <a:pPr>
              <a:spcAft>
                <a:spcPts val="400"/>
              </a:spcAft>
            </a:pPr>
            <a:r>
              <a:rPr lang="en-US" sz="2000">
                <a:solidFill>
                  <a:schemeClr val="bg1"/>
                </a:solidFill>
                <a:latin typeface="Century Gothic"/>
              </a:rPr>
              <a:t>If found, </a:t>
            </a:r>
            <a:r>
              <a:rPr lang="en-US" sz="2000" b="1">
                <a:solidFill>
                  <a:schemeClr val="bg1"/>
                </a:solidFill>
                <a:latin typeface="Century Gothic"/>
              </a:rPr>
              <a:t>report</a:t>
            </a:r>
            <a:r>
              <a:rPr lang="en-US" sz="2000">
                <a:solidFill>
                  <a:schemeClr val="bg1"/>
                </a:solidFill>
                <a:latin typeface="Century Gothic"/>
              </a:rPr>
              <a:t> it to </a:t>
            </a:r>
            <a:r>
              <a:rPr lang="en-US" sz="4000" b="1">
                <a:solidFill>
                  <a:srgbClr val="F47D20"/>
                </a:solidFill>
                <a:latin typeface="Century Gothic"/>
              </a:rPr>
              <a:t>rumors@cdph.ca.gov</a:t>
            </a:r>
          </a:p>
        </p:txBody>
      </p:sp>
      <p:grpSp>
        <p:nvGrpSpPr>
          <p:cNvPr id="2" name="Group 1">
            <a:extLst>
              <a:ext uri="{FF2B5EF4-FFF2-40B4-BE49-F238E27FC236}">
                <a16:creationId xmlns:a16="http://schemas.microsoft.com/office/drawing/2014/main" id="{717152F6-F4D0-0F40-9458-D041CDDDEFE1}"/>
              </a:ext>
            </a:extLst>
          </p:cNvPr>
          <p:cNvGrpSpPr/>
          <p:nvPr/>
        </p:nvGrpSpPr>
        <p:grpSpPr>
          <a:xfrm>
            <a:off x="5608086" y="1779712"/>
            <a:ext cx="918652" cy="918652"/>
            <a:chOff x="447044" y="3493245"/>
            <a:chExt cx="918652" cy="918652"/>
          </a:xfrm>
        </p:grpSpPr>
        <p:sp>
          <p:nvSpPr>
            <p:cNvPr id="17" name="Oval 16">
              <a:extLst>
                <a:ext uri="{FF2B5EF4-FFF2-40B4-BE49-F238E27FC236}">
                  <a16:creationId xmlns:a16="http://schemas.microsoft.com/office/drawing/2014/main" id="{3649FE55-884C-B941-A3A6-F812E400D07E}"/>
                </a:ext>
              </a:extLst>
            </p:cNvPr>
            <p:cNvSpPr/>
            <p:nvPr/>
          </p:nvSpPr>
          <p:spPr>
            <a:xfrm>
              <a:off x="447044" y="3493245"/>
              <a:ext cx="918652" cy="918652"/>
            </a:xfrm>
            <a:prstGeom prst="ellipse">
              <a:avLst/>
            </a:prstGeom>
            <a:solidFill>
              <a:srgbClr val="F265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0" name="Graphic 29" descr="Warning with solid fill">
              <a:extLst>
                <a:ext uri="{FF2B5EF4-FFF2-40B4-BE49-F238E27FC236}">
                  <a16:creationId xmlns:a16="http://schemas.microsoft.com/office/drawing/2014/main" id="{A9C2E09B-A713-4B40-8084-342F0EECFD8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2015" y="3546318"/>
              <a:ext cx="688709" cy="688709"/>
            </a:xfrm>
            <a:prstGeom prst="rect">
              <a:avLst/>
            </a:prstGeom>
          </p:spPr>
        </p:pic>
      </p:grpSp>
      <p:grpSp>
        <p:nvGrpSpPr>
          <p:cNvPr id="4" name="Group 3">
            <a:extLst>
              <a:ext uri="{FF2B5EF4-FFF2-40B4-BE49-F238E27FC236}">
                <a16:creationId xmlns:a16="http://schemas.microsoft.com/office/drawing/2014/main" id="{33E1D1DF-E981-084E-ADD2-86EFD3A3C5D5}"/>
              </a:ext>
            </a:extLst>
          </p:cNvPr>
          <p:cNvGrpSpPr/>
          <p:nvPr/>
        </p:nvGrpSpPr>
        <p:grpSpPr>
          <a:xfrm>
            <a:off x="8789063" y="1779712"/>
            <a:ext cx="918652" cy="921091"/>
            <a:chOff x="3547798" y="7577807"/>
            <a:chExt cx="918652" cy="921091"/>
          </a:xfrm>
        </p:grpSpPr>
        <p:sp>
          <p:nvSpPr>
            <p:cNvPr id="14" name="Oval 13">
              <a:extLst>
                <a:ext uri="{FF2B5EF4-FFF2-40B4-BE49-F238E27FC236}">
                  <a16:creationId xmlns:a16="http://schemas.microsoft.com/office/drawing/2014/main" id="{FC0D8F0F-6259-8A49-A1BB-865E580D8766}"/>
                </a:ext>
              </a:extLst>
            </p:cNvPr>
            <p:cNvSpPr/>
            <p:nvPr/>
          </p:nvSpPr>
          <p:spPr>
            <a:xfrm>
              <a:off x="3547798" y="7580246"/>
              <a:ext cx="918652" cy="918652"/>
            </a:xfrm>
            <a:prstGeom prst="ellipse">
              <a:avLst/>
            </a:prstGeom>
            <a:solidFill>
              <a:srgbClr val="0087B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8" name="Graphic 37" descr="Eye with solid fill">
              <a:extLst>
                <a:ext uri="{FF2B5EF4-FFF2-40B4-BE49-F238E27FC236}">
                  <a16:creationId xmlns:a16="http://schemas.microsoft.com/office/drawing/2014/main" id="{86756651-B700-8845-A616-62B6A7819365}"/>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52050" y="7577807"/>
              <a:ext cx="914400" cy="914400"/>
            </a:xfrm>
            <a:prstGeom prst="rect">
              <a:avLst/>
            </a:prstGeom>
          </p:spPr>
        </p:pic>
      </p:grpSp>
      <p:sp>
        <p:nvSpPr>
          <p:cNvPr id="57" name="Rectangle 56">
            <a:extLst>
              <a:ext uri="{FF2B5EF4-FFF2-40B4-BE49-F238E27FC236}">
                <a16:creationId xmlns:a16="http://schemas.microsoft.com/office/drawing/2014/main" id="{15B4EBF1-C9D2-D84B-9875-553AFD74253F}"/>
              </a:ext>
            </a:extLst>
          </p:cNvPr>
          <p:cNvSpPr/>
          <p:nvPr/>
        </p:nvSpPr>
        <p:spPr>
          <a:xfrm>
            <a:off x="-1" y="416425"/>
            <a:ext cx="152401" cy="540870"/>
          </a:xfrm>
          <a:prstGeom prst="rect">
            <a:avLst/>
          </a:prstGeom>
          <a:solidFill>
            <a:srgbClr val="2047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5" name="Straight Connector 14">
            <a:extLst>
              <a:ext uri="{FF2B5EF4-FFF2-40B4-BE49-F238E27FC236}">
                <a16:creationId xmlns:a16="http://schemas.microsoft.com/office/drawing/2014/main" id="{9AA6D88E-BF67-4C82-BE9C-3C1661272461}"/>
              </a:ext>
            </a:extLst>
          </p:cNvPr>
          <p:cNvCxnSpPr>
            <a:cxnSpLocks/>
          </p:cNvCxnSpPr>
          <p:nvPr/>
        </p:nvCxnSpPr>
        <p:spPr>
          <a:xfrm>
            <a:off x="-1" y="5928245"/>
            <a:ext cx="12192001" cy="0"/>
          </a:xfrm>
          <a:prstGeom prst="line">
            <a:avLst/>
          </a:prstGeom>
          <a:ln w="57150">
            <a:solidFill>
              <a:srgbClr val="F47D20"/>
            </a:solidFill>
            <a:prstDash val="sysDash"/>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8FACD8DB-293A-4E84-8A2B-3E51FA2AB0DF}"/>
              </a:ext>
            </a:extLst>
          </p:cNvPr>
          <p:cNvSpPr txBox="1"/>
          <p:nvPr/>
        </p:nvSpPr>
        <p:spPr>
          <a:xfrm>
            <a:off x="412132" y="939857"/>
            <a:ext cx="11520136" cy="492443"/>
          </a:xfrm>
          <a:prstGeom prst="rect">
            <a:avLst/>
          </a:prstGeom>
          <a:noFill/>
        </p:spPr>
        <p:txBody>
          <a:bodyPr wrap="square" lIns="91440" tIns="0" rIns="91440" bIns="0" rtlCol="0" anchor="ctr" anchorCtr="0">
            <a:spAutoFit/>
          </a:bodyPr>
          <a:lstStyle/>
          <a:p>
            <a:r>
              <a:rPr lang="en-US" sz="1600">
                <a:solidFill>
                  <a:schemeClr val="tx1"/>
                </a:solidFill>
                <a:latin typeface="Century Gothic"/>
              </a:rPr>
              <a:t>If you see or hear of any vaccine-related rumors within the communities you serve, share them with our Trust and Safety team via the CDPH Rumors Inbox.</a:t>
            </a:r>
            <a:endParaRPr lang="en-US" sz="1600">
              <a:solidFill>
                <a:schemeClr val="tx1"/>
              </a:solidFill>
              <a:latin typeface="Century Gothic" panose="020B0502020202020204" pitchFamily="34" charset="0"/>
            </a:endParaRPr>
          </a:p>
        </p:txBody>
      </p:sp>
    </p:spTree>
    <p:extLst>
      <p:ext uri="{BB962C8B-B14F-4D97-AF65-F5344CB8AC3E}">
        <p14:creationId xmlns:p14="http://schemas.microsoft.com/office/powerpoint/2010/main" val="316377930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Subtitle 2">
            <a:extLst>
              <a:ext uri="{FF2B5EF4-FFF2-40B4-BE49-F238E27FC236}">
                <a16:creationId xmlns:a16="http://schemas.microsoft.com/office/drawing/2014/main" id="{3848562F-DAB2-431E-BE95-4780F2EC4E71}"/>
              </a:ext>
            </a:extLst>
          </p:cNvPr>
          <p:cNvSpPr txBox="1">
            <a:spLocks/>
          </p:cNvSpPr>
          <p:nvPr/>
        </p:nvSpPr>
        <p:spPr>
          <a:xfrm>
            <a:off x="616356" y="1519021"/>
            <a:ext cx="10952176" cy="915710"/>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0" i="0" u="none" strike="noStrike" kern="1200" cap="none" spc="0" normalizeH="0" baseline="0" noProof="0">
                <a:ln>
                  <a:noFill/>
                </a:ln>
                <a:solidFill>
                  <a:srgbClr val="000000"/>
                </a:solidFill>
                <a:effectLst/>
                <a:uLnTx/>
                <a:uFillTx/>
                <a:latin typeface="Arial"/>
                <a:ea typeface="+mn-ea"/>
                <a:cs typeface="Arial"/>
              </a:rPr>
              <a:t>Please use the Q&amp;A panel to comment or ask a question:</a:t>
            </a:r>
          </a:p>
        </p:txBody>
      </p:sp>
      <p:sp>
        <p:nvSpPr>
          <p:cNvPr id="3" name="TextBox 2">
            <a:extLst>
              <a:ext uri="{FF2B5EF4-FFF2-40B4-BE49-F238E27FC236}">
                <a16:creationId xmlns:a16="http://schemas.microsoft.com/office/drawing/2014/main" id="{612A1DC0-D52F-4F44-BFE5-C51585EFEF4D}"/>
              </a:ext>
            </a:extLst>
          </p:cNvPr>
          <p:cNvSpPr txBox="1"/>
          <p:nvPr/>
        </p:nvSpPr>
        <p:spPr>
          <a:xfrm>
            <a:off x="572661" y="472905"/>
            <a:ext cx="11667557"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a:ln>
                  <a:noFill/>
                </a:ln>
                <a:solidFill>
                  <a:srgbClr val="20479E"/>
                </a:solidFill>
                <a:effectLst/>
                <a:uLnTx/>
                <a:uFillTx/>
                <a:latin typeface="Arial"/>
                <a:ea typeface="+mn-ea"/>
                <a:cs typeface="Arial"/>
              </a:rPr>
              <a:t>Provider Office Hours Q&amp;A</a:t>
            </a:r>
          </a:p>
        </p:txBody>
      </p:sp>
      <p:grpSp>
        <p:nvGrpSpPr>
          <p:cNvPr id="6" name="Group 5">
            <a:extLst>
              <a:ext uri="{FF2B5EF4-FFF2-40B4-BE49-F238E27FC236}">
                <a16:creationId xmlns:a16="http://schemas.microsoft.com/office/drawing/2014/main" id="{750A3393-90BD-48DA-A042-CE00F3B58FC9}"/>
              </a:ext>
            </a:extLst>
          </p:cNvPr>
          <p:cNvGrpSpPr/>
          <p:nvPr/>
        </p:nvGrpSpPr>
        <p:grpSpPr>
          <a:xfrm>
            <a:off x="3647672" y="2292519"/>
            <a:ext cx="4906956" cy="3340405"/>
            <a:chOff x="737482" y="2445473"/>
            <a:chExt cx="4906956" cy="3340405"/>
          </a:xfrm>
        </p:grpSpPr>
        <p:pic>
          <p:nvPicPr>
            <p:cNvPr id="22" name="Picture 21">
              <a:extLst>
                <a:ext uri="{FF2B5EF4-FFF2-40B4-BE49-F238E27FC236}">
                  <a16:creationId xmlns:a16="http://schemas.microsoft.com/office/drawing/2014/main" id="{F02F2852-1EFE-49CD-9BD3-5AD24F712208}"/>
                </a:ext>
              </a:extLst>
            </p:cNvPr>
            <p:cNvPicPr>
              <a:picLocks noChangeAspect="1"/>
            </p:cNvPicPr>
            <p:nvPr/>
          </p:nvPicPr>
          <p:blipFill>
            <a:blip r:embed="rId3"/>
            <a:stretch>
              <a:fillRect/>
            </a:stretch>
          </p:blipFill>
          <p:spPr>
            <a:xfrm>
              <a:off x="809269" y="3150039"/>
              <a:ext cx="4835169" cy="2635839"/>
            </a:xfrm>
            <a:prstGeom prst="rect">
              <a:avLst/>
            </a:prstGeom>
          </p:spPr>
        </p:pic>
        <p:sp>
          <p:nvSpPr>
            <p:cNvPr id="23" name="Subtitle 2">
              <a:extLst>
                <a:ext uri="{FF2B5EF4-FFF2-40B4-BE49-F238E27FC236}">
                  <a16:creationId xmlns:a16="http://schemas.microsoft.com/office/drawing/2014/main" id="{1D6361C5-03A2-4707-B9FD-79A91308FFBB}"/>
                </a:ext>
              </a:extLst>
            </p:cNvPr>
            <p:cNvSpPr txBox="1">
              <a:spLocks/>
            </p:cNvSpPr>
            <p:nvPr/>
          </p:nvSpPr>
          <p:spPr>
            <a:xfrm>
              <a:off x="737482" y="2445473"/>
              <a:ext cx="4764457" cy="454238"/>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a:ln>
                    <a:noFill/>
                  </a:ln>
                  <a:solidFill>
                    <a:srgbClr val="20479E">
                      <a:lumMod val="75000"/>
                    </a:srgbClr>
                  </a:solidFill>
                  <a:effectLst/>
                  <a:uLnTx/>
                  <a:uFillTx/>
                  <a:latin typeface="Arial"/>
                  <a:ea typeface="+mn-ea"/>
                  <a:cs typeface="Arial"/>
                </a:rPr>
                <a:t> Q&amp;A Panel</a:t>
              </a:r>
              <a:endParaRPr kumimoji="0" lang="en-US" sz="2400" b="0" i="0" u="none" strike="noStrike" kern="1200" cap="none" spc="0" normalizeH="0" baseline="0" noProof="0">
                <a:ln>
                  <a:noFill/>
                </a:ln>
                <a:solidFill>
                  <a:srgbClr val="20479E">
                    <a:lumMod val="75000"/>
                  </a:srgbClr>
                </a:solidFill>
                <a:effectLst/>
                <a:uLnTx/>
                <a:uFillTx/>
                <a:latin typeface="Arial"/>
                <a:ea typeface="+mn-ea"/>
                <a:cs typeface="Arial"/>
              </a:endParaRPr>
            </a:p>
          </p:txBody>
        </p:sp>
        <p:sp>
          <p:nvSpPr>
            <p:cNvPr id="24" name="Rectangle 23">
              <a:extLst>
                <a:ext uri="{FF2B5EF4-FFF2-40B4-BE49-F238E27FC236}">
                  <a16:creationId xmlns:a16="http://schemas.microsoft.com/office/drawing/2014/main" id="{74D2EE0E-DDBA-4A19-85FF-9E4E393B0FE2}"/>
                </a:ext>
              </a:extLst>
            </p:cNvPr>
            <p:cNvSpPr/>
            <p:nvPr/>
          </p:nvSpPr>
          <p:spPr>
            <a:xfrm>
              <a:off x="937405" y="3748177"/>
              <a:ext cx="3163015" cy="13658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Open the </a:t>
              </a:r>
              <a:r>
                <a:rPr kumimoji="0" lang="en-US" sz="1800" b="1" i="0" u="none" strike="noStrike" kern="1200" cap="none" spc="0" normalizeH="0" baseline="0" noProof="0">
                  <a:ln>
                    <a:noFill/>
                  </a:ln>
                  <a:solidFill>
                    <a:srgbClr val="000000"/>
                  </a:solidFill>
                  <a:effectLst/>
                  <a:uLnTx/>
                  <a:uFillTx/>
                  <a:latin typeface="Arial"/>
                  <a:ea typeface="+mn-ea"/>
                  <a:cs typeface="Arial"/>
                </a:rPr>
                <a:t>Q&amp;A </a:t>
              </a:r>
              <a:r>
                <a:rPr kumimoji="0" lang="en-US" sz="1800" b="0" i="0" u="none" strike="noStrike" kern="1200" cap="none" spc="0" normalizeH="0" baseline="0" noProof="0">
                  <a:ln>
                    <a:noFill/>
                  </a:ln>
                  <a:solidFill>
                    <a:srgbClr val="000000"/>
                  </a:solidFill>
                  <a:effectLst/>
                  <a:uLnTx/>
                  <a:uFillTx/>
                  <a:latin typeface="Arial"/>
                  <a:ea typeface="+mn-ea"/>
                  <a:cs typeface="Arial"/>
                </a:rPr>
                <a:t>panel</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Select Ask:  </a:t>
              </a:r>
              <a:r>
                <a:rPr kumimoji="0" lang="en-US" sz="1800" b="1" i="0" u="none" strike="noStrike" kern="1200" cap="none" spc="0" normalizeH="0" baseline="0" noProof="0">
                  <a:ln>
                    <a:noFill/>
                  </a:ln>
                  <a:solidFill>
                    <a:srgbClr val="000000"/>
                  </a:solidFill>
                  <a:effectLst/>
                  <a:uLnTx/>
                  <a:uFillTx/>
                  <a:latin typeface="Arial"/>
                  <a:ea typeface="+mn-ea"/>
                  <a:cs typeface="Arial"/>
                </a:rPr>
                <a:t>All Panelist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800" b="0" i="0" u="none" strike="noStrike" kern="1200" cap="none" spc="0" normalizeH="0" baseline="0" noProof="0">
                  <a:ln>
                    <a:noFill/>
                  </a:ln>
                  <a:solidFill>
                    <a:srgbClr val="000000"/>
                  </a:solidFill>
                  <a:effectLst/>
                  <a:uLnTx/>
                  <a:uFillTx/>
                  <a:latin typeface="Arial"/>
                  <a:ea typeface="+mn-ea"/>
                  <a:cs typeface="Arial"/>
                </a:rPr>
                <a:t>Enter Text, Click </a:t>
              </a:r>
              <a:r>
                <a:rPr kumimoji="0" lang="en-US" sz="1800" b="1" i="0" u="none" strike="noStrike" kern="1200" cap="none" spc="0" normalizeH="0" baseline="0" noProof="0">
                  <a:ln>
                    <a:noFill/>
                  </a:ln>
                  <a:solidFill>
                    <a:srgbClr val="000000"/>
                  </a:solidFill>
                  <a:effectLst/>
                  <a:uLnTx/>
                  <a:uFillTx/>
                  <a:latin typeface="Arial"/>
                  <a:ea typeface="+mn-ea"/>
                  <a:cs typeface="Arial"/>
                </a:rPr>
                <a:t>Send</a:t>
              </a:r>
            </a:p>
          </p:txBody>
        </p:sp>
      </p:grpSp>
    </p:spTree>
    <p:extLst>
      <p:ext uri="{BB962C8B-B14F-4D97-AF65-F5344CB8AC3E}">
        <p14:creationId xmlns:p14="http://schemas.microsoft.com/office/powerpoint/2010/main" val="421926371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A5E4F-307F-43F9-B9A8-47CB95EF7724}"/>
              </a:ext>
            </a:extLst>
          </p:cNvPr>
          <p:cNvSpPr>
            <a:spLocks noGrp="1"/>
          </p:cNvSpPr>
          <p:nvPr>
            <p:ph type="ctrTitle"/>
          </p:nvPr>
        </p:nvSpPr>
        <p:spPr>
          <a:xfrm>
            <a:off x="1524000" y="687725"/>
            <a:ext cx="9144000" cy="1081532"/>
          </a:xfrm>
        </p:spPr>
        <p:txBody>
          <a:bodyPr/>
          <a:lstStyle/>
          <a:p>
            <a:r>
              <a:rPr lang="en-US">
                <a:cs typeface="Arial"/>
              </a:rPr>
              <a:t>Thank you! </a:t>
            </a:r>
            <a:endParaRPr lang="en-US"/>
          </a:p>
        </p:txBody>
      </p:sp>
      <p:sp>
        <p:nvSpPr>
          <p:cNvPr id="3" name="Content Placeholder 2">
            <a:extLst>
              <a:ext uri="{FF2B5EF4-FFF2-40B4-BE49-F238E27FC236}">
                <a16:creationId xmlns:a16="http://schemas.microsoft.com/office/drawing/2014/main" id="{85CB4CC0-CE17-4668-B405-88B7A3A4350D}"/>
              </a:ext>
            </a:extLst>
          </p:cNvPr>
          <p:cNvSpPr>
            <a:spLocks noGrp="1"/>
          </p:cNvSpPr>
          <p:nvPr>
            <p:ph type="subTitle" idx="1"/>
          </p:nvPr>
        </p:nvSpPr>
        <p:spPr>
          <a:xfrm>
            <a:off x="6627607" y="3579803"/>
            <a:ext cx="4970160" cy="2774363"/>
          </a:xfrm>
        </p:spPr>
        <p:txBody>
          <a:bodyPr vert="horz" lIns="91440" tIns="45720" rIns="91440" bIns="45720" rtlCol="0" anchor="t">
            <a:normAutofit/>
          </a:bodyPr>
          <a:lstStyle/>
          <a:p>
            <a:pPr>
              <a:lnSpc>
                <a:spcPct val="100000"/>
              </a:lnSpc>
              <a:spcBef>
                <a:spcPts val="0"/>
              </a:spcBef>
            </a:pPr>
            <a:r>
              <a:rPr lang="en-US" b="1">
                <a:solidFill>
                  <a:srgbClr val="0000BF"/>
                </a:solidFill>
                <a:ea typeface="+mn-lt"/>
                <a:cs typeface="+mn-lt"/>
              </a:rPr>
              <a:t>Next Friday:</a:t>
            </a:r>
            <a:r>
              <a:rPr lang="en-US" sz="1100" b="1">
                <a:solidFill>
                  <a:srgbClr val="0000BF"/>
                </a:solidFill>
                <a:cs typeface="Arial"/>
              </a:rPr>
              <a:t> </a:t>
            </a:r>
          </a:p>
          <a:p>
            <a:pPr>
              <a:lnSpc>
                <a:spcPct val="100000"/>
              </a:lnSpc>
              <a:spcBef>
                <a:spcPts val="0"/>
              </a:spcBef>
            </a:pPr>
            <a:r>
              <a:rPr lang="en-US" b="1" u="sng">
                <a:solidFill>
                  <a:srgbClr val="0000BF"/>
                </a:solidFill>
                <a:ea typeface="+mn-lt"/>
                <a:cs typeface="+mn-lt"/>
                <a:hlinkClick r:id="rId3">
                  <a:extLst>
                    <a:ext uri="{A12FA001-AC4F-418D-AE19-62706E023703}">
                      <ahyp:hlinkClr xmlns:ahyp="http://schemas.microsoft.com/office/drawing/2018/hyperlinkcolor" val="tx"/>
                    </a:ext>
                  </a:extLst>
                </a:hlinkClick>
              </a:rPr>
              <a:t>Provider Office Hours Link</a:t>
            </a:r>
            <a:endParaRPr lang="en-US" u="sng">
              <a:solidFill>
                <a:srgbClr val="0000BF"/>
              </a:solidFill>
              <a:cs typeface="Arial"/>
            </a:endParaRPr>
          </a:p>
          <a:p>
            <a:r>
              <a:rPr lang="en-US">
                <a:solidFill>
                  <a:schemeClr val="accent1"/>
                </a:solidFill>
                <a:ea typeface="+mn-lt"/>
                <a:cs typeface="+mn-lt"/>
              </a:rPr>
              <a:t>Friday, September 24, at</a:t>
            </a:r>
            <a:r>
              <a:rPr lang="en-US" baseline="30000">
                <a:solidFill>
                  <a:schemeClr val="accent1"/>
                </a:solidFill>
                <a:ea typeface="+mn-lt"/>
                <a:cs typeface="+mn-lt"/>
              </a:rPr>
              <a:t>  </a:t>
            </a:r>
            <a:r>
              <a:rPr lang="en-US">
                <a:solidFill>
                  <a:schemeClr val="accent1"/>
                </a:solidFill>
                <a:ea typeface="+mn-lt"/>
                <a:cs typeface="+mn-lt"/>
              </a:rPr>
              <a:t>9:00 AM</a:t>
            </a:r>
            <a:endParaRPr lang="en-US">
              <a:solidFill>
                <a:schemeClr val="accent1"/>
              </a:solidFill>
              <a:cs typeface="Arial"/>
            </a:endParaRPr>
          </a:p>
          <a:p>
            <a:r>
              <a:rPr lang="en-US" sz="1800" b="1">
                <a:solidFill>
                  <a:srgbClr val="000000"/>
                </a:solidFill>
                <a:latin typeface="Arial"/>
                <a:ea typeface="+mn-lt"/>
                <a:cs typeface="Arial"/>
              </a:rPr>
              <a:t>Audio Conference:</a:t>
            </a:r>
            <a:r>
              <a:rPr lang="en-US" sz="1800">
                <a:solidFill>
                  <a:srgbClr val="000000"/>
                </a:solidFill>
                <a:latin typeface="Arial"/>
                <a:ea typeface="+mn-lt"/>
                <a:cs typeface="Arial"/>
              </a:rPr>
              <a:t> 415-655-0001 </a:t>
            </a:r>
            <a:br>
              <a:rPr lang="en-US" sz="1800">
                <a:latin typeface="Arial"/>
                <a:ea typeface="+mn-lt"/>
                <a:cs typeface="Arial"/>
              </a:rPr>
            </a:br>
            <a:r>
              <a:rPr lang="en-US" sz="1800">
                <a:solidFill>
                  <a:srgbClr val="000000"/>
                </a:solidFill>
                <a:latin typeface="Arial"/>
                <a:ea typeface="+mn-lt"/>
                <a:cs typeface="Arial"/>
              </a:rPr>
              <a:t>Access Code: </a:t>
            </a:r>
            <a:r>
              <a:rPr lang="en-US" sz="1800" b="0" i="0">
                <a:solidFill>
                  <a:srgbClr val="201F1E"/>
                </a:solidFill>
                <a:effectLst/>
              </a:rPr>
              <a:t>145 195 9307</a:t>
            </a:r>
            <a:br>
              <a:rPr lang="en-US" sz="1800">
                <a:latin typeface="Arial"/>
                <a:ea typeface="+mn-lt"/>
                <a:cs typeface="Arial"/>
              </a:rPr>
            </a:br>
            <a:r>
              <a:rPr lang="en-US" sz="1800">
                <a:solidFill>
                  <a:srgbClr val="000000"/>
                </a:solidFill>
                <a:latin typeface="Arial"/>
                <a:ea typeface="+mn-lt"/>
                <a:cs typeface="Arial"/>
              </a:rPr>
              <a:t>Session Number: </a:t>
            </a:r>
            <a:r>
              <a:rPr lang="en-US" sz="1800" b="0" i="0">
                <a:solidFill>
                  <a:srgbClr val="201F1E"/>
                </a:solidFill>
                <a:effectLst/>
              </a:rPr>
              <a:t>145 195 9307</a:t>
            </a:r>
            <a:br>
              <a:rPr lang="en-US" sz="1800">
                <a:latin typeface="Arial"/>
                <a:ea typeface="+mn-lt"/>
                <a:cs typeface="Arial"/>
              </a:rPr>
            </a:br>
            <a:r>
              <a:rPr lang="en-US" sz="1800">
                <a:solidFill>
                  <a:srgbClr val="000000"/>
                </a:solidFill>
                <a:latin typeface="Arial"/>
                <a:ea typeface="+mn-lt"/>
                <a:cs typeface="Arial"/>
              </a:rPr>
              <a:t>Session Password: Immunize2021!</a:t>
            </a:r>
            <a:endParaRPr lang="en-US" sz="1800">
              <a:ea typeface="+mn-lt"/>
              <a:cs typeface="+mn-lt"/>
            </a:endParaRPr>
          </a:p>
          <a:p>
            <a:endParaRPr lang="en-US">
              <a:solidFill>
                <a:schemeClr val="accent1"/>
              </a:solidFill>
              <a:cs typeface="Arial"/>
            </a:endParaRPr>
          </a:p>
        </p:txBody>
      </p:sp>
      <p:pic>
        <p:nvPicPr>
          <p:cNvPr id="5" name="Picture 5">
            <a:extLst>
              <a:ext uri="{FF2B5EF4-FFF2-40B4-BE49-F238E27FC236}">
                <a16:creationId xmlns:a16="http://schemas.microsoft.com/office/drawing/2014/main" id="{523080D0-7F8B-4AE3-AD5B-58A86042DAF2}"/>
              </a:ext>
            </a:extLst>
          </p:cNvPr>
          <p:cNvPicPr>
            <a:picLocks noChangeAspect="1"/>
          </p:cNvPicPr>
          <p:nvPr/>
        </p:nvPicPr>
        <p:blipFill>
          <a:blip r:embed="rId4"/>
          <a:stretch>
            <a:fillRect/>
          </a:stretch>
        </p:blipFill>
        <p:spPr>
          <a:xfrm>
            <a:off x="5272945" y="2183165"/>
            <a:ext cx="1647825" cy="1562100"/>
          </a:xfrm>
          <a:prstGeom prst="rect">
            <a:avLst/>
          </a:prstGeom>
        </p:spPr>
      </p:pic>
      <p:sp>
        <p:nvSpPr>
          <p:cNvPr id="10" name="Content Placeholder 2">
            <a:extLst>
              <a:ext uri="{FF2B5EF4-FFF2-40B4-BE49-F238E27FC236}">
                <a16:creationId xmlns:a16="http://schemas.microsoft.com/office/drawing/2014/main" id="{BC8CCAED-9A0B-4E2C-B588-0D3D24976339}"/>
              </a:ext>
            </a:extLst>
          </p:cNvPr>
          <p:cNvSpPr txBox="1">
            <a:spLocks/>
          </p:cNvSpPr>
          <p:nvPr/>
        </p:nvSpPr>
        <p:spPr>
          <a:xfrm>
            <a:off x="288925" y="3579803"/>
            <a:ext cx="5772593" cy="3209822"/>
          </a:xfrm>
          <a:prstGeom prst="rect">
            <a:avLst/>
          </a:prstGeom>
        </p:spPr>
        <p:txBody>
          <a:bodyPr vert="horz" lIns="91440" tIns="45720" rIns="91440" bIns="45720" rtlCol="0" anchor="t">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a:lnSpc>
                <a:spcPct val="100000"/>
              </a:lnSpc>
              <a:spcBef>
                <a:spcPts val="0"/>
              </a:spcBef>
              <a:defRPr/>
            </a:pPr>
            <a:r>
              <a:rPr kumimoji="0" lang="en-US" sz="2400" b="1" i="0" u="none" strike="noStrike" kern="1200" cap="none" spc="0" normalizeH="0" baseline="0" noProof="0">
                <a:ln>
                  <a:noFill/>
                </a:ln>
                <a:solidFill>
                  <a:srgbClr val="0000BF"/>
                </a:solidFill>
                <a:effectLst/>
                <a:uLnTx/>
                <a:uFillTx/>
                <a:latin typeface="Arial"/>
                <a:ea typeface="+mn-lt"/>
                <a:cs typeface="Arial"/>
              </a:rPr>
              <a:t> Monday: </a:t>
            </a:r>
            <a:br>
              <a:rPr lang="en-US" sz="2800" b="0" i="0" u="none" strike="noStrike" kern="1200" cap="none" spc="0" normalizeH="0" baseline="0" noProof="0">
                <a:ln>
                  <a:noFill/>
                </a:ln>
                <a:effectLst/>
                <a:uLnTx/>
                <a:uFillTx/>
                <a:latin typeface="Arial"/>
                <a:ea typeface="+mn-lt"/>
                <a:cs typeface="Arial"/>
              </a:rPr>
            </a:br>
            <a:r>
              <a:rPr kumimoji="0" lang="en-US" sz="2400" b="1" i="0" u="sng" strike="noStrike" kern="1200" cap="none" spc="0" normalizeH="0" baseline="0" noProof="0">
                <a:ln>
                  <a:noFill/>
                </a:ln>
                <a:solidFill>
                  <a:srgbClr val="0000BF"/>
                </a:solidFill>
                <a:effectLst/>
                <a:uLnTx/>
                <a:uFillTx/>
                <a:latin typeface="Arial"/>
                <a:ea typeface="+mn-lt"/>
                <a:cs typeface="Arial"/>
                <a:hlinkClick r:id="rId5">
                  <a:extLst>
                    <a:ext uri="{A12FA001-AC4F-418D-AE19-62706E023703}">
                      <ahyp:hlinkClr xmlns:ahyp="http://schemas.microsoft.com/office/drawing/2018/hyperlinkcolor" val="tx"/>
                    </a:ext>
                  </a:extLst>
                </a:hlinkClick>
              </a:rPr>
              <a:t>My Turn &amp; </a:t>
            </a:r>
            <a:r>
              <a:rPr kumimoji="0" lang="en-US" sz="2400" b="1" i="0" u="sng" strike="noStrike" kern="1200" cap="none" spc="0" normalizeH="0" baseline="0" noProof="0" err="1">
                <a:ln>
                  <a:noFill/>
                </a:ln>
                <a:solidFill>
                  <a:srgbClr val="0000BF"/>
                </a:solidFill>
                <a:effectLst/>
                <a:uLnTx/>
                <a:uFillTx/>
                <a:latin typeface="Arial"/>
                <a:ea typeface="+mn-lt"/>
                <a:cs typeface="Arial"/>
                <a:hlinkClick r:id="rId5">
                  <a:extLst>
                    <a:ext uri="{A12FA001-AC4F-418D-AE19-62706E023703}">
                      <ahyp:hlinkClr xmlns:ahyp="http://schemas.microsoft.com/office/drawing/2018/hyperlinkcolor" val="tx"/>
                    </a:ext>
                  </a:extLst>
                </a:hlinkClick>
              </a:rPr>
              <a:t>myCAvax</a:t>
            </a:r>
            <a:r>
              <a:rPr kumimoji="0" lang="en-US" sz="2400" b="1" i="0" u="sng" strike="noStrike" kern="1200" cap="none" spc="0" normalizeH="0" baseline="0" noProof="0">
                <a:ln>
                  <a:noFill/>
                </a:ln>
                <a:solidFill>
                  <a:srgbClr val="0000BF"/>
                </a:solidFill>
                <a:effectLst/>
                <a:uLnTx/>
                <a:uFillTx/>
                <a:latin typeface="Arial"/>
                <a:ea typeface="+mn-lt"/>
                <a:cs typeface="Arial"/>
                <a:hlinkClick r:id="rId5">
                  <a:extLst>
                    <a:ext uri="{A12FA001-AC4F-418D-AE19-62706E023703}">
                      <ahyp:hlinkClr xmlns:ahyp="http://schemas.microsoft.com/office/drawing/2018/hyperlinkcolor" val="tx"/>
                    </a:ext>
                  </a:extLst>
                </a:hlinkClick>
              </a:rPr>
              <a:t> Office Hours Link</a:t>
            </a:r>
            <a:endParaRPr lang="en-US" sz="2400" b="0" i="0" u="sng" strike="noStrike" kern="1200" cap="none" spc="0" normalizeH="0" baseline="0" noProof="0">
              <a:ln>
                <a:noFill/>
              </a:ln>
              <a:solidFill>
                <a:srgbClr val="0000BF"/>
              </a:solidFill>
              <a:effectLst/>
              <a:uLnTx/>
              <a:uFillTx/>
              <a:latin typeface="Arial"/>
              <a:cs typeface="Arial"/>
            </a:endParaRPr>
          </a:p>
          <a:p>
            <a:pPr>
              <a:defRPr/>
            </a:pPr>
            <a:r>
              <a:rPr kumimoji="0" lang="en-US" sz="2400" b="0" i="0" u="none" strike="noStrike" kern="1200" cap="none" spc="0" normalizeH="0" baseline="0" noProof="0">
                <a:ln>
                  <a:noFill/>
                </a:ln>
                <a:solidFill>
                  <a:srgbClr val="F37D20"/>
                </a:solidFill>
                <a:effectLst/>
                <a:uLnTx/>
                <a:uFillTx/>
                <a:latin typeface="Arial"/>
                <a:ea typeface="+mn-lt"/>
                <a:cs typeface="Arial"/>
              </a:rPr>
              <a:t>Monday,</a:t>
            </a:r>
            <a:r>
              <a:rPr lang="en-US">
                <a:solidFill>
                  <a:srgbClr val="F37D20"/>
                </a:solidFill>
                <a:latin typeface="Arial"/>
                <a:ea typeface="+mn-lt"/>
                <a:cs typeface="Arial"/>
              </a:rPr>
              <a:t> September 20, at 12:00 PM</a:t>
            </a:r>
            <a:endParaRPr lang="en-US">
              <a:ea typeface="+mn-lt"/>
              <a:cs typeface="+mn-lt"/>
            </a:endParaRPr>
          </a:p>
          <a:p>
            <a:pPr>
              <a:defRPr/>
            </a:pPr>
            <a:r>
              <a:rPr lang="en-US" sz="1800" b="1">
                <a:solidFill>
                  <a:srgbClr val="000000"/>
                </a:solidFill>
                <a:latin typeface="Arial"/>
                <a:ea typeface="+mn-lt"/>
                <a:cs typeface="Arial"/>
              </a:rPr>
              <a:t>Audio Conference:</a:t>
            </a:r>
            <a:r>
              <a:rPr lang="en-US" sz="1800">
                <a:solidFill>
                  <a:srgbClr val="000000"/>
                </a:solidFill>
                <a:latin typeface="Arial"/>
                <a:ea typeface="+mn-lt"/>
                <a:cs typeface="Arial"/>
              </a:rPr>
              <a:t> 415-655-0001 </a:t>
            </a:r>
            <a:br>
              <a:rPr lang="en-US" sz="1800">
                <a:latin typeface="Arial"/>
                <a:ea typeface="+mn-lt"/>
                <a:cs typeface="Arial"/>
              </a:rPr>
            </a:br>
            <a:r>
              <a:rPr lang="en-US" sz="1800">
                <a:solidFill>
                  <a:srgbClr val="000000"/>
                </a:solidFill>
                <a:latin typeface="Arial"/>
                <a:ea typeface="+mn-lt"/>
                <a:cs typeface="Arial"/>
              </a:rPr>
              <a:t>Access Code: 145 995 8782 </a:t>
            </a:r>
            <a:br>
              <a:rPr lang="en-US" sz="1800">
                <a:latin typeface="Arial"/>
                <a:ea typeface="+mn-lt"/>
                <a:cs typeface="Arial"/>
              </a:rPr>
            </a:br>
            <a:r>
              <a:rPr lang="en-US" sz="1800">
                <a:solidFill>
                  <a:srgbClr val="000000"/>
                </a:solidFill>
                <a:latin typeface="Arial"/>
                <a:ea typeface="+mn-lt"/>
                <a:cs typeface="Arial"/>
              </a:rPr>
              <a:t>Session Number: 145 995 8782 </a:t>
            </a:r>
            <a:br>
              <a:rPr lang="en-US" sz="1800">
                <a:latin typeface="Arial"/>
                <a:ea typeface="+mn-lt"/>
                <a:cs typeface="Arial"/>
              </a:rPr>
            </a:br>
            <a:r>
              <a:rPr lang="en-US" sz="1800">
                <a:solidFill>
                  <a:srgbClr val="000000"/>
                </a:solidFill>
                <a:latin typeface="Arial"/>
                <a:ea typeface="+mn-lt"/>
                <a:cs typeface="Arial"/>
              </a:rPr>
              <a:t>Session Password: Immunize2020!</a:t>
            </a:r>
            <a:endParaRPr lang="en-US" sz="1800">
              <a:ea typeface="+mn-lt"/>
              <a:cs typeface="+mn-lt"/>
            </a:endParaRPr>
          </a:p>
          <a:p>
            <a:pPr>
              <a:lnSpc>
                <a:spcPct val="110000"/>
              </a:lnSpc>
              <a:defRPr/>
            </a:pPr>
            <a:endParaRPr lang="en-US">
              <a:solidFill>
                <a:srgbClr val="F37D20"/>
              </a:solidFill>
              <a:latin typeface="Arial"/>
              <a:ea typeface="+mn-lt"/>
              <a:cs typeface="Arial"/>
            </a:endParaRPr>
          </a:p>
          <a:p>
            <a:pPr>
              <a:defRPr/>
            </a:pPr>
            <a:endParaRPr lang="en-US" sz="2800" b="0" i="0" u="none" strike="noStrike" kern="1200" cap="none" spc="0" normalizeH="0" baseline="0" noProof="0">
              <a:ln>
                <a:noFill/>
              </a:ln>
              <a:solidFill>
                <a:srgbClr val="F37D20"/>
              </a:solidFill>
              <a:effectLst/>
              <a:uLnTx/>
              <a:uFillTx/>
              <a:latin typeface="Arial"/>
              <a:cs typeface="Arial"/>
            </a:endParaRPr>
          </a:p>
          <a:p>
            <a:pPr>
              <a:defRPr/>
            </a:pPr>
            <a:endParaRPr lang="en-US">
              <a:solidFill>
                <a:srgbClr val="F37D20"/>
              </a:solidFill>
              <a:latin typeface="Arial"/>
              <a:cs typeface="Arial"/>
            </a:endParaRPr>
          </a:p>
        </p:txBody>
      </p:sp>
      <p:sp>
        <p:nvSpPr>
          <p:cNvPr id="6" name="Slide Number Placeholder 5">
            <a:extLst>
              <a:ext uri="{FF2B5EF4-FFF2-40B4-BE49-F238E27FC236}">
                <a16:creationId xmlns:a16="http://schemas.microsoft.com/office/drawing/2014/main" id="{5EC3A362-EE4D-4985-807E-0076AB96E70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dirty="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108681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25CAB1-7AA4-4B39-827B-CB28CDE057C0}"/>
              </a:ext>
            </a:extLst>
          </p:cNvPr>
          <p:cNvSpPr>
            <a:spLocks noGrp="1"/>
          </p:cNvSpPr>
          <p:nvPr>
            <p:ph type="title"/>
          </p:nvPr>
        </p:nvSpPr>
        <p:spPr>
          <a:xfrm>
            <a:off x="279154" y="137369"/>
            <a:ext cx="5450767" cy="1446415"/>
          </a:xfrm>
        </p:spPr>
        <p:txBody>
          <a:bodyPr>
            <a:normAutofit fontScale="90000"/>
          </a:bodyPr>
          <a:lstStyle/>
          <a:p>
            <a:br>
              <a:rPr lang="en-US">
                <a:cs typeface="Arial"/>
              </a:rPr>
            </a:br>
            <a:r>
              <a:rPr lang="en-US">
                <a:cs typeface="Arial"/>
              </a:rPr>
              <a:t>Stay informed!</a:t>
            </a:r>
            <a:br>
              <a:rPr lang="en-US">
                <a:cs typeface="Arial"/>
              </a:rPr>
            </a:br>
            <a:r>
              <a:rPr lang="en-US" sz="3600">
                <a:cs typeface="Arial"/>
              </a:rPr>
              <a:t>Provider Resources on </a:t>
            </a:r>
            <a:r>
              <a:rPr lang="en-US" sz="3600">
                <a:cs typeface="Arial"/>
                <a:hlinkClick r:id="rId2"/>
              </a:rPr>
              <a:t>eziz.org/covid</a:t>
            </a:r>
            <a:r>
              <a:rPr lang="en-US" sz="3600">
                <a:cs typeface="Arial"/>
              </a:rPr>
              <a:t> </a:t>
            </a:r>
            <a:endParaRPr lang="en-US"/>
          </a:p>
        </p:txBody>
      </p:sp>
      <p:sp>
        <p:nvSpPr>
          <p:cNvPr id="4" name="Slide Number Placeholder 3">
            <a:extLst>
              <a:ext uri="{FF2B5EF4-FFF2-40B4-BE49-F238E27FC236}">
                <a16:creationId xmlns:a16="http://schemas.microsoft.com/office/drawing/2014/main" id="{0904D4C6-0A19-4DC9-B203-8B33FDEA4137}"/>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FFFFFF"/>
              </a:solidFill>
              <a:effectLst/>
              <a:uLnTx/>
              <a:uFillTx/>
              <a:latin typeface="Arial"/>
              <a:ea typeface="+mn-ea"/>
              <a:cs typeface="+mn-cs"/>
            </a:endParaRPr>
          </a:p>
        </p:txBody>
      </p:sp>
      <p:sp>
        <p:nvSpPr>
          <p:cNvPr id="3" name="TextBox 2">
            <a:extLst>
              <a:ext uri="{FF2B5EF4-FFF2-40B4-BE49-F238E27FC236}">
                <a16:creationId xmlns:a16="http://schemas.microsoft.com/office/drawing/2014/main" id="{D4CE6D48-1903-4FAF-A022-20CB426AB602}"/>
              </a:ext>
            </a:extLst>
          </p:cNvPr>
          <p:cNvSpPr txBox="1"/>
          <p:nvPr/>
        </p:nvSpPr>
        <p:spPr>
          <a:xfrm>
            <a:off x="361168" y="2490593"/>
            <a:ext cx="4298513" cy="3416320"/>
          </a:xfrm>
          <a:prstGeom prst="rect">
            <a:avLst/>
          </a:prstGeom>
          <a:solidFill>
            <a:srgbClr val="FCEEC2"/>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a:ln>
                  <a:noFill/>
                </a:ln>
                <a:solidFill>
                  <a:srgbClr val="294699"/>
                </a:solidFill>
                <a:effectLst/>
                <a:uLnTx/>
                <a:uFillTx/>
                <a:latin typeface="Arial"/>
                <a:ea typeface="+mn-ea"/>
                <a:cs typeface="Arial"/>
              </a:rPr>
              <a:t>Alert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a:ln>
                  <a:noFill/>
                </a:ln>
                <a:solidFill>
                  <a:srgbClr val="294699"/>
                </a:solidFill>
                <a:effectLst/>
                <a:uLnTx/>
                <a:uFillTx/>
                <a:latin typeface="Arial"/>
                <a:ea typeface="+mn-ea"/>
                <a:cs typeface="Arial"/>
              </a:rPr>
              <a:t>Program Enrollment</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a:ln>
                  <a:noFill/>
                </a:ln>
                <a:solidFill>
                  <a:srgbClr val="294699"/>
                </a:solidFill>
                <a:effectLst/>
                <a:uLnTx/>
                <a:uFillTx/>
                <a:latin typeface="Arial"/>
                <a:ea typeface="+mn-ea"/>
                <a:cs typeface="Arial"/>
              </a:rPr>
              <a:t>My Turn Onboarding</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a:ln>
                  <a:noFill/>
                </a:ln>
                <a:solidFill>
                  <a:srgbClr val="294699"/>
                </a:solidFill>
                <a:effectLst/>
                <a:uLnTx/>
                <a:uFillTx/>
                <a:latin typeface="Arial"/>
                <a:ea typeface="+mn-ea"/>
                <a:cs typeface="Arial"/>
              </a:rPr>
              <a:t>Reporting Requirement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a:ln>
                  <a:noFill/>
                </a:ln>
                <a:solidFill>
                  <a:srgbClr val="294699"/>
                </a:solidFill>
                <a:effectLst/>
                <a:uLnTx/>
                <a:uFillTx/>
                <a:latin typeface="Arial"/>
                <a:ea typeface="+mn-ea"/>
                <a:cs typeface="Arial"/>
              </a:rPr>
              <a:t>Patient Resource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a:ln>
                  <a:noFill/>
                </a:ln>
                <a:solidFill>
                  <a:srgbClr val="294699"/>
                </a:solidFill>
                <a:effectLst/>
                <a:uLnTx/>
                <a:uFillTx/>
                <a:latin typeface="Arial"/>
                <a:ea typeface="+mn-ea"/>
                <a:cs typeface="Arial"/>
              </a:rPr>
              <a:t>Archived Communication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a:ln>
                  <a:noFill/>
                </a:ln>
                <a:solidFill>
                  <a:srgbClr val="294699"/>
                </a:solidFill>
                <a:effectLst/>
                <a:uLnTx/>
                <a:uFillTx/>
                <a:latin typeface="Arial"/>
                <a:ea typeface="+mn-ea"/>
                <a:cs typeface="Arial"/>
              </a:rPr>
              <a:t>Education &amp; Support Materials</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2400" b="0" i="0" u="none" strike="noStrike" kern="1200" cap="none" spc="0" normalizeH="0" baseline="0" noProof="0">
                <a:ln>
                  <a:noFill/>
                </a:ln>
                <a:solidFill>
                  <a:srgbClr val="294699"/>
                </a:solidFill>
                <a:effectLst/>
                <a:uLnTx/>
                <a:uFillTx/>
                <a:latin typeface="Arial"/>
                <a:ea typeface="+mn-ea"/>
                <a:cs typeface="Arial"/>
              </a:rPr>
              <a:t>More to explore!</a:t>
            </a:r>
          </a:p>
        </p:txBody>
      </p:sp>
      <p:sp>
        <p:nvSpPr>
          <p:cNvPr id="9" name="TextBox 8">
            <a:extLst>
              <a:ext uri="{FF2B5EF4-FFF2-40B4-BE49-F238E27FC236}">
                <a16:creationId xmlns:a16="http://schemas.microsoft.com/office/drawing/2014/main" id="{6899B429-30BD-4E75-8009-CEF582F68DBF}"/>
              </a:ext>
            </a:extLst>
          </p:cNvPr>
          <p:cNvSpPr txBox="1"/>
          <p:nvPr/>
        </p:nvSpPr>
        <p:spPr>
          <a:xfrm>
            <a:off x="364001" y="2121235"/>
            <a:ext cx="4304443" cy="375428"/>
          </a:xfrm>
          <a:prstGeom prst="rect">
            <a:avLst/>
          </a:prstGeom>
          <a:solidFill>
            <a:srgbClr val="294699"/>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Arial"/>
                <a:ea typeface="+mn-ea"/>
                <a:cs typeface="+mn-cs"/>
              </a:rPr>
              <a:t>Frequent Content Updates:</a:t>
            </a:r>
            <a:endParaRPr kumimoji="0" lang="en-US" sz="1800" b="0" i="0" u="none" strike="noStrike" kern="1200" cap="none" spc="0" normalizeH="0" baseline="0" noProof="0">
              <a:ln>
                <a:noFill/>
              </a:ln>
              <a:solidFill>
                <a:srgbClr val="FFFFFF"/>
              </a:solidFill>
              <a:effectLst/>
              <a:uLnTx/>
              <a:uFillTx/>
              <a:latin typeface="Arial"/>
              <a:ea typeface="+mn-ea"/>
              <a:cs typeface="Arial"/>
            </a:endParaRPr>
          </a:p>
        </p:txBody>
      </p:sp>
      <p:pic>
        <p:nvPicPr>
          <p:cNvPr id="6" name="Picture 5" descr="Graphical user interface, text, application&#10;&#10;Description automatically generated">
            <a:extLst>
              <a:ext uri="{FF2B5EF4-FFF2-40B4-BE49-F238E27FC236}">
                <a16:creationId xmlns:a16="http://schemas.microsoft.com/office/drawing/2014/main" id="{6C277375-7357-1541-9CF8-07FD7A234F3E}"/>
              </a:ext>
            </a:extLst>
          </p:cNvPr>
          <p:cNvPicPr>
            <a:picLocks noChangeAspect="1"/>
          </p:cNvPicPr>
          <p:nvPr/>
        </p:nvPicPr>
        <p:blipFill rotWithShape="1">
          <a:blip r:embed="rId3">
            <a:extLst>
              <a:ext uri="{28A0092B-C50C-407E-A947-70E740481C1C}">
                <a14:useLocalDpi xmlns:a14="http://schemas.microsoft.com/office/drawing/2010/main" val="0"/>
              </a:ext>
            </a:extLst>
          </a:blip>
          <a:srcRect b="1182"/>
          <a:stretch/>
        </p:blipFill>
        <p:spPr>
          <a:xfrm>
            <a:off x="6049081" y="49428"/>
            <a:ext cx="5769927" cy="6054811"/>
          </a:xfrm>
          <a:prstGeom prst="rect">
            <a:avLst/>
          </a:prstGeom>
        </p:spPr>
      </p:pic>
      <p:sp>
        <p:nvSpPr>
          <p:cNvPr id="11" name="Arrow: Left 10">
            <a:extLst>
              <a:ext uri="{FF2B5EF4-FFF2-40B4-BE49-F238E27FC236}">
                <a16:creationId xmlns:a16="http://schemas.microsoft.com/office/drawing/2014/main" id="{CC5CB989-452D-416C-9916-871C245B1F2C}"/>
              </a:ext>
            </a:extLst>
          </p:cNvPr>
          <p:cNvSpPr/>
          <p:nvPr/>
        </p:nvSpPr>
        <p:spPr>
          <a:xfrm>
            <a:off x="9882183" y="2826926"/>
            <a:ext cx="1417117" cy="280612"/>
          </a:xfrm>
          <a:prstGeom prst="leftArrow">
            <a:avLst/>
          </a:prstGeom>
          <a:solidFill>
            <a:srgbClr val="ED7D3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endParaRPr lang="en-US" sz="1800" b="0" i="0" u="none" strike="noStrike" kern="1200" cap="none" spc="0" normalizeH="0" baseline="0" noProof="0">
              <a:ln>
                <a:noFill/>
              </a:ln>
              <a:solidFill>
                <a:srgbClr val="FFFFFF"/>
              </a:solidFill>
              <a:effectLst/>
              <a:uLnTx/>
              <a:uFillTx/>
              <a:latin typeface="Arial"/>
              <a:cs typeface="Arial"/>
            </a:endParaRPr>
          </a:p>
        </p:txBody>
      </p:sp>
      <p:sp>
        <p:nvSpPr>
          <p:cNvPr id="12" name="Arrow: Left 11">
            <a:extLst>
              <a:ext uri="{FF2B5EF4-FFF2-40B4-BE49-F238E27FC236}">
                <a16:creationId xmlns:a16="http://schemas.microsoft.com/office/drawing/2014/main" id="{6DADFDF6-49AE-4DDF-8E8F-7E3FE42D5265}"/>
              </a:ext>
            </a:extLst>
          </p:cNvPr>
          <p:cNvSpPr/>
          <p:nvPr/>
        </p:nvSpPr>
        <p:spPr>
          <a:xfrm>
            <a:off x="9878840" y="4501753"/>
            <a:ext cx="1417117" cy="280773"/>
          </a:xfrm>
          <a:prstGeom prst="leftArrow">
            <a:avLst/>
          </a:prstGeom>
          <a:solidFill>
            <a:srgbClr val="ED7D31"/>
          </a:solidFill>
          <a:ln>
            <a:solidFill>
              <a:schemeClr val="tx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defRPr/>
            </a:pPr>
            <a:endParaRPr lang="en-US" sz="1800" b="0" i="0" u="none" strike="noStrike" kern="1200" cap="none" spc="0" normalizeH="0" baseline="0" noProof="0">
              <a:ln>
                <a:noFill/>
              </a:ln>
              <a:solidFill>
                <a:srgbClr val="FFFFFF"/>
              </a:solidFill>
              <a:effectLst/>
              <a:uLnTx/>
              <a:uFillTx/>
              <a:latin typeface="Arial"/>
              <a:cs typeface="Arial"/>
            </a:endParaRPr>
          </a:p>
        </p:txBody>
      </p:sp>
    </p:spTree>
    <p:extLst>
      <p:ext uri="{BB962C8B-B14F-4D97-AF65-F5344CB8AC3E}">
        <p14:creationId xmlns:p14="http://schemas.microsoft.com/office/powerpoint/2010/main" val="5792509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0">
            <a:extLst>
              <a:ext uri="{FF2B5EF4-FFF2-40B4-BE49-F238E27FC236}">
                <a16:creationId xmlns:a16="http://schemas.microsoft.com/office/drawing/2014/main" id="{1999740F-02DA-C540-A651-1D0A30C4C3BE}"/>
              </a:ext>
            </a:extLst>
          </p:cNvPr>
          <p:cNvSpPr>
            <a:spLocks noGrp="1"/>
          </p:cNvSpPr>
          <p:nvPr>
            <p:ph type="title"/>
          </p:nvPr>
        </p:nvSpPr>
        <p:spPr>
          <a:xfrm>
            <a:off x="461654" y="203571"/>
            <a:ext cx="11494890" cy="615553"/>
          </a:xfr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FFFFF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rtlCol="0" anchor="ctr" anchorCtr="0" compatLnSpc="1">
            <a:prstTxWarp prst="textNoShape">
              <a:avLst/>
            </a:prstTxWarp>
            <a:spAutoFit/>
          </a:bodyPr>
          <a:lstStyle/>
          <a:p>
            <a:pPr>
              <a:lnSpc>
                <a:spcPct val="100000"/>
              </a:lnSpc>
            </a:pPr>
            <a:r>
              <a:rPr lang="en-GB" sz="2000">
                <a:solidFill>
                  <a:schemeClr val="tx1"/>
                </a:solidFill>
              </a:rPr>
              <a:t>COVID-19 Vaccination Program       </a:t>
            </a:r>
            <a:br>
              <a:rPr lang="en-GB" sz="2000">
                <a:solidFill>
                  <a:schemeClr val="tx1"/>
                </a:solidFill>
              </a:rPr>
            </a:br>
            <a:r>
              <a:rPr lang="en-GB" sz="2000">
                <a:solidFill>
                  <a:schemeClr val="tx1"/>
                </a:solidFill>
              </a:rPr>
              <a:t>Webinars and Training for Providers:  </a:t>
            </a:r>
            <a:r>
              <a:rPr lang="en-US" sz="2000" b="1">
                <a:solidFill>
                  <a:schemeClr val="tx1"/>
                </a:solidFill>
                <a:latin typeface="+mn-lt"/>
              </a:rPr>
              <a:t>Week of September 20, 2021                </a:t>
            </a:r>
            <a:r>
              <a:rPr lang="en-US" sz="1400">
                <a:solidFill>
                  <a:schemeClr val="tx1"/>
                </a:solidFill>
                <a:cs typeface="Segoe UI"/>
              </a:rPr>
              <a:t>Note: Calendar subject to change</a:t>
            </a:r>
            <a:r>
              <a:rPr lang="en-US" sz="1400" b="1">
                <a:solidFill>
                  <a:schemeClr val="tx1"/>
                </a:solidFill>
                <a:latin typeface="+mn-lt"/>
              </a:rPr>
              <a:t> </a:t>
            </a:r>
          </a:p>
        </p:txBody>
      </p:sp>
      <p:sp>
        <p:nvSpPr>
          <p:cNvPr id="27" name="Rectangle 26">
            <a:extLst>
              <a:ext uri="{FF2B5EF4-FFF2-40B4-BE49-F238E27FC236}">
                <a16:creationId xmlns:a16="http://schemas.microsoft.com/office/drawing/2014/main" id="{26AA0A51-98CB-BC40-9D43-BC22FDB717D4}"/>
              </a:ext>
            </a:extLst>
          </p:cNvPr>
          <p:cNvSpPr/>
          <p:nvPr/>
        </p:nvSpPr>
        <p:spPr>
          <a:xfrm>
            <a:off x="644907" y="5451084"/>
            <a:ext cx="839009" cy="340540"/>
          </a:xfrm>
          <a:prstGeom prst="rect">
            <a:avLst/>
          </a:prstGeom>
          <a:solidFill>
            <a:srgbClr val="0070C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300"/>
              </a:spcBef>
              <a:spcAft>
                <a:spcPts val="300"/>
              </a:spcAft>
              <a:buClrTx/>
              <a:buSzTx/>
              <a:buFontTx/>
              <a:buNone/>
              <a:tabLst/>
              <a:defRPr/>
            </a:pPr>
            <a:r>
              <a:rPr kumimoji="0" lang="en-US" sz="1200" b="1" i="0" u="none" strike="noStrike" kern="1200" cap="none" spc="0" normalizeH="0" baseline="0" noProof="0">
                <a:ln>
                  <a:noFill/>
                </a:ln>
                <a:solidFill>
                  <a:srgbClr val="FFFFFF"/>
                </a:solidFill>
                <a:effectLst/>
                <a:uLnTx/>
                <a:uFillTx/>
                <a:latin typeface="Arial"/>
                <a:ea typeface="+mn-ea"/>
                <a:cs typeface="+mn-cs"/>
              </a:rPr>
              <a:t>H</a:t>
            </a:r>
            <a:r>
              <a:rPr lang="en-US" sz="1200" b="1" err="1">
                <a:solidFill>
                  <a:srgbClr val="FFFFFF"/>
                </a:solidFill>
                <a:latin typeface="Arial"/>
              </a:rPr>
              <a:t>elp</a:t>
            </a:r>
            <a:endParaRPr kumimoji="0" lang="en-US" sz="1200" b="1" i="0" u="none" strike="noStrike" kern="1200" cap="none" spc="0" normalizeH="0" baseline="0" noProof="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F32FAF66-D076-A942-829E-919B5B0923AC}"/>
              </a:ext>
            </a:extLst>
          </p:cNvPr>
          <p:cNvSpPr txBox="1"/>
          <p:nvPr/>
        </p:nvSpPr>
        <p:spPr>
          <a:xfrm>
            <a:off x="2756687" y="722115"/>
            <a:ext cx="3736579" cy="358983"/>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5" name="TextBox 44">
            <a:extLst>
              <a:ext uri="{FF2B5EF4-FFF2-40B4-BE49-F238E27FC236}">
                <a16:creationId xmlns:a16="http://schemas.microsoft.com/office/drawing/2014/main" id="{67707934-7F98-EE43-B347-6F0E818A25F3}"/>
              </a:ext>
            </a:extLst>
          </p:cNvPr>
          <p:cNvSpPr txBox="1"/>
          <p:nvPr/>
        </p:nvSpPr>
        <p:spPr>
          <a:xfrm>
            <a:off x="1554480" y="6583680"/>
            <a:ext cx="0" cy="0"/>
          </a:xfrm>
          <a:prstGeom prst="rect">
            <a:avLst/>
          </a:prstGeom>
          <a:ln w="6350">
            <a:noFill/>
            <a:miter lim="800000"/>
          </a:ln>
        </p:spPr>
        <p:txBody>
          <a:bodyPr vert="horz" wrap="none" lIns="0" tIns="0" rIns="0" bIns="0" rtlCol="0">
            <a:noAutofit/>
          </a:bodyPr>
          <a:lstStyle/>
          <a:p>
            <a:pPr algn="l">
              <a:spcBef>
                <a:spcPts val="300"/>
              </a:spcBef>
              <a:spcAft>
                <a:spcPts val="300"/>
              </a:spcAft>
              <a:buNone/>
            </a:pPr>
            <a:endParaRPr lang="en-US" sz="1600"/>
          </a:p>
        </p:txBody>
      </p:sp>
      <p:sp>
        <p:nvSpPr>
          <p:cNvPr id="46" name="TextBox 45">
            <a:extLst>
              <a:ext uri="{FF2B5EF4-FFF2-40B4-BE49-F238E27FC236}">
                <a16:creationId xmlns:a16="http://schemas.microsoft.com/office/drawing/2014/main" id="{358431E1-C309-3945-902A-E8CFBC163D68}"/>
              </a:ext>
            </a:extLst>
          </p:cNvPr>
          <p:cNvSpPr txBox="1"/>
          <p:nvPr/>
        </p:nvSpPr>
        <p:spPr>
          <a:xfrm>
            <a:off x="9783819" y="6424517"/>
            <a:ext cx="2083427" cy="215444"/>
          </a:xfrm>
          <a:prstGeom prst="rect">
            <a:avLst/>
          </a:prstGeom>
          <a:noFill/>
          <a:ln w="6350">
            <a:noFill/>
            <a:miter lim="800000"/>
          </a:ln>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spcBef>
                <a:spcPts val="300"/>
              </a:spcBef>
              <a:spcAft>
                <a:spcPts val="300"/>
              </a:spcAft>
            </a:pPr>
            <a:r>
              <a:rPr lang="en-US" sz="1400">
                <a:solidFill>
                  <a:srgbClr val="FFFFFF"/>
                </a:solidFill>
                <a:cs typeface="Segoe UI"/>
              </a:rPr>
              <a:t>     Last updated: 9/16/21 </a:t>
            </a:r>
            <a:r>
              <a:rPr lang="en-US" sz="1400">
                <a:cs typeface="Segoe UI"/>
              </a:rPr>
              <a:t>​</a:t>
            </a:r>
          </a:p>
        </p:txBody>
      </p:sp>
      <p:sp>
        <p:nvSpPr>
          <p:cNvPr id="3" name="TextBox 2">
            <a:extLst>
              <a:ext uri="{FF2B5EF4-FFF2-40B4-BE49-F238E27FC236}">
                <a16:creationId xmlns:a16="http://schemas.microsoft.com/office/drawing/2014/main" id="{BAF82DBF-7CED-A149-89C1-D02B56416C05}"/>
              </a:ext>
            </a:extLst>
          </p:cNvPr>
          <p:cNvSpPr txBox="1"/>
          <p:nvPr/>
        </p:nvSpPr>
        <p:spPr>
          <a:xfrm>
            <a:off x="1649230" y="5402650"/>
            <a:ext cx="4357784" cy="697627"/>
          </a:xfrm>
          <a:prstGeom prst="rect">
            <a:avLst/>
          </a:prstGeom>
          <a:noFill/>
        </p:spPr>
        <p:txBody>
          <a:bodyPr wrap="square" rtlCol="0">
            <a:spAutoFit/>
          </a:bodyPr>
          <a:lstStyle/>
          <a:p>
            <a:pPr>
              <a:spcBef>
                <a:spcPts val="200"/>
              </a:spcBef>
            </a:pPr>
            <a:r>
              <a:rPr lang="en-US" sz="1200"/>
              <a:t>Website: </a:t>
            </a:r>
            <a:r>
              <a:rPr lang="en-US" sz="1200">
                <a:hlinkClick r:id="rId3"/>
              </a:rPr>
              <a:t>www.eziz.org/covid</a:t>
            </a:r>
            <a:r>
              <a:rPr lang="en-US" sz="1200"/>
              <a:t>, </a:t>
            </a:r>
            <a:r>
              <a:rPr lang="en-US" sz="1200">
                <a:hlinkClick r:id="rId4"/>
              </a:rPr>
              <a:t>FAQs</a:t>
            </a:r>
            <a:endParaRPr lang="en-US" sz="1200"/>
          </a:p>
          <a:p>
            <a:pPr>
              <a:spcBef>
                <a:spcPts val="200"/>
              </a:spcBef>
            </a:pPr>
            <a:r>
              <a:rPr lang="en-US" sz="1200"/>
              <a:t>General email: </a:t>
            </a:r>
            <a:r>
              <a:rPr lang="en-US" sz="1200">
                <a:hlinkClick r:id="rId5"/>
              </a:rPr>
              <a:t>covidcallcenter@cdph.ca.gov</a:t>
            </a:r>
            <a:endParaRPr lang="en-US" sz="1200"/>
          </a:p>
          <a:p>
            <a:pPr>
              <a:spcBef>
                <a:spcPts val="200"/>
              </a:spcBef>
            </a:pPr>
            <a:r>
              <a:rPr lang="en-US" sz="1200"/>
              <a:t>CDPH Provider Call Center: 1-833-502-1245, 8am-6pm</a:t>
            </a:r>
          </a:p>
        </p:txBody>
      </p:sp>
      <p:sp>
        <p:nvSpPr>
          <p:cNvPr id="37" name="TextBox 36">
            <a:extLst>
              <a:ext uri="{FF2B5EF4-FFF2-40B4-BE49-F238E27FC236}">
                <a16:creationId xmlns:a16="http://schemas.microsoft.com/office/drawing/2014/main" id="{D3CB9131-8E00-2F44-B911-EA32C458E599}"/>
              </a:ext>
            </a:extLst>
          </p:cNvPr>
          <p:cNvSpPr txBox="1"/>
          <p:nvPr/>
        </p:nvSpPr>
        <p:spPr>
          <a:xfrm>
            <a:off x="6172328" y="5428298"/>
            <a:ext cx="4173211" cy="671979"/>
          </a:xfrm>
          <a:prstGeom prst="rect">
            <a:avLst/>
          </a:prstGeom>
          <a:noFill/>
        </p:spPr>
        <p:txBody>
          <a:bodyPr wrap="square" rtlCol="0">
            <a:spAutoFit/>
          </a:bodyPr>
          <a:lstStyle/>
          <a:p>
            <a:pPr>
              <a:spcBef>
                <a:spcPts val="200"/>
              </a:spcBef>
            </a:pPr>
            <a:r>
              <a:rPr lang="en-US" sz="1200"/>
              <a:t>My Turn email: </a:t>
            </a:r>
            <a:r>
              <a:rPr lang="en-US" sz="1200">
                <a:hlinkClick r:id="rId6"/>
              </a:rPr>
              <a:t>myturnonboarding@cdph.ca.gov</a:t>
            </a:r>
            <a:endParaRPr lang="en-US" sz="1200"/>
          </a:p>
          <a:p>
            <a:pPr>
              <a:spcBef>
                <a:spcPts val="200"/>
              </a:spcBef>
            </a:pPr>
            <a:r>
              <a:rPr lang="en-US" sz="1200" err="1"/>
              <a:t>myCAvax</a:t>
            </a:r>
            <a:r>
              <a:rPr lang="en-US" sz="1200"/>
              <a:t> Help Desk Email: </a:t>
            </a:r>
            <a:r>
              <a:rPr lang="en-US" sz="1200">
                <a:hlinkClick r:id="rId7"/>
              </a:rPr>
              <a:t>myCAvax.HD@accenture.com</a:t>
            </a:r>
            <a:br>
              <a:rPr lang="en-US" sz="1200"/>
            </a:br>
            <a:r>
              <a:rPr lang="en-US" sz="1200"/>
              <a:t>Phone: (833) 502-1245, option 2</a:t>
            </a:r>
          </a:p>
        </p:txBody>
      </p:sp>
      <p:graphicFrame>
        <p:nvGraphicFramePr>
          <p:cNvPr id="2" name="Table 1">
            <a:extLst>
              <a:ext uri="{FF2B5EF4-FFF2-40B4-BE49-F238E27FC236}">
                <a16:creationId xmlns:a16="http://schemas.microsoft.com/office/drawing/2014/main" id="{066E4D05-25D4-5447-A3E3-670DC6BA4C2E}"/>
              </a:ext>
            </a:extLst>
          </p:cNvPr>
          <p:cNvGraphicFramePr>
            <a:graphicFrameLocks noGrp="1"/>
          </p:cNvGraphicFramePr>
          <p:nvPr/>
        </p:nvGraphicFramePr>
        <p:xfrm>
          <a:off x="493789" y="1183131"/>
          <a:ext cx="11357078" cy="3938991"/>
        </p:xfrm>
        <a:graphic>
          <a:graphicData uri="http://schemas.openxmlformats.org/drawingml/2006/table">
            <a:tbl>
              <a:tblPr firstRow="1">
                <a:tableStyleId>{21E4AEA4-8DFA-4A89-87EB-49C32662AFE0}</a:tableStyleId>
              </a:tblPr>
              <a:tblGrid>
                <a:gridCol w="1279176">
                  <a:extLst>
                    <a:ext uri="{9D8B030D-6E8A-4147-A177-3AD203B41FA5}">
                      <a16:colId xmlns:a16="http://schemas.microsoft.com/office/drawing/2014/main" val="4131460362"/>
                    </a:ext>
                  </a:extLst>
                </a:gridCol>
                <a:gridCol w="1748711">
                  <a:extLst>
                    <a:ext uri="{9D8B030D-6E8A-4147-A177-3AD203B41FA5}">
                      <a16:colId xmlns:a16="http://schemas.microsoft.com/office/drawing/2014/main" val="1473757289"/>
                    </a:ext>
                  </a:extLst>
                </a:gridCol>
                <a:gridCol w="2038865">
                  <a:extLst>
                    <a:ext uri="{9D8B030D-6E8A-4147-A177-3AD203B41FA5}">
                      <a16:colId xmlns:a16="http://schemas.microsoft.com/office/drawing/2014/main" val="2896028709"/>
                    </a:ext>
                  </a:extLst>
                </a:gridCol>
                <a:gridCol w="2310713">
                  <a:extLst>
                    <a:ext uri="{9D8B030D-6E8A-4147-A177-3AD203B41FA5}">
                      <a16:colId xmlns:a16="http://schemas.microsoft.com/office/drawing/2014/main" val="985527643"/>
                    </a:ext>
                  </a:extLst>
                </a:gridCol>
                <a:gridCol w="654908">
                  <a:extLst>
                    <a:ext uri="{9D8B030D-6E8A-4147-A177-3AD203B41FA5}">
                      <a16:colId xmlns:a16="http://schemas.microsoft.com/office/drawing/2014/main" val="279868676"/>
                    </a:ext>
                  </a:extLst>
                </a:gridCol>
                <a:gridCol w="1452363">
                  <a:extLst>
                    <a:ext uri="{9D8B030D-6E8A-4147-A177-3AD203B41FA5}">
                      <a16:colId xmlns:a16="http://schemas.microsoft.com/office/drawing/2014/main" val="40015422"/>
                    </a:ext>
                  </a:extLst>
                </a:gridCol>
                <a:gridCol w="1872342">
                  <a:extLst>
                    <a:ext uri="{9D8B030D-6E8A-4147-A177-3AD203B41FA5}">
                      <a16:colId xmlns:a16="http://schemas.microsoft.com/office/drawing/2014/main" val="3279295550"/>
                    </a:ext>
                  </a:extLst>
                </a:gridCol>
              </a:tblGrid>
              <a:tr h="693796">
                <a:tc>
                  <a:txBody>
                    <a:bodyPr/>
                    <a:lstStyle/>
                    <a:p>
                      <a:pPr algn="ctr"/>
                      <a:endParaRPr lang="en-US" sz="1600"/>
                    </a:p>
                  </a:txBody>
                  <a:tcPr anchor="c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mn-ea"/>
                          <a:cs typeface="+mn-cs"/>
                        </a:rPr>
                        <a:t>Monday 9/20</a:t>
                      </a:r>
                    </a:p>
                  </a:txBody>
                  <a:tcPr anchor="c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mn-ea"/>
                          <a:cs typeface="+mn-cs"/>
                        </a:rPr>
                        <a:t>Tuesday 9/21</a:t>
                      </a:r>
                    </a:p>
                  </a:txBody>
                  <a:tcPr anchor="ctr">
                    <a:solidFill>
                      <a:srgbClr val="0070C0"/>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mn-ea"/>
                          <a:cs typeface="+mn-cs"/>
                        </a:rPr>
                        <a:t>Wednesday 9/22</a:t>
                      </a:r>
                    </a:p>
                  </a:txBody>
                  <a:tcPr anchor="ctr">
                    <a:solidFill>
                      <a:srgbClr val="0070C0"/>
                    </a:solidFill>
                  </a:tcPr>
                </a:tc>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mn-ea"/>
                          <a:cs typeface="+mn-cs"/>
                        </a:rPr>
                        <a:t>Thursday 9/23</a:t>
                      </a:r>
                    </a:p>
                  </a:txBody>
                  <a:tcPr anchor="ctr">
                    <a:solidFill>
                      <a:srgbClr val="0070C0"/>
                    </a:solidFill>
                  </a:tcPr>
                </a:tc>
                <a:tc hMerge="1">
                  <a:txBody>
                    <a:bodyPr/>
                    <a:lstStyle/>
                    <a:p>
                      <a:endParaRPr lang="en-US"/>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FFFFFF"/>
                          </a:solidFill>
                          <a:effectLst/>
                          <a:uLnTx/>
                          <a:uFillTx/>
                          <a:latin typeface="+mn-lt"/>
                          <a:ea typeface="+mn-ea"/>
                          <a:cs typeface="+mn-cs"/>
                        </a:rPr>
                        <a:t>Friday 9/24</a:t>
                      </a:r>
                    </a:p>
                  </a:txBody>
                  <a:tcPr anchor="ctr">
                    <a:solidFill>
                      <a:srgbClr val="0070C0"/>
                    </a:solidFill>
                  </a:tcPr>
                </a:tc>
                <a:extLst>
                  <a:ext uri="{0D108BD9-81ED-4DB2-BD59-A6C34878D82A}">
                    <a16:rowId xmlns:a16="http://schemas.microsoft.com/office/drawing/2014/main" val="1477233995"/>
                  </a:ext>
                </a:extLst>
              </a:tr>
              <a:tr h="962107">
                <a:tc>
                  <a:txBody>
                    <a:bodyPr/>
                    <a:lstStyle/>
                    <a:p>
                      <a:r>
                        <a:rPr lang="en-US" sz="1400" b="1" err="1"/>
                        <a:t>myCAvax</a:t>
                      </a:r>
                      <a:endParaRPr lang="en-US" sz="1400" b="1"/>
                    </a:p>
                  </a:txBody>
                  <a:tcPr>
                    <a:solidFill>
                      <a:srgbClr val="CCD9E8"/>
                    </a:solidFill>
                  </a:tcPr>
                </a:tc>
                <a:tc>
                  <a:txBody>
                    <a:bodyPr/>
                    <a:lstStyle/>
                    <a:p>
                      <a:r>
                        <a:rPr lang="en-US" sz="1200" b="0">
                          <a:solidFill>
                            <a:schemeClr val="tx1"/>
                          </a:solidFill>
                          <a:hlinkClick r:id="rId8"/>
                        </a:rPr>
                        <a:t>myCAvax Vaccine Order Request with Q&amp;A</a:t>
                      </a:r>
                      <a:endParaRPr lang="en-US" sz="1200" b="0">
                        <a:solidFill>
                          <a:schemeClr val="tx1"/>
                        </a:solidFill>
                      </a:endParaRPr>
                    </a:p>
                    <a:p>
                      <a:r>
                        <a:rPr lang="en-US" sz="1200" b="0" i="1">
                          <a:solidFill>
                            <a:schemeClr val="tx1"/>
                          </a:solidFill>
                        </a:rPr>
                        <a:t>10:00 am – 10:30 am</a:t>
                      </a:r>
                    </a:p>
                    <a:p>
                      <a:r>
                        <a:rPr lang="en-US" sz="1200" b="0" i="1">
                          <a:solidFill>
                            <a:schemeClr val="tx1"/>
                          </a:solidFill>
                          <a:cs typeface="Calibri" panose="020F0502020204030204" pitchFamily="34" charset="0"/>
                        </a:rPr>
                        <a:t>PW: myCAvax2021!  </a:t>
                      </a:r>
                      <a:endParaRPr lang="en-US" sz="1200" b="0" i="1">
                        <a:solidFill>
                          <a:srgbClr val="FF0000"/>
                        </a:solidFill>
                        <a:cs typeface="Calibri" panose="020F0502020204030204" pitchFamily="34" charset="0"/>
                      </a:endParaRPr>
                    </a:p>
                  </a:txBody>
                  <a:tcPr>
                    <a:solidFill>
                      <a:srgbClr val="CCD9E8"/>
                    </a:solidFill>
                  </a:tcPr>
                </a:tc>
                <a:tc>
                  <a:txBody>
                    <a:bodyPr/>
                    <a:lstStyle/>
                    <a:p>
                      <a:pPr>
                        <a:spcBef>
                          <a:spcPts val="0"/>
                        </a:spcBef>
                        <a:spcAft>
                          <a:spcPts val="0"/>
                        </a:spcAft>
                        <a:defRPr/>
                      </a:pPr>
                      <a:r>
                        <a:rPr lang="en-US" sz="1200">
                          <a:latin typeface="+mn-lt"/>
                          <a:hlinkClick r:id="rId9"/>
                        </a:rPr>
                        <a:t>What’s New in myCAvax for Reactivated Providers</a:t>
                      </a:r>
                      <a:endParaRPr lang="en-US" sz="1200">
                        <a:latin typeface="+mn-lt"/>
                      </a:endParaRPr>
                    </a:p>
                    <a:p>
                      <a:pPr>
                        <a:spcBef>
                          <a:spcPts val="0"/>
                        </a:spcBef>
                        <a:spcAft>
                          <a:spcPts val="0"/>
                        </a:spcAft>
                        <a:defRPr/>
                      </a:pPr>
                      <a:r>
                        <a:rPr lang="en-US" sz="1200" i="1">
                          <a:latin typeface="+mn-lt"/>
                        </a:rPr>
                        <a:t>12:00 pm – 12:30 pm</a:t>
                      </a:r>
                      <a:endParaRPr lang="en-US" sz="1200" i="1">
                        <a:cs typeface="Calibri" panose="020F0502020204030204" pitchFamily="34" charset="0"/>
                      </a:endParaRPr>
                    </a:p>
                  </a:txBody>
                  <a:tcPr>
                    <a:solidFill>
                      <a:srgbClr val="CCD9E8"/>
                    </a:solidFill>
                  </a:tcPr>
                </a:tc>
                <a:tc>
                  <a:txBody>
                    <a:bodyPr/>
                    <a:lstStyle/>
                    <a:p>
                      <a:r>
                        <a:rPr lang="en-US" sz="1200" b="0">
                          <a:solidFill>
                            <a:schemeClr val="tx1"/>
                          </a:solidFill>
                          <a:cs typeface="Arial"/>
                          <a:hlinkClick r:id="rId10"/>
                        </a:rPr>
                        <a:t>Provider 101 Account Enrollment</a:t>
                      </a:r>
                      <a:endParaRPr lang="en-US" sz="1200" b="0">
                        <a:solidFill>
                          <a:schemeClr val="tx1"/>
                        </a:solidFill>
                        <a:cs typeface="Arial"/>
                      </a:endParaRPr>
                    </a:p>
                    <a:p>
                      <a:r>
                        <a:rPr lang="en-US" sz="1200" b="0" i="1">
                          <a:solidFill>
                            <a:schemeClr val="tx1"/>
                          </a:solidFill>
                          <a:cs typeface="Arial"/>
                        </a:rPr>
                        <a:t>10:00 am – 10:30 am</a:t>
                      </a:r>
                      <a:endParaRPr lang="en-US" sz="1200">
                        <a:solidFill>
                          <a:schemeClr val="tx1"/>
                        </a:solidFill>
                        <a:cs typeface="Arial"/>
                      </a:endParaRPr>
                    </a:p>
                    <a:p>
                      <a:r>
                        <a:rPr lang="en-US" sz="1200" b="0" i="1">
                          <a:solidFill>
                            <a:schemeClr val="tx1"/>
                          </a:solidFill>
                          <a:cs typeface="Calibri" panose="020F0502020204030204" pitchFamily="34" charset="0"/>
                        </a:rPr>
                        <a:t>PW: myCAvax2021!</a:t>
                      </a:r>
                    </a:p>
                    <a:p>
                      <a:pPr rtl="0" fontAlgn="base"/>
                      <a:endParaRPr lang="en-US" sz="1200" b="0" i="0" u="none" strike="noStrike" kern="1200">
                        <a:solidFill>
                          <a:schemeClr val="dk1"/>
                        </a:solidFill>
                        <a:effectLst/>
                        <a:latin typeface="+mn-lt"/>
                        <a:ea typeface="+mn-ea"/>
                        <a:cs typeface="+mn-cs"/>
                      </a:endParaRPr>
                    </a:p>
                  </a:txBody>
                  <a:tcPr>
                    <a:solidFill>
                      <a:srgbClr val="CCD9E8"/>
                    </a:solidFill>
                  </a:tcPr>
                </a:tc>
                <a:tc gridSpan="2">
                  <a:txBody>
                    <a:bodyPr/>
                    <a:lstStyle/>
                    <a:p>
                      <a:pPr>
                        <a:spcBef>
                          <a:spcPts val="0"/>
                        </a:spcBef>
                        <a:spcAft>
                          <a:spcPts val="0"/>
                        </a:spcAft>
                        <a:defRPr/>
                      </a:pPr>
                      <a:r>
                        <a:rPr lang="en-US" sz="1200">
                          <a:latin typeface="+mn-lt"/>
                          <a:hlinkClick r:id="rId11"/>
                        </a:rPr>
                        <a:t>What’s New in myCAvax for Reactivated Providers</a:t>
                      </a:r>
                      <a:endParaRPr lang="en-US" sz="1200">
                        <a:latin typeface="+mn-lt"/>
                      </a:endParaRPr>
                    </a:p>
                    <a:p>
                      <a:pPr>
                        <a:spcBef>
                          <a:spcPts val="0"/>
                        </a:spcBef>
                        <a:spcAft>
                          <a:spcPts val="0"/>
                        </a:spcAft>
                        <a:defRPr/>
                      </a:pPr>
                      <a:r>
                        <a:rPr lang="en-US" sz="1200" i="1">
                          <a:latin typeface="+mn-lt"/>
                        </a:rPr>
                        <a:t>12:00 pm – 12:30 pm</a:t>
                      </a:r>
                      <a:endParaRPr lang="en-US" sz="1200" b="0" i="1">
                        <a:cs typeface="Arial"/>
                      </a:endParaRPr>
                    </a:p>
                  </a:txBody>
                  <a:tcPr>
                    <a:solidFill>
                      <a:srgbClr val="CCD9E8"/>
                    </a:solidFill>
                  </a:tcPr>
                </a:tc>
                <a:tc hMerge="1">
                  <a:txBody>
                    <a:bodyPr/>
                    <a:lstStyle/>
                    <a:p>
                      <a:endParaRPr lang="en-US"/>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i="1"/>
                    </a:p>
                  </a:txBody>
                  <a:tcPr>
                    <a:solidFill>
                      <a:srgbClr val="CCD9E8"/>
                    </a:solidFill>
                  </a:tcPr>
                </a:tc>
                <a:extLst>
                  <a:ext uri="{0D108BD9-81ED-4DB2-BD59-A6C34878D82A}">
                    <a16:rowId xmlns:a16="http://schemas.microsoft.com/office/drawing/2014/main" val="4280511891"/>
                  </a:ext>
                </a:extLst>
              </a:tr>
              <a:tr h="684875">
                <a:tc>
                  <a:txBody>
                    <a:bodyPr/>
                    <a:lstStyle/>
                    <a:p>
                      <a:r>
                        <a:rPr lang="en-US" sz="1400" b="1"/>
                        <a:t>Combined </a:t>
                      </a:r>
                      <a:r>
                        <a:rPr lang="en-US" sz="1400" b="1" err="1"/>
                        <a:t>myCAvax</a:t>
                      </a:r>
                      <a:r>
                        <a:rPr lang="en-US" sz="1400" b="1"/>
                        <a:t> and My Turn Office Hours and Events</a:t>
                      </a:r>
                    </a:p>
                  </a:txBody>
                  <a:tcPr>
                    <a:solidFill>
                      <a:srgbClr val="E7EDF5"/>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200">
                          <a:latin typeface="+mn-lt"/>
                          <a:hlinkClick r:id="rId12"/>
                        </a:rPr>
                        <a:t>My Turn and myCAvax Office Hours</a:t>
                      </a:r>
                      <a:endParaRPr kumimoji="0" lang="en-US" sz="1200" i="0" u="none" strike="noStrike" kern="1200" cap="none" spc="0" normalizeH="0" baseline="0" noProof="0">
                        <a:ln>
                          <a:noFill/>
                        </a:ln>
                        <a:effectLst/>
                        <a:uLnTx/>
                        <a:uFillTx/>
                        <a:latin typeface="+mn-lt"/>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Segoe UI" panose="020B0502040204020203" pitchFamily="34" charset="0"/>
                        <a:buChar char="​"/>
                        <a:tabLst/>
                        <a:defRPr/>
                      </a:pPr>
                      <a:r>
                        <a:rPr lang="en-US" sz="1200" i="1">
                          <a:latin typeface="+mn-lt"/>
                        </a:rPr>
                        <a:t>12:00 pm </a:t>
                      </a:r>
                      <a:r>
                        <a:rPr kumimoji="0" lang="en-US" sz="1200" i="1" u="none" strike="noStrike" kern="1200" cap="none" spc="0" normalizeH="0" baseline="0" noProof="0">
                          <a:ln>
                            <a:noFill/>
                          </a:ln>
                          <a:effectLst/>
                          <a:uLnTx/>
                          <a:uFillTx/>
                          <a:latin typeface="+mn-lt"/>
                          <a:ea typeface="+mn-ea"/>
                          <a:cs typeface="Arial" panose="020B0604020202020204" pitchFamily="34" charset="0"/>
                        </a:rPr>
                        <a:t>– 1:00 pm </a:t>
                      </a:r>
                    </a:p>
                    <a:p>
                      <a:pPr>
                        <a:spcBef>
                          <a:spcPts val="0"/>
                        </a:spcBef>
                        <a:spcAft>
                          <a:spcPts val="0"/>
                        </a:spcAft>
                        <a:defRPr/>
                      </a:pPr>
                      <a:r>
                        <a:rPr lang="en-US" sz="1200" i="1"/>
                        <a:t>PW: Immunize2020!</a:t>
                      </a:r>
                      <a:endParaRPr lang="en-US" sz="1200"/>
                    </a:p>
                    <a:p>
                      <a:pPr marL="0" marR="0" lvl="0" indent="0" algn="ctr" defTabSz="914400" rtl="0" eaLnBrk="1" fontAlgn="auto" latinLnBrk="0" hangingPunct="1">
                        <a:lnSpc>
                          <a:spcPct val="100000"/>
                        </a:lnSpc>
                        <a:spcBef>
                          <a:spcPts val="0"/>
                        </a:spcBef>
                        <a:spcAft>
                          <a:spcPts val="0"/>
                        </a:spcAft>
                        <a:buClrTx/>
                        <a:buSzTx/>
                        <a:buFontTx/>
                        <a:buNone/>
                        <a:tabLst/>
                        <a:defRPr/>
                      </a:pPr>
                      <a:endParaRPr lang="en-US" sz="1200" b="0" i="0"/>
                    </a:p>
                  </a:txBody>
                  <a:tcPr>
                    <a:solidFill>
                      <a:srgbClr val="E7EDF5"/>
                    </a:solidFill>
                  </a:tcPr>
                </a:tc>
                <a:tc>
                  <a:txBody>
                    <a:bodyPr/>
                    <a:lstStyle/>
                    <a:p>
                      <a:r>
                        <a:rPr lang="en-US" sz="1200" b="0">
                          <a:solidFill>
                            <a:schemeClr val="tx1"/>
                          </a:solidFill>
                          <a:cs typeface="Arial"/>
                          <a:hlinkClick r:id="rId13"/>
                        </a:rPr>
                        <a:t>Provider COVID-19 Vaccine Booster Dose Town Hall</a:t>
                      </a:r>
                      <a:endParaRPr lang="en-US" sz="1200" b="0">
                        <a:solidFill>
                          <a:schemeClr val="tx1"/>
                        </a:solidFill>
                        <a:cs typeface="Arial"/>
                      </a:endParaRPr>
                    </a:p>
                    <a:p>
                      <a:r>
                        <a:rPr lang="en-US" sz="1200" b="0" i="1">
                          <a:solidFill>
                            <a:schemeClr val="tx1"/>
                          </a:solidFill>
                          <a:cs typeface="Arial"/>
                        </a:rPr>
                        <a:t>3:00 pm – 4:00 pm</a:t>
                      </a:r>
                      <a:endParaRPr lang="en-US" sz="1200">
                        <a:solidFill>
                          <a:schemeClr val="tx1"/>
                        </a:solidFill>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0" i="0"/>
                    </a:p>
                  </a:txBody>
                  <a:tcPr>
                    <a:solidFill>
                      <a:srgbClr val="E7EDF5"/>
                    </a:solidFill>
                  </a:tcPr>
                </a:tc>
                <a:tc>
                  <a:txBody>
                    <a:bodyPr/>
                    <a:lstStyle/>
                    <a:p>
                      <a:pPr>
                        <a:spcBef>
                          <a:spcPts val="0"/>
                        </a:spcBef>
                        <a:spcAft>
                          <a:spcPts val="0"/>
                        </a:spcAft>
                        <a:defRPr/>
                      </a:pPr>
                      <a:r>
                        <a:rPr lang="en-US" sz="1200">
                          <a:solidFill>
                            <a:srgbClr val="1214ED"/>
                          </a:solidFill>
                          <a:latin typeface="+mn-lt"/>
                          <a:cs typeface="Arial"/>
                          <a:hlinkClick r:id="rId14">
                            <a:extLst>
                              <a:ext uri="{A12FA001-AC4F-418D-AE19-62706E023703}">
                                <ahyp:hlinkClr xmlns:ahyp="http://schemas.microsoft.com/office/drawing/2018/hyperlinkcolor" val="tx"/>
                              </a:ext>
                            </a:extLst>
                          </a:hlinkClick>
                        </a:rPr>
                        <a:t>My Turn and m</a:t>
                      </a:r>
                      <a:r>
                        <a:rPr lang="en-US" sz="1200">
                          <a:solidFill>
                            <a:srgbClr val="1215EC"/>
                          </a:solidFill>
                          <a:latin typeface="+mn-lt"/>
                          <a:cs typeface="Arial"/>
                          <a:hlinkClick r:id="rId14">
                            <a:extLst>
                              <a:ext uri="{A12FA001-AC4F-418D-AE19-62706E023703}">
                                <ahyp:hlinkClr xmlns:ahyp="http://schemas.microsoft.com/office/drawing/2018/hyperlinkcolor" val="tx"/>
                              </a:ext>
                            </a:extLst>
                          </a:hlinkClick>
                        </a:rPr>
                        <a:t>yCAv</a:t>
                      </a:r>
                      <a:r>
                        <a:rPr lang="en-US" sz="1200">
                          <a:solidFill>
                            <a:srgbClr val="1214ED"/>
                          </a:solidFill>
                          <a:latin typeface="+mn-lt"/>
                          <a:cs typeface="Arial"/>
                          <a:hlinkClick r:id="rId14">
                            <a:extLst>
                              <a:ext uri="{A12FA001-AC4F-418D-AE19-62706E023703}">
                                <ahyp:hlinkClr xmlns:ahyp="http://schemas.microsoft.com/office/drawing/2018/hyperlinkcolor" val="tx"/>
                              </a:ext>
                            </a:extLst>
                          </a:hlinkClick>
                        </a:rPr>
                        <a:t>ax Onboarding Office Hours</a:t>
                      </a:r>
                      <a:endParaRPr lang="en-US" sz="1200">
                        <a:latin typeface="+mn-lt"/>
                        <a:cs typeface="Arial"/>
                        <a:hlinkClick r:id="rId15"/>
                      </a:endParaRPr>
                    </a:p>
                    <a:p>
                      <a:pPr>
                        <a:spcBef>
                          <a:spcPts val="0"/>
                        </a:spcBef>
                        <a:spcAft>
                          <a:spcPts val="0"/>
                        </a:spcAft>
                        <a:defRPr/>
                      </a:pPr>
                      <a:r>
                        <a:rPr lang="en-US" sz="1200" i="1">
                          <a:latin typeface="+mn-lt"/>
                        </a:rPr>
                        <a:t>1:00 pm – 2:00 pm </a:t>
                      </a:r>
                    </a:p>
                  </a:txBody>
                  <a:tcPr>
                    <a:solidFill>
                      <a:srgbClr val="E7EDF5"/>
                    </a:solidFill>
                  </a:tcPr>
                </a:tc>
                <a:tc gridSpan="2">
                  <a:txBody>
                    <a:bodyPr/>
                    <a:lstStyle/>
                    <a:p>
                      <a:endParaRPr lang="en-US" sz="1200" b="0"/>
                    </a:p>
                  </a:txBody>
                  <a:tcPr>
                    <a:solidFill>
                      <a:srgbClr val="E7EDF5"/>
                    </a:solidFill>
                  </a:tcPr>
                </a:tc>
                <a:tc hMerge="1">
                  <a:txBody>
                    <a:bodyPr/>
                    <a:lstStyle/>
                    <a:p>
                      <a:endParaRPr lang="en-US"/>
                    </a:p>
                  </a:txBody>
                  <a:tcPr/>
                </a:tc>
                <a:tc>
                  <a:txBody>
                    <a:bodyPr/>
                    <a:lstStyle/>
                    <a:p>
                      <a:pPr rtl="0" fontAlgn="base"/>
                      <a:r>
                        <a:rPr lang="en-US" sz="1200" b="0" i="0" u="none" strike="noStrike" kern="1200">
                          <a:solidFill>
                            <a:schemeClr val="dk1"/>
                          </a:solidFill>
                          <a:effectLst/>
                          <a:latin typeface="+mn-lt"/>
                          <a:ea typeface="+mn-ea"/>
                          <a:cs typeface="+mn-cs"/>
                          <a:hlinkClick r:id="rId16"/>
                        </a:rPr>
                        <a:t>Provider Office Hours</a:t>
                      </a:r>
                      <a:r>
                        <a:rPr lang="en-US" sz="1200" b="0" i="0" u="none" strike="noStrike" kern="1200">
                          <a:solidFill>
                            <a:schemeClr val="dk1"/>
                          </a:solidFill>
                          <a:effectLst/>
                          <a:latin typeface="+mn-lt"/>
                          <a:ea typeface="+mn-ea"/>
                          <a:cs typeface="+mn-cs"/>
                        </a:rPr>
                        <a:t> ​</a:t>
                      </a:r>
                    </a:p>
                    <a:p>
                      <a:pPr rtl="0" fontAlgn="base"/>
                      <a:r>
                        <a:rPr lang="en-US" sz="1200" b="0" i="1" u="none" strike="noStrike" kern="1200">
                          <a:solidFill>
                            <a:schemeClr val="dk1"/>
                          </a:solidFill>
                          <a:effectLst/>
                          <a:latin typeface="+mn-lt"/>
                          <a:ea typeface="+mn-ea"/>
                          <a:cs typeface="+mn-cs"/>
                        </a:rPr>
                        <a:t>9:00 am – 10:00 am</a:t>
                      </a:r>
                      <a:r>
                        <a:rPr lang="en-US" sz="1200" b="0" i="0" u="none" strike="noStrike" kern="1200">
                          <a:solidFill>
                            <a:schemeClr val="dk1"/>
                          </a:solidFill>
                          <a:effectLst/>
                          <a:latin typeface="+mn-lt"/>
                          <a:ea typeface="+mn-ea"/>
                          <a:cs typeface="+mn-cs"/>
                        </a:rPr>
                        <a:t>​</a:t>
                      </a:r>
                    </a:p>
                    <a:p>
                      <a:pPr rtl="0" fontAlgn="base"/>
                      <a:r>
                        <a:rPr lang="en-US" sz="1200" b="0" i="1" u="none" strike="noStrike" kern="1200">
                          <a:solidFill>
                            <a:schemeClr val="dk1"/>
                          </a:solidFill>
                          <a:effectLst/>
                          <a:latin typeface="+mn-lt"/>
                          <a:ea typeface="+mn-ea"/>
                          <a:cs typeface="+mn-cs"/>
                        </a:rPr>
                        <a:t>PW: Immunize2021!</a:t>
                      </a:r>
                      <a:r>
                        <a:rPr lang="en-US" sz="1200" b="0" i="0" u="none" strike="noStrike" kern="1200">
                          <a:solidFill>
                            <a:schemeClr val="dk1"/>
                          </a:solidFill>
                          <a:effectLst/>
                          <a:latin typeface="+mn-lt"/>
                          <a:ea typeface="+mn-ea"/>
                          <a:cs typeface="+mn-cs"/>
                        </a:rPr>
                        <a:t>​</a:t>
                      </a:r>
                    </a:p>
                    <a:p>
                      <a:pPr rtl="0" fontAlgn="base"/>
                      <a:endParaRPr lang="en-US" sz="1200" b="0" i="0" u="none" strike="noStrike" kern="1200">
                        <a:solidFill>
                          <a:schemeClr val="dk1"/>
                        </a:solidFill>
                        <a:effectLst/>
                        <a:latin typeface="+mn-lt"/>
                        <a:ea typeface="+mn-ea"/>
                        <a:cs typeface="+mn-cs"/>
                      </a:endParaRPr>
                    </a:p>
                    <a:p>
                      <a:r>
                        <a:rPr lang="en-US" sz="1200" b="0">
                          <a:solidFill>
                            <a:schemeClr val="tx1"/>
                          </a:solidFill>
                          <a:cs typeface="Arial"/>
                          <a:hlinkClick r:id="rId17"/>
                        </a:rPr>
                        <a:t>Provider COVID-19 Vaccine Booster Dose Town Hall</a:t>
                      </a:r>
                      <a:endParaRPr lang="en-US" sz="1200" b="0">
                        <a:solidFill>
                          <a:schemeClr val="tx1"/>
                        </a:solidFill>
                        <a:cs typeface="Arial"/>
                      </a:endParaRPr>
                    </a:p>
                    <a:p>
                      <a:r>
                        <a:rPr lang="en-US" sz="1200" b="0" i="1">
                          <a:solidFill>
                            <a:schemeClr val="tx1"/>
                          </a:solidFill>
                          <a:cs typeface="Arial"/>
                        </a:rPr>
                        <a:t>3:00 pm – 4:00 pm</a:t>
                      </a:r>
                      <a:endParaRPr lang="en-US" sz="1200">
                        <a:solidFill>
                          <a:schemeClr val="tx1"/>
                        </a:solidFill>
                        <a:cs typeface="Arial"/>
                      </a:endParaRPr>
                    </a:p>
                  </a:txBody>
                  <a:tcPr>
                    <a:solidFill>
                      <a:srgbClr val="E7EDF5"/>
                    </a:solidFill>
                  </a:tcPr>
                </a:tc>
                <a:extLst>
                  <a:ext uri="{0D108BD9-81ED-4DB2-BD59-A6C34878D82A}">
                    <a16:rowId xmlns:a16="http://schemas.microsoft.com/office/drawing/2014/main" val="2119777328"/>
                  </a:ext>
                </a:extLst>
              </a:tr>
              <a:tr h="684875">
                <a:tc>
                  <a:txBody>
                    <a:bodyPr/>
                    <a:lstStyle/>
                    <a:p>
                      <a:r>
                        <a:rPr lang="en-US" sz="1400" b="1"/>
                        <a:t>View On Demand</a:t>
                      </a:r>
                    </a:p>
                  </a:txBody>
                  <a:tcPr>
                    <a:solidFill>
                      <a:srgbClr val="CCD9E8"/>
                    </a:solidFill>
                  </a:tcPr>
                </a:tc>
                <a:tc grid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cs typeface="Arial"/>
                          <a:hlinkClick r:id="rId18"/>
                        </a:rPr>
                        <a:t>Provider 101 Account Enrollment</a:t>
                      </a:r>
                      <a:r>
                        <a:rPr lang="en-US" sz="1200">
                          <a:cs typeface="Arial"/>
                        </a:rPr>
                        <a:t> </a:t>
                      </a:r>
                      <a:r>
                        <a:rPr lang="en-US" sz="1200" i="1">
                          <a:cs typeface="Arial"/>
                        </a:rPr>
                        <a:t>(v. 8/11/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a:hlinkClick r:id="rId18"/>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a:hlinkClick r:id="rId18"/>
                        </a:rPr>
                        <a:t>Introduction to My Turn Onboarding</a:t>
                      </a:r>
                      <a:r>
                        <a:rPr lang="en-US" sz="1200" b="0" u="none"/>
                        <a:t> </a:t>
                      </a:r>
                      <a:r>
                        <a:rPr lang="en-US" sz="1200" i="1">
                          <a:cs typeface="Arial"/>
                        </a:rPr>
                        <a:t>(v. 8/27/21)</a:t>
                      </a:r>
                      <a:endParaRPr lang="en-US" sz="1200" b="0">
                        <a:hlinkClick r:id="rId18"/>
                      </a:endParaRPr>
                    </a:p>
                  </a:txBody>
                  <a:tcPr>
                    <a:solidFill>
                      <a:srgbClr val="CCD9E8"/>
                    </a:solidFill>
                  </a:tcPr>
                </a:tc>
                <a:tc hMerge="1">
                  <a:txBody>
                    <a:bodyPr/>
                    <a:lstStyle/>
                    <a:p>
                      <a:endParaRPr lang="en-US"/>
                    </a:p>
                  </a:txBody>
                  <a:tcPr/>
                </a:tc>
                <a:tc gridSpan="2">
                  <a: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cs typeface="Arial"/>
                          <a:hlinkClick r:id="rId19"/>
                        </a:rPr>
                        <a:t>Vaccine Marketplace </a:t>
                      </a:r>
                      <a:r>
                        <a:rPr lang="en-US" sz="1200" i="1">
                          <a:cs typeface="Arial"/>
                        </a:rPr>
                        <a:t>(v. 8/26/21)</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i="1">
                        <a:cs typeface="Arial"/>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a:cs typeface="Arial"/>
                          <a:hlinkClick r:id="rId20"/>
                        </a:rPr>
                        <a:t>What’s New in myCAvax</a:t>
                      </a:r>
                      <a:r>
                        <a:rPr lang="en-US" sz="1200">
                          <a:cs typeface="Arial"/>
                        </a:rPr>
                        <a:t> </a:t>
                      </a:r>
                      <a:r>
                        <a:rPr lang="en-US" sz="1200" i="1">
                          <a:cs typeface="Arial"/>
                        </a:rPr>
                        <a:t>(v. 8/24/21)</a:t>
                      </a:r>
                    </a:p>
                  </a:txBody>
                  <a:tcPr>
                    <a:solidFill>
                      <a:srgbClr val="CCD9E8"/>
                    </a:solidFill>
                  </a:tcPr>
                </a:tc>
                <a:tc hMerge="1">
                  <a:txBody>
                    <a:bodyPr/>
                    <a:lstStyle/>
                    <a:p>
                      <a:endParaRPr lang="en-US" sz="1200" b="0"/>
                    </a:p>
                  </a:txBody>
                  <a:tcPr/>
                </a:tc>
                <a:tc gridSpan="2">
                  <a:txBody>
                    <a:bodyPr/>
                    <a:lstStyle/>
                    <a:p>
                      <a:pPr marL="171450" indent="-171450">
                        <a:spcBef>
                          <a:spcPts val="0"/>
                        </a:spcBef>
                        <a:spcAft>
                          <a:spcPts val="0"/>
                        </a:spcAft>
                        <a:buFont typeface="Arial" panose="020B0604020202020204" pitchFamily="34" charset="0"/>
                        <a:buChar char="•"/>
                        <a:defRPr/>
                      </a:pPr>
                      <a:r>
                        <a:rPr lang="en-US" sz="1200">
                          <a:cs typeface="Arial"/>
                          <a:hlinkClick r:id="rId21"/>
                        </a:rPr>
                        <a:t>What’s New in myCAvax for Reactivated Providers</a:t>
                      </a:r>
                      <a:r>
                        <a:rPr lang="en-US" sz="1200">
                          <a:cs typeface="Arial"/>
                        </a:rPr>
                        <a:t> </a:t>
                      </a:r>
                      <a:r>
                        <a:rPr lang="en-US" sz="1200" i="1" kern="1200">
                          <a:solidFill>
                            <a:schemeClr val="dk1"/>
                          </a:solidFill>
                          <a:effectLst/>
                          <a:latin typeface="+mn-lt"/>
                          <a:ea typeface="+mn-ea"/>
                          <a:cs typeface="+mn-cs"/>
                        </a:rPr>
                        <a:t>(v. 9/8/21)</a:t>
                      </a:r>
                    </a:p>
                  </a:txBody>
                  <a:tcPr>
                    <a:solidFill>
                      <a:srgbClr val="CCD9E8"/>
                    </a:solidFill>
                  </a:tcPr>
                </a:tc>
                <a:tc hMerge="1">
                  <a:txBody>
                    <a:bodyPr/>
                    <a:lstStyle/>
                    <a:p>
                      <a:pPr rtl="0" fontAlgn="base"/>
                      <a:endParaRPr lang="en-US" sz="1200" b="0" i="0" u="none" strike="noStrike" kern="1200">
                        <a:solidFill>
                          <a:schemeClr val="dk1"/>
                        </a:solidFill>
                        <a:effectLst/>
                        <a:latin typeface="+mn-lt"/>
                        <a:ea typeface="+mn-ea"/>
                        <a:cs typeface="+mn-cs"/>
                      </a:endParaRPr>
                    </a:p>
                  </a:txBody>
                  <a:tcPr/>
                </a:tc>
                <a:extLst>
                  <a:ext uri="{0D108BD9-81ED-4DB2-BD59-A6C34878D82A}">
                    <a16:rowId xmlns:a16="http://schemas.microsoft.com/office/drawing/2014/main" val="3707921282"/>
                  </a:ext>
                </a:extLst>
              </a:tr>
            </a:tbl>
          </a:graphicData>
        </a:graphic>
      </p:graphicFrame>
    </p:spTree>
    <p:extLst>
      <p:ext uri="{BB962C8B-B14F-4D97-AF65-F5344CB8AC3E}">
        <p14:creationId xmlns:p14="http://schemas.microsoft.com/office/powerpoint/2010/main" val="38630518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4CE954-B26E-40AA-8242-7213B66BD3E2}"/>
              </a:ext>
            </a:extLst>
          </p:cNvPr>
          <p:cNvSpPr>
            <a:spLocks noGrp="1"/>
          </p:cNvSpPr>
          <p:nvPr>
            <p:ph type="title"/>
          </p:nvPr>
        </p:nvSpPr>
        <p:spPr>
          <a:xfrm>
            <a:off x="157843" y="65768"/>
            <a:ext cx="6888480" cy="1159911"/>
          </a:xfrm>
        </p:spPr>
        <p:txBody>
          <a:bodyPr>
            <a:normAutofit/>
          </a:bodyPr>
          <a:lstStyle/>
          <a:p>
            <a:r>
              <a:rPr lang="en-US" sz="3200"/>
              <a:t>COVID-19 Vaccine Provider FAQs</a:t>
            </a:r>
            <a:endParaRPr lang="en-US" sz="3200">
              <a:cs typeface="Arial"/>
            </a:endParaRPr>
          </a:p>
        </p:txBody>
      </p:sp>
      <p:sp>
        <p:nvSpPr>
          <p:cNvPr id="4" name="Slide Number Placeholder 3">
            <a:extLst>
              <a:ext uri="{FF2B5EF4-FFF2-40B4-BE49-F238E27FC236}">
                <a16:creationId xmlns:a16="http://schemas.microsoft.com/office/drawing/2014/main" id="{B9044C91-57B1-4635-BF57-FE0AE3169F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D703BF-151A-0D40-8508-CABBAD09F9A9}" type="slidenum">
              <a:rPr kumimoji="0" lang="en-US" sz="1200" b="0" i="0" u="none" strike="noStrike" kern="1200" cap="none" spc="0" normalizeH="0" baseline="0" noProof="0" smtClean="0">
                <a:ln>
                  <a:noFill/>
                </a:ln>
                <a:solidFill>
                  <a:srgbClr val="FFFFFF"/>
                </a:solidFill>
                <a:effectLst/>
                <a:uLnTx/>
                <a:uFillTx/>
                <a:latin typeface="Arial" panose="020B06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2897A85A-F416-4D58-8A07-6CD3CA52E078}"/>
              </a:ext>
            </a:extLst>
          </p:cNvPr>
          <p:cNvSpPr txBox="1"/>
          <p:nvPr/>
        </p:nvSpPr>
        <p:spPr>
          <a:xfrm>
            <a:off x="226404" y="921732"/>
            <a:ext cx="6884493" cy="1313180"/>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0479E"/>
                </a:solidFill>
                <a:effectLst/>
                <a:uLnTx/>
                <a:uFillTx/>
                <a:latin typeface="Arial" panose="020B0604020202020204"/>
                <a:ea typeface="+mn-ea"/>
                <a:cs typeface="+mn-cs"/>
              </a:rPr>
              <a:t>Answers to Provider questions</a:t>
            </a:r>
            <a:endParaRPr kumimoji="0" lang="en-US" sz="2200" b="1" i="0" u="none" strike="noStrike" kern="1200" cap="none" spc="0" normalizeH="0" baseline="0" noProof="0">
              <a:ln>
                <a:noFill/>
              </a:ln>
              <a:solidFill>
                <a:srgbClr val="20479E"/>
              </a:solidFill>
              <a:effectLst/>
              <a:uLnTx/>
              <a:uFillTx/>
              <a:latin typeface="Arial" panose="020B0604020202020204"/>
              <a:ea typeface="+mn-ea"/>
              <a:cs typeface="Arial" panose="020B0604020202020204"/>
            </a:endParaRP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0479E"/>
                </a:solidFill>
                <a:effectLst/>
                <a:uLnTx/>
                <a:uFillTx/>
                <a:latin typeface="Arial" panose="020B0604020202020204"/>
                <a:ea typeface="+mn-ea"/>
                <a:cs typeface="+mn-cs"/>
              </a:rPr>
              <a:t>Updated weekly: Last updated </a:t>
            </a:r>
            <a:r>
              <a:rPr lang="en-US" sz="2200" b="1">
                <a:solidFill>
                  <a:srgbClr val="20479E"/>
                </a:solidFill>
                <a:latin typeface="Arial" panose="020B0604020202020204"/>
              </a:rPr>
              <a:t>09.16.2021</a:t>
            </a:r>
            <a:endParaRPr kumimoji="0" lang="en-US" sz="2200" b="1" i="0" u="none" strike="noStrike" kern="1200" cap="none" spc="0" normalizeH="0" baseline="0" noProof="0">
              <a:ln>
                <a:noFill/>
              </a:ln>
              <a:solidFill>
                <a:srgbClr val="20479E"/>
              </a:solidFill>
              <a:effectLst/>
              <a:uLnTx/>
              <a:uFillTx/>
              <a:latin typeface="Arial" panose="020B0604020202020204"/>
              <a:ea typeface="+mn-ea"/>
              <a:cs typeface="Arial"/>
            </a:endParaRPr>
          </a:p>
          <a:p>
            <a:pPr marL="285750" marR="0" lvl="0" indent="-285750" algn="l" defTabSz="914400" rtl="0" eaLnBrk="1" fontAlgn="auto" latinLnBrk="0" hangingPunct="1">
              <a:lnSpc>
                <a:spcPct val="100000"/>
              </a:lnSpc>
              <a:spcBef>
                <a:spcPts val="800"/>
              </a:spcBef>
              <a:spcAft>
                <a:spcPts val="0"/>
              </a:spcAft>
              <a:buClrTx/>
              <a:buSzTx/>
              <a:buFont typeface="Arial" panose="020B0604020202020204" pitchFamily="34" charset="0"/>
              <a:buChar char="•"/>
              <a:tabLst/>
              <a:defRPr/>
            </a:pPr>
            <a:r>
              <a:rPr kumimoji="0" lang="en-US" sz="2200" b="1" i="0" u="none" strike="noStrike" kern="1200" cap="none" spc="0" normalizeH="0" baseline="0" noProof="0">
                <a:ln>
                  <a:noFill/>
                </a:ln>
                <a:solidFill>
                  <a:srgbClr val="20479E"/>
                </a:solidFill>
                <a:effectLst/>
                <a:uLnTx/>
                <a:uFillTx/>
                <a:latin typeface="Arial" panose="020B0604020202020204"/>
                <a:ea typeface="+mn-ea"/>
                <a:cs typeface="+mn-cs"/>
              </a:rPr>
              <a:t>Currently in its </a:t>
            </a:r>
            <a:r>
              <a:rPr lang="en-US" sz="2200" b="1">
                <a:solidFill>
                  <a:srgbClr val="20479E"/>
                </a:solidFill>
                <a:latin typeface="Arial" panose="020B0604020202020204"/>
              </a:rPr>
              <a:t>37th</a:t>
            </a:r>
            <a:r>
              <a:rPr kumimoji="0" lang="en-US" sz="2200" b="1" i="0" u="none" strike="noStrike" kern="1200" cap="none" spc="0" normalizeH="0" baseline="0" noProof="0">
                <a:ln>
                  <a:noFill/>
                </a:ln>
                <a:solidFill>
                  <a:srgbClr val="20479E"/>
                </a:solidFill>
                <a:effectLst/>
                <a:uLnTx/>
                <a:uFillTx/>
                <a:latin typeface="Arial" panose="020B0604020202020204"/>
                <a:ea typeface="+mn-ea"/>
                <a:cs typeface="+mn-cs"/>
              </a:rPr>
              <a:t> iteration!</a:t>
            </a:r>
            <a:endParaRPr kumimoji="0" lang="en-US" sz="2200" b="1" i="0" u="none" strike="noStrike" kern="1200" cap="none" spc="0" normalizeH="0" baseline="0" noProof="0">
              <a:ln>
                <a:noFill/>
              </a:ln>
              <a:solidFill>
                <a:srgbClr val="20479E"/>
              </a:solidFill>
              <a:effectLst/>
              <a:uLnTx/>
              <a:uFillTx/>
              <a:latin typeface="Arial" panose="020B0604020202020204"/>
              <a:ea typeface="+mn-ea"/>
              <a:cs typeface="Arial"/>
            </a:endParaRPr>
          </a:p>
        </p:txBody>
      </p:sp>
      <p:sp>
        <p:nvSpPr>
          <p:cNvPr id="8" name="TextBox 7">
            <a:extLst>
              <a:ext uri="{FF2B5EF4-FFF2-40B4-BE49-F238E27FC236}">
                <a16:creationId xmlns:a16="http://schemas.microsoft.com/office/drawing/2014/main" id="{21AE6718-7176-4F78-999D-F030777E290B}"/>
              </a:ext>
            </a:extLst>
          </p:cNvPr>
          <p:cNvSpPr txBox="1"/>
          <p:nvPr/>
        </p:nvSpPr>
        <p:spPr>
          <a:xfrm>
            <a:off x="8043316" y="6275606"/>
            <a:ext cx="3089683"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37D20"/>
                </a:solidFill>
                <a:effectLst/>
                <a:uLnTx/>
                <a:uFillTx/>
                <a:latin typeface="Arial" panose="020B0604020202020204"/>
                <a:ea typeface="+mn-lt"/>
                <a:cs typeface="Arial" panose="020B0604020202020204"/>
                <a:hlinkClick r:id="rId3">
                  <a:extLst>
                    <a:ext uri="{A12FA001-AC4F-418D-AE19-62706E023703}">
                      <ahyp:hlinkClr xmlns:ahyp="http://schemas.microsoft.com/office/drawing/2018/hyperlinkcolor" val="tx"/>
                    </a:ext>
                  </a:extLst>
                </a:hlinkClick>
              </a:rPr>
              <a:t>Provider FAQs on EZIZ</a:t>
            </a:r>
            <a:endParaRPr kumimoji="0" lang="en-US" sz="2000" b="1" i="0" u="none" strike="noStrike" kern="1200" cap="none" spc="0" normalizeH="0" baseline="0" noProof="0">
              <a:ln>
                <a:noFill/>
              </a:ln>
              <a:solidFill>
                <a:srgbClr val="F37D20"/>
              </a:solidFill>
              <a:effectLst/>
              <a:uLnTx/>
              <a:uFillTx/>
              <a:latin typeface="Arial" panose="020B0604020202020204"/>
              <a:ea typeface="+mn-lt"/>
              <a:cs typeface="Arial" panose="020B0604020202020204"/>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a:ea typeface="+mn-ea"/>
              <a:cs typeface="Arial"/>
            </a:endParaRPr>
          </a:p>
        </p:txBody>
      </p:sp>
      <p:pic>
        <p:nvPicPr>
          <p:cNvPr id="7" name="Picture 6">
            <a:extLst>
              <a:ext uri="{FF2B5EF4-FFF2-40B4-BE49-F238E27FC236}">
                <a16:creationId xmlns:a16="http://schemas.microsoft.com/office/drawing/2014/main" id="{21485061-8166-4A64-A19B-56BA75D80124}"/>
              </a:ext>
            </a:extLst>
          </p:cNvPr>
          <p:cNvPicPr>
            <a:picLocks noChangeAspect="1"/>
          </p:cNvPicPr>
          <p:nvPr/>
        </p:nvPicPr>
        <p:blipFill>
          <a:blip r:embed="rId4"/>
          <a:stretch>
            <a:fillRect/>
          </a:stretch>
        </p:blipFill>
        <p:spPr>
          <a:xfrm>
            <a:off x="226404" y="2344051"/>
            <a:ext cx="6035563" cy="1493649"/>
          </a:xfrm>
          <a:prstGeom prst="rect">
            <a:avLst/>
          </a:prstGeom>
        </p:spPr>
      </p:pic>
      <p:pic>
        <p:nvPicPr>
          <p:cNvPr id="16" name="Picture 15">
            <a:extLst>
              <a:ext uri="{FF2B5EF4-FFF2-40B4-BE49-F238E27FC236}">
                <a16:creationId xmlns:a16="http://schemas.microsoft.com/office/drawing/2014/main" id="{F7F7FFA9-C076-4878-AA6C-B67D6D357D9D}"/>
              </a:ext>
            </a:extLst>
          </p:cNvPr>
          <p:cNvPicPr>
            <a:picLocks noChangeAspect="1"/>
          </p:cNvPicPr>
          <p:nvPr/>
        </p:nvPicPr>
        <p:blipFill>
          <a:blip r:embed="rId5"/>
          <a:stretch>
            <a:fillRect/>
          </a:stretch>
        </p:blipFill>
        <p:spPr>
          <a:xfrm>
            <a:off x="7179458" y="365126"/>
            <a:ext cx="4227756" cy="5486400"/>
          </a:xfrm>
          <a:prstGeom prst="rect">
            <a:avLst/>
          </a:prstGeom>
          <a:effectLst>
            <a:outerShdw blurRad="50800" dist="38100" dir="2700000" algn="tl" rotWithShape="0">
              <a:prstClr val="black">
                <a:alpha val="40000"/>
              </a:prstClr>
            </a:outerShdw>
          </a:effectLst>
        </p:spPr>
      </p:pic>
      <p:pic>
        <p:nvPicPr>
          <p:cNvPr id="3" name="Picture 4">
            <a:extLst>
              <a:ext uri="{FF2B5EF4-FFF2-40B4-BE49-F238E27FC236}">
                <a16:creationId xmlns:a16="http://schemas.microsoft.com/office/drawing/2014/main" id="{C110A03D-267E-4127-8F3D-2CCEFED93B6D}"/>
              </a:ext>
            </a:extLst>
          </p:cNvPr>
          <p:cNvPicPr>
            <a:picLocks noChangeAspect="1"/>
          </p:cNvPicPr>
          <p:nvPr/>
        </p:nvPicPr>
        <p:blipFill>
          <a:blip r:embed="rId6"/>
          <a:stretch>
            <a:fillRect/>
          </a:stretch>
        </p:blipFill>
        <p:spPr>
          <a:xfrm>
            <a:off x="573505" y="4002736"/>
            <a:ext cx="6272462" cy="1933532"/>
          </a:xfrm>
          <a:prstGeom prst="rect">
            <a:avLst/>
          </a:prstGeom>
        </p:spPr>
      </p:pic>
    </p:spTree>
    <p:extLst>
      <p:ext uri="{BB962C8B-B14F-4D97-AF65-F5344CB8AC3E}">
        <p14:creationId xmlns:p14="http://schemas.microsoft.com/office/powerpoint/2010/main" val="110684418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5047DB-94FB-4932-9382-836711A965F4}"/>
              </a:ext>
            </a:extLst>
          </p:cNvPr>
          <p:cNvSpPr>
            <a:spLocks noGrp="1"/>
          </p:cNvSpPr>
          <p:nvPr>
            <p:ph type="title"/>
          </p:nvPr>
        </p:nvSpPr>
        <p:spPr>
          <a:xfrm>
            <a:off x="697832" y="-76033"/>
            <a:ext cx="10515600" cy="1325563"/>
          </a:xfrm>
        </p:spPr>
        <p:txBody>
          <a:bodyPr>
            <a:normAutofit/>
          </a:bodyPr>
          <a:lstStyle/>
          <a:p>
            <a:r>
              <a:rPr lang="en-US" sz="3600">
                <a:cs typeface="Arial"/>
              </a:rPr>
              <a:t>Capacity Survey: Your Participation Needed!</a:t>
            </a:r>
            <a:endParaRPr lang="en-US" sz="3600"/>
          </a:p>
        </p:txBody>
      </p:sp>
      <p:sp>
        <p:nvSpPr>
          <p:cNvPr id="3" name="Content Placeholder 2">
            <a:extLst>
              <a:ext uri="{FF2B5EF4-FFF2-40B4-BE49-F238E27FC236}">
                <a16:creationId xmlns:a16="http://schemas.microsoft.com/office/drawing/2014/main" id="{7F829242-B7DD-41C2-A2ED-097BD684718E}"/>
              </a:ext>
            </a:extLst>
          </p:cNvPr>
          <p:cNvSpPr>
            <a:spLocks noGrp="1"/>
          </p:cNvSpPr>
          <p:nvPr>
            <p:ph idx="1"/>
          </p:nvPr>
        </p:nvSpPr>
        <p:spPr>
          <a:xfrm>
            <a:off x="453382" y="906059"/>
            <a:ext cx="7446160" cy="5253704"/>
          </a:xfrm>
        </p:spPr>
        <p:txBody>
          <a:bodyPr vert="horz" lIns="91440" tIns="45720" rIns="91440" bIns="45720" rtlCol="0" anchor="t">
            <a:normAutofit fontScale="55000" lnSpcReduction="20000"/>
          </a:bodyPr>
          <a:lstStyle/>
          <a:p>
            <a:pPr marL="0" indent="0">
              <a:lnSpc>
                <a:spcPct val="120000"/>
              </a:lnSpc>
              <a:buNone/>
            </a:pPr>
            <a:endParaRPr lang="en-US" sz="2400">
              <a:cs typeface="Arial"/>
            </a:endParaRPr>
          </a:p>
          <a:p>
            <a:pPr marL="0" indent="0">
              <a:lnSpc>
                <a:spcPct val="120000"/>
              </a:lnSpc>
              <a:buNone/>
            </a:pPr>
            <a:r>
              <a:rPr lang="en-US" sz="3300" b="1">
                <a:cs typeface="Arial"/>
              </a:rPr>
              <a:t>Action Required!</a:t>
            </a:r>
            <a:r>
              <a:rPr lang="en-US" sz="3300">
                <a:cs typeface="Arial"/>
              </a:rPr>
              <a:t> </a:t>
            </a:r>
            <a:r>
              <a:rPr lang="en-US" sz="3300" u="sng">
                <a:cs typeface="Arial"/>
              </a:rPr>
              <a:t>We need your help</a:t>
            </a:r>
            <a:r>
              <a:rPr lang="en-US" sz="3300">
                <a:cs typeface="Arial"/>
              </a:rPr>
              <a:t> to prepare for potential increase </a:t>
            </a:r>
            <a:br>
              <a:rPr lang="en-US" sz="3300">
                <a:cs typeface="Arial"/>
              </a:rPr>
            </a:br>
            <a:r>
              <a:rPr lang="en-US" sz="3300">
                <a:cs typeface="Arial"/>
              </a:rPr>
              <a:t>in demand for COVID-19 vaccines!</a:t>
            </a:r>
            <a:endParaRPr lang="en-US" sz="2900">
              <a:cs typeface="Arial"/>
            </a:endParaRPr>
          </a:p>
          <a:p>
            <a:pPr marL="0" indent="0">
              <a:lnSpc>
                <a:spcPct val="120000"/>
              </a:lnSpc>
              <a:buNone/>
            </a:pPr>
            <a:r>
              <a:rPr lang="en-US" sz="3300">
                <a:cs typeface="Arial"/>
              </a:rPr>
              <a:t>Survey for Providers, Multi-County Entities, and Local Health Jurisdictions sent this morning from </a:t>
            </a:r>
            <a:r>
              <a:rPr lang="en-US" sz="3300">
                <a:cs typeface="Arial"/>
                <a:hlinkClick r:id="rId2"/>
              </a:rPr>
              <a:t>COVIDCallCenter@cdph.ca.gov</a:t>
            </a:r>
            <a:r>
              <a:rPr lang="en-US" sz="3300">
                <a:cs typeface="Arial"/>
              </a:rPr>
              <a:t>. </a:t>
            </a:r>
          </a:p>
          <a:p>
            <a:pPr>
              <a:lnSpc>
                <a:spcPct val="120000"/>
              </a:lnSpc>
            </a:pPr>
            <a:r>
              <a:rPr lang="en-US" sz="3300">
                <a:cs typeface="Arial"/>
              </a:rPr>
              <a:t>View </a:t>
            </a:r>
            <a:r>
              <a:rPr lang="en-US" sz="3300">
                <a:cs typeface="Arial"/>
                <a:hlinkClick r:id="rId3"/>
              </a:rPr>
              <a:t>archived message</a:t>
            </a:r>
            <a:r>
              <a:rPr lang="en-US" sz="3300">
                <a:cs typeface="Arial"/>
              </a:rPr>
              <a:t>.</a:t>
            </a:r>
            <a:endParaRPr lang="en-US"/>
          </a:p>
          <a:p>
            <a:pPr marL="0" indent="0">
              <a:lnSpc>
                <a:spcPct val="120000"/>
              </a:lnSpc>
              <a:buNone/>
            </a:pPr>
            <a:endParaRPr lang="en-US">
              <a:cs typeface="Arial"/>
            </a:endParaRPr>
          </a:p>
          <a:p>
            <a:pPr marL="0" indent="0">
              <a:lnSpc>
                <a:spcPct val="120000"/>
              </a:lnSpc>
              <a:buNone/>
            </a:pPr>
            <a:r>
              <a:rPr lang="en-US" sz="3400" b="1">
                <a:ea typeface="+mn-lt"/>
                <a:cs typeface="+mn-lt"/>
              </a:rPr>
              <a:t>Upcoming Town Halls for Providers</a:t>
            </a:r>
            <a:endParaRPr lang="en-US" sz="3400">
              <a:cs typeface="Arial"/>
            </a:endParaRPr>
          </a:p>
          <a:p>
            <a:pPr marL="0" indent="0">
              <a:lnSpc>
                <a:spcPct val="120000"/>
              </a:lnSpc>
              <a:buNone/>
            </a:pPr>
            <a:r>
              <a:rPr lang="en-US">
                <a:ea typeface="+mn-lt"/>
                <a:cs typeface="+mn-lt"/>
              </a:rPr>
              <a:t>Led by Dr. Tomás Aragón, CDPH Director and State Public Health Officer, these town halls are to help prepare providers to increase their vaccination capacity. We'll cover:</a:t>
            </a:r>
          </a:p>
          <a:p>
            <a:pPr lvl="1">
              <a:lnSpc>
                <a:spcPct val="120000"/>
              </a:lnSpc>
              <a:buFont typeface="Courier New" panose="020B0604020202020204" pitchFamily="34" charset="0"/>
              <a:buChar char="o"/>
            </a:pPr>
            <a:r>
              <a:rPr lang="en-US">
                <a:ea typeface="+mn-lt"/>
                <a:cs typeface="+mn-lt"/>
              </a:rPr>
              <a:t>Vaccination projections for the next 6-8 months</a:t>
            </a:r>
          </a:p>
          <a:p>
            <a:pPr lvl="1">
              <a:lnSpc>
                <a:spcPct val="120000"/>
              </a:lnSpc>
              <a:buFont typeface="Courier New" panose="020B0604020202020204" pitchFamily="34" charset="0"/>
              <a:buChar char="o"/>
            </a:pPr>
            <a:r>
              <a:rPr lang="en-US">
                <a:ea typeface="+mn-lt"/>
                <a:cs typeface="+mn-lt"/>
              </a:rPr>
              <a:t>Vaccine ordering guidance</a:t>
            </a:r>
          </a:p>
          <a:p>
            <a:pPr lvl="1">
              <a:lnSpc>
                <a:spcPct val="120000"/>
              </a:lnSpc>
              <a:buFont typeface="Courier New" panose="020B0604020202020204" pitchFamily="34" charset="0"/>
              <a:buChar char="o"/>
            </a:pPr>
            <a:r>
              <a:rPr lang="en-US">
                <a:ea typeface="+mn-lt"/>
                <a:cs typeface="+mn-lt"/>
              </a:rPr>
              <a:t>Steps to prepare clinics for the increased vaccine demand</a:t>
            </a:r>
            <a:endParaRPr lang="en-US">
              <a:cs typeface="Arial"/>
            </a:endParaRPr>
          </a:p>
          <a:p>
            <a:pPr>
              <a:lnSpc>
                <a:spcPct val="120000"/>
              </a:lnSpc>
            </a:pPr>
            <a:r>
              <a:rPr lang="en-US">
                <a:ea typeface="+mn-lt"/>
                <a:cs typeface="+mn-lt"/>
              </a:rPr>
              <a:t>Tuesday, September 21, from 3 PM - 4 PM  </a:t>
            </a:r>
            <a:r>
              <a:rPr lang="en-US" b="1">
                <a:ea typeface="+mn-lt"/>
                <a:cs typeface="+mn-lt"/>
                <a:hlinkClick r:id="rId4"/>
              </a:rPr>
              <a:t>Click here to register</a:t>
            </a:r>
            <a:r>
              <a:rPr lang="en-US">
                <a:ea typeface="+mn-lt"/>
                <a:cs typeface="+mn-lt"/>
                <a:hlinkClick r:id="rId4"/>
              </a:rPr>
              <a:t> </a:t>
            </a:r>
            <a:r>
              <a:rPr lang="en-US">
                <a:ea typeface="+mn-lt"/>
                <a:cs typeface="+mn-lt"/>
              </a:rPr>
              <a:t> </a:t>
            </a:r>
            <a:endParaRPr lang="en-US">
              <a:cs typeface="Arial"/>
            </a:endParaRPr>
          </a:p>
          <a:p>
            <a:pPr>
              <a:lnSpc>
                <a:spcPct val="120000"/>
              </a:lnSpc>
            </a:pPr>
            <a:r>
              <a:rPr lang="en-US">
                <a:ea typeface="+mn-lt"/>
                <a:cs typeface="+mn-lt"/>
              </a:rPr>
              <a:t>Friday, September 24, from 3 PM - 4 PM  </a:t>
            </a:r>
            <a:r>
              <a:rPr lang="en-US" b="1">
                <a:ea typeface="+mn-lt"/>
                <a:cs typeface="+mn-lt"/>
                <a:hlinkClick r:id="rId5"/>
              </a:rPr>
              <a:t>Click here to register</a:t>
            </a:r>
            <a:endParaRPr lang="en-US">
              <a:cs typeface="Arial"/>
            </a:endParaRPr>
          </a:p>
          <a:p>
            <a:pPr marL="0" indent="0">
              <a:lnSpc>
                <a:spcPct val="120000"/>
              </a:lnSpc>
              <a:buNone/>
            </a:pPr>
            <a:endParaRPr lang="en-US">
              <a:cs typeface="Arial"/>
            </a:endParaRPr>
          </a:p>
        </p:txBody>
      </p:sp>
      <p:sp>
        <p:nvSpPr>
          <p:cNvPr id="4" name="Slide Number Placeholder 3">
            <a:extLst>
              <a:ext uri="{FF2B5EF4-FFF2-40B4-BE49-F238E27FC236}">
                <a16:creationId xmlns:a16="http://schemas.microsoft.com/office/drawing/2014/main" id="{7A4363CE-4F4A-4CE1-B1FE-48A9A642E5CB}"/>
              </a:ext>
            </a:extLst>
          </p:cNvPr>
          <p:cNvSpPr>
            <a:spLocks noGrp="1"/>
          </p:cNvSpPr>
          <p:nvPr>
            <p:ph type="sldNum" sz="quarter" idx="12"/>
          </p:nvPr>
        </p:nvSpPr>
        <p:spPr/>
        <p:txBody>
          <a:bodyPr/>
          <a:lstStyle/>
          <a:p>
            <a:fld id="{13D703BF-151A-0D40-8508-CABBAD09F9A9}" type="slidenum">
              <a:rPr lang="en-US" smtClean="0"/>
              <a:t>9</a:t>
            </a:fld>
            <a:endParaRPr lang="en-US"/>
          </a:p>
        </p:txBody>
      </p:sp>
      <p:pic>
        <p:nvPicPr>
          <p:cNvPr id="8" name="Picture 7" descr="Graphical user interface, text, application, email&#10;&#10;Description automatically generated">
            <a:extLst>
              <a:ext uri="{FF2B5EF4-FFF2-40B4-BE49-F238E27FC236}">
                <a16:creationId xmlns:a16="http://schemas.microsoft.com/office/drawing/2014/main" id="{D95F0E7E-E95D-AD4A-937D-6C9E33E148BB}"/>
              </a:ext>
            </a:extLst>
          </p:cNvPr>
          <p:cNvPicPr>
            <a:picLocks noChangeAspect="1"/>
          </p:cNvPicPr>
          <p:nvPr/>
        </p:nvPicPr>
        <p:blipFill rotWithShape="1">
          <a:blip r:embed="rId6">
            <a:extLst>
              <a:ext uri="{28A0092B-C50C-407E-A947-70E740481C1C}">
                <a14:useLocalDpi xmlns:a14="http://schemas.microsoft.com/office/drawing/2010/main" val="0"/>
              </a:ext>
            </a:extLst>
          </a:blip>
          <a:srcRect r="3423"/>
          <a:stretch/>
        </p:blipFill>
        <p:spPr>
          <a:xfrm>
            <a:off x="7896618" y="1249530"/>
            <a:ext cx="4109635" cy="4470339"/>
          </a:xfrm>
          <a:prstGeom prst="rect">
            <a:avLst/>
          </a:prstGeom>
          <a:ln>
            <a:solidFill>
              <a:schemeClr val="bg1">
                <a:lumMod val="85000"/>
              </a:schemeClr>
            </a:solidFill>
          </a:ln>
          <a:effectLst>
            <a:outerShdw blurRad="50800" dist="38100" dir="2700000" sx="101000" sy="101000" algn="tl" rotWithShape="0">
              <a:prstClr val="black">
                <a:alpha val="40000"/>
              </a:prstClr>
            </a:outerShdw>
          </a:effectLst>
        </p:spPr>
      </p:pic>
    </p:spTree>
    <p:extLst>
      <p:ext uri="{BB962C8B-B14F-4D97-AF65-F5344CB8AC3E}">
        <p14:creationId xmlns:p14="http://schemas.microsoft.com/office/powerpoint/2010/main" val="284138113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002.xml><?xml version="1.0" encoding="utf-8"?>
<p:tagLst xmlns:a="http://schemas.openxmlformats.org/drawingml/2006/main" xmlns:r="http://schemas.openxmlformats.org/officeDocument/2006/relationships" xmlns:p="http://schemas.openxmlformats.org/presentationml/2006/main">
  <p:tag name="SHAPENAME" val="5. Source"/>
</p:tagLst>
</file>

<file path=ppt/tags/tag10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07.xml><?xml version="1.0" encoding="utf-8"?>
<p:tagLst xmlns:a="http://schemas.openxmlformats.org/drawingml/2006/main" xmlns:r="http://schemas.openxmlformats.org/officeDocument/2006/relationships" xmlns:p="http://schemas.openxmlformats.org/presentationml/2006/main">
  <p:tag name="SHAPENAME" val="5. Source"/>
</p:tagLst>
</file>

<file path=ppt/tags/tag10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SHAPENAME" val="5. Source"/>
</p:tagLst>
</file>

<file path=ppt/tags/tag10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3.xml><?xml version="1.0" encoding="utf-8"?>
<p:tagLst xmlns:a="http://schemas.openxmlformats.org/drawingml/2006/main" xmlns:r="http://schemas.openxmlformats.org/officeDocument/2006/relationships" xmlns:p="http://schemas.openxmlformats.org/presentationml/2006/main">
  <p:tag name="SHAPENAME" val="5. Source"/>
</p:tagLst>
</file>

<file path=ppt/tags/tag10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19.xml><?xml version="1.0" encoding="utf-8"?>
<p:tagLst xmlns:a="http://schemas.openxmlformats.org/drawingml/2006/main" xmlns:r="http://schemas.openxmlformats.org/officeDocument/2006/relationships" xmlns:p="http://schemas.openxmlformats.org/presentationml/2006/main">
  <p:tag name="SHAPENAME" val="5. Source"/>
</p:tagLst>
</file>

<file path=ppt/tags/tag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25.xml><?xml version="1.0" encoding="utf-8"?>
<p:tagLst xmlns:a="http://schemas.openxmlformats.org/drawingml/2006/main" xmlns:r="http://schemas.openxmlformats.org/officeDocument/2006/relationships" xmlns:p="http://schemas.openxmlformats.org/presentationml/2006/main">
  <p:tag name="SHAPENAME" val="5. Source"/>
</p:tagLst>
</file>

<file path=ppt/tags/tag10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1.xml><?xml version="1.0" encoding="utf-8"?>
<p:tagLst xmlns:a="http://schemas.openxmlformats.org/drawingml/2006/main" xmlns:r="http://schemas.openxmlformats.org/officeDocument/2006/relationships" xmlns:p="http://schemas.openxmlformats.org/presentationml/2006/main">
  <p:tag name="SHAPENAME" val="5. Source"/>
</p:tagLst>
</file>

<file path=ppt/tags/tag10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37.xml><?xml version="1.0" encoding="utf-8"?>
<p:tagLst xmlns:a="http://schemas.openxmlformats.org/drawingml/2006/main" xmlns:r="http://schemas.openxmlformats.org/officeDocument/2006/relationships" xmlns:p="http://schemas.openxmlformats.org/presentationml/2006/main">
  <p:tag name="SHAPENAME" val="5. Source"/>
</p:tagLst>
</file>

<file path=ppt/tags/tag10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10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3.xml><?xml version="1.0" encoding="utf-8"?>
<p:tagLst xmlns:a="http://schemas.openxmlformats.org/drawingml/2006/main" xmlns:r="http://schemas.openxmlformats.org/officeDocument/2006/relationships" xmlns:p="http://schemas.openxmlformats.org/presentationml/2006/main">
  <p:tag name="SHAPENAME" val="5. Source"/>
</p:tagLst>
</file>

<file path=ppt/tags/tag10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49.xml><?xml version="1.0" encoding="utf-8"?>
<p:tagLst xmlns:a="http://schemas.openxmlformats.org/drawingml/2006/main" xmlns:r="http://schemas.openxmlformats.org/officeDocument/2006/relationships" xmlns:p="http://schemas.openxmlformats.org/presentationml/2006/main">
  <p:tag name="SHAPENAME" val="5. Source"/>
</p:tagLst>
</file>

<file path=ppt/tags/tag105.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10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55.xml><?xml version="1.0" encoding="utf-8"?>
<p:tagLst xmlns:a="http://schemas.openxmlformats.org/drawingml/2006/main" xmlns:r="http://schemas.openxmlformats.org/officeDocument/2006/relationships" xmlns:p="http://schemas.openxmlformats.org/presentationml/2006/main">
  <p:tag name="SHAPENAME" val="5. Source"/>
</p:tagLst>
</file>

<file path=ppt/tags/tag10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xml><?xml version="1.0" encoding="utf-8"?>
<p:tagLst xmlns:a="http://schemas.openxmlformats.org/drawingml/2006/main" xmlns:r="http://schemas.openxmlformats.org/officeDocument/2006/relationships" xmlns:p="http://schemas.openxmlformats.org/presentationml/2006/main">
  <p:tag name="SHAPENAME" val="Subtitle"/>
</p:tagLst>
</file>

<file path=ppt/tags/tag10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1.xml><?xml version="1.0" encoding="utf-8"?>
<p:tagLst xmlns:a="http://schemas.openxmlformats.org/drawingml/2006/main" xmlns:r="http://schemas.openxmlformats.org/officeDocument/2006/relationships" xmlns:p="http://schemas.openxmlformats.org/presentationml/2006/main">
  <p:tag name="SHAPENAME" val="5. Source"/>
</p:tagLst>
</file>

<file path=ppt/tags/tag10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67.xml><?xml version="1.0" encoding="utf-8"?>
<p:tagLst xmlns:a="http://schemas.openxmlformats.org/drawingml/2006/main" xmlns:r="http://schemas.openxmlformats.org/officeDocument/2006/relationships" xmlns:p="http://schemas.openxmlformats.org/presentationml/2006/main">
  <p:tag name="SHAPENAME" val="5. Source"/>
</p:tagLst>
</file>

<file path=ppt/tags/tag10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SHAPENAME" val="Title"/>
</p:tagLst>
</file>

<file path=ppt/tags/tag10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3.xml><?xml version="1.0" encoding="utf-8"?>
<p:tagLst xmlns:a="http://schemas.openxmlformats.org/drawingml/2006/main" xmlns:r="http://schemas.openxmlformats.org/officeDocument/2006/relationships" xmlns:p="http://schemas.openxmlformats.org/presentationml/2006/main">
  <p:tag name="SHAPENAME" val="5. Source"/>
</p:tagLst>
</file>

<file path=ppt/tags/tag10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79.xml><?xml version="1.0" encoding="utf-8"?>
<p:tagLst xmlns:a="http://schemas.openxmlformats.org/drawingml/2006/main" xmlns:r="http://schemas.openxmlformats.org/officeDocument/2006/relationships" xmlns:p="http://schemas.openxmlformats.org/presentationml/2006/main">
  <p:tag name="SHAPENAME" val="5. Sourc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85.xml><?xml version="1.0" encoding="utf-8"?>
<p:tagLst xmlns:a="http://schemas.openxmlformats.org/drawingml/2006/main" xmlns:r="http://schemas.openxmlformats.org/officeDocument/2006/relationships" xmlns:p="http://schemas.openxmlformats.org/presentationml/2006/main">
  <p:tag name="SHAPENAME" val="5. Source"/>
</p:tagLst>
</file>

<file path=ppt/tags/tag10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0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1.xml><?xml version="1.0" encoding="utf-8"?>
<p:tagLst xmlns:a="http://schemas.openxmlformats.org/drawingml/2006/main" xmlns:r="http://schemas.openxmlformats.org/officeDocument/2006/relationships" xmlns:p="http://schemas.openxmlformats.org/presentationml/2006/main">
  <p:tag name="SHAPENAME" val="5. Source"/>
</p:tagLst>
</file>

<file path=ppt/tags/tag10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0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0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097.xml><?xml version="1.0" encoding="utf-8"?>
<p:tagLst xmlns:a="http://schemas.openxmlformats.org/drawingml/2006/main" xmlns:r="http://schemas.openxmlformats.org/officeDocument/2006/relationships" xmlns:p="http://schemas.openxmlformats.org/presentationml/2006/main">
  <p:tag name="SHAPENAME" val="5. Source"/>
</p:tagLst>
</file>

<file path=ppt/tags/tag10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0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0.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03.xml><?xml version="1.0" encoding="utf-8"?>
<p:tagLst xmlns:a="http://schemas.openxmlformats.org/drawingml/2006/main" xmlns:r="http://schemas.openxmlformats.org/officeDocument/2006/relationships" xmlns:p="http://schemas.openxmlformats.org/presentationml/2006/main">
  <p:tag name="SHAPENAME" val="5. Source"/>
</p:tagLst>
</file>

<file path=ppt/tags/tag11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09.xml><?xml version="1.0" encoding="utf-8"?>
<p:tagLst xmlns:a="http://schemas.openxmlformats.org/drawingml/2006/main" xmlns:r="http://schemas.openxmlformats.org/officeDocument/2006/relationships" xmlns:p="http://schemas.openxmlformats.org/presentationml/2006/main">
  <p:tag name="SHAPENAME" val="5. Source"/>
</p:tagLst>
</file>

<file path=ppt/tags/tag111.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15.xml><?xml version="1.0" encoding="utf-8"?>
<p:tagLst xmlns:a="http://schemas.openxmlformats.org/drawingml/2006/main" xmlns:r="http://schemas.openxmlformats.org/officeDocument/2006/relationships" xmlns:p="http://schemas.openxmlformats.org/presentationml/2006/main">
  <p:tag name="SHAPENAME" val="5. Source"/>
</p:tagLst>
</file>

<file path=ppt/tags/tag11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1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1.xml><?xml version="1.0" encoding="utf-8"?>
<p:tagLst xmlns:a="http://schemas.openxmlformats.org/drawingml/2006/main" xmlns:r="http://schemas.openxmlformats.org/officeDocument/2006/relationships" xmlns:p="http://schemas.openxmlformats.org/presentationml/2006/main">
  <p:tag name="SHAPENAME" val="5. Source"/>
</p:tagLst>
</file>

<file path=ppt/tags/tag11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27.xml><?xml version="1.0" encoding="utf-8"?>
<p:tagLst xmlns:a="http://schemas.openxmlformats.org/drawingml/2006/main" xmlns:r="http://schemas.openxmlformats.org/officeDocument/2006/relationships" xmlns:p="http://schemas.openxmlformats.org/presentationml/2006/main">
  <p:tag name="SHAPENAME" val="5. Source"/>
</p:tagLst>
</file>

<file path=ppt/tags/tag11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SHAPENAME" val="5. Source"/>
</p:tagLst>
</file>

<file path=ppt/tags/tag11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3.xml><?xml version="1.0" encoding="utf-8"?>
<p:tagLst xmlns:a="http://schemas.openxmlformats.org/drawingml/2006/main" xmlns:r="http://schemas.openxmlformats.org/officeDocument/2006/relationships" xmlns:p="http://schemas.openxmlformats.org/presentationml/2006/main">
  <p:tag name="SHAPENAME" val="5. Source"/>
</p:tagLst>
</file>

<file path=ppt/tags/tag11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39.xml><?xml version="1.0" encoding="utf-8"?>
<p:tagLst xmlns:a="http://schemas.openxmlformats.org/drawingml/2006/main" xmlns:r="http://schemas.openxmlformats.org/officeDocument/2006/relationships" xmlns:p="http://schemas.openxmlformats.org/presentationml/2006/main">
  <p:tag name="SHAPENAME" val="5. Source"/>
</p:tagLst>
</file>

<file path=ppt/tags/tag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45.xml><?xml version="1.0" encoding="utf-8"?>
<p:tagLst xmlns:a="http://schemas.openxmlformats.org/drawingml/2006/main" xmlns:r="http://schemas.openxmlformats.org/officeDocument/2006/relationships" xmlns:p="http://schemas.openxmlformats.org/presentationml/2006/main">
  <p:tag name="SHAPENAME" val="5. Source"/>
</p:tagLst>
</file>

<file path=ppt/tags/tag11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1.xml><?xml version="1.0" encoding="utf-8"?>
<p:tagLst xmlns:a="http://schemas.openxmlformats.org/drawingml/2006/main" xmlns:r="http://schemas.openxmlformats.org/officeDocument/2006/relationships" xmlns:p="http://schemas.openxmlformats.org/presentationml/2006/main">
  <p:tag name="SHAPENAME" val="5. Source"/>
</p:tagLst>
</file>

<file path=ppt/tags/tag11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57.xml><?xml version="1.0" encoding="utf-8"?>
<p:tagLst xmlns:a="http://schemas.openxmlformats.org/drawingml/2006/main" xmlns:r="http://schemas.openxmlformats.org/officeDocument/2006/relationships" xmlns:p="http://schemas.openxmlformats.org/presentationml/2006/main">
  <p:tag name="SHAPENAME" val="5. Source"/>
</p:tagLst>
</file>

<file path=ppt/tags/tag11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3.xml><?xml version="1.0" encoding="utf-8"?>
<p:tagLst xmlns:a="http://schemas.openxmlformats.org/drawingml/2006/main" xmlns:r="http://schemas.openxmlformats.org/officeDocument/2006/relationships" xmlns:p="http://schemas.openxmlformats.org/presentationml/2006/main">
  <p:tag name="SHAPENAME" val="5. Source"/>
</p:tagLst>
</file>

<file path=ppt/tags/tag11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69.xml><?xml version="1.0" encoding="utf-8"?>
<p:tagLst xmlns:a="http://schemas.openxmlformats.org/drawingml/2006/main" xmlns:r="http://schemas.openxmlformats.org/officeDocument/2006/relationships" xmlns:p="http://schemas.openxmlformats.org/presentationml/2006/main">
  <p:tag name="SHAPENAME" val="5. Source"/>
</p:tagLst>
</file>

<file path=ppt/tags/tag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75.xml><?xml version="1.0" encoding="utf-8"?>
<p:tagLst xmlns:a="http://schemas.openxmlformats.org/drawingml/2006/main" xmlns:r="http://schemas.openxmlformats.org/officeDocument/2006/relationships" xmlns:p="http://schemas.openxmlformats.org/presentationml/2006/main">
  <p:tag name="SHAPENAME" val="5. Source"/>
</p:tagLst>
</file>

<file path=ppt/tags/tag11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1.xml><?xml version="1.0" encoding="utf-8"?>
<p:tagLst xmlns:a="http://schemas.openxmlformats.org/drawingml/2006/main" xmlns:r="http://schemas.openxmlformats.org/officeDocument/2006/relationships" xmlns:p="http://schemas.openxmlformats.org/presentationml/2006/main">
  <p:tag name="SHAPENAME" val="5. Source"/>
</p:tagLst>
</file>

<file path=ppt/tags/tag11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87.xml><?xml version="1.0" encoding="utf-8"?>
<p:tagLst xmlns:a="http://schemas.openxmlformats.org/drawingml/2006/main" xmlns:r="http://schemas.openxmlformats.org/officeDocument/2006/relationships" xmlns:p="http://schemas.openxmlformats.org/presentationml/2006/main">
  <p:tag name="SHAPENAME" val="5. Source"/>
</p:tagLst>
</file>

<file path=ppt/tags/tag11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SHAPENAME" val="5. Source"/>
</p:tagLst>
</file>

<file path=ppt/tags/tag11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3.xml><?xml version="1.0" encoding="utf-8"?>
<p:tagLst xmlns:a="http://schemas.openxmlformats.org/drawingml/2006/main" xmlns:r="http://schemas.openxmlformats.org/officeDocument/2006/relationships" xmlns:p="http://schemas.openxmlformats.org/presentationml/2006/main">
  <p:tag name="SHAPENAME" val="5. Source"/>
</p:tagLst>
</file>

<file path=ppt/tags/tag11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1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1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199.xml><?xml version="1.0" encoding="utf-8"?>
<p:tagLst xmlns:a="http://schemas.openxmlformats.org/drawingml/2006/main" xmlns:r="http://schemas.openxmlformats.org/officeDocument/2006/relationships" xmlns:p="http://schemas.openxmlformats.org/presentationml/2006/main">
  <p:tag name="SHAPENAME" val="5. Source"/>
</p:tagLst>
</file>

<file path=ppt/tags/tag12.xml><?xml version="1.0" encoding="utf-8"?>
<p:tagLst xmlns:a="http://schemas.openxmlformats.org/drawingml/2006/main" xmlns:r="http://schemas.openxmlformats.org/officeDocument/2006/relationships" xmlns:p="http://schemas.openxmlformats.org/presentationml/2006/main">
  <p:tag name="SHAPENAME" val="5. Source"/>
</p:tagLst>
</file>

<file path=ppt/tags/tag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05.xml><?xml version="1.0" encoding="utf-8"?>
<p:tagLst xmlns:a="http://schemas.openxmlformats.org/drawingml/2006/main" xmlns:r="http://schemas.openxmlformats.org/officeDocument/2006/relationships" xmlns:p="http://schemas.openxmlformats.org/presentationml/2006/main">
  <p:tag name="SHAPENAME" val="5. Source"/>
</p:tagLst>
</file>

<file path=ppt/tags/tag12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1.xml><?xml version="1.0" encoding="utf-8"?>
<p:tagLst xmlns:a="http://schemas.openxmlformats.org/drawingml/2006/main" xmlns:r="http://schemas.openxmlformats.org/officeDocument/2006/relationships" xmlns:p="http://schemas.openxmlformats.org/presentationml/2006/main">
  <p:tag name="SHAPENAME" val="5. Source"/>
</p:tagLst>
</file>

<file path=ppt/tags/tag12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17.xml><?xml version="1.0" encoding="utf-8"?>
<p:tagLst xmlns:a="http://schemas.openxmlformats.org/drawingml/2006/main" xmlns:r="http://schemas.openxmlformats.org/officeDocument/2006/relationships" xmlns:p="http://schemas.openxmlformats.org/presentationml/2006/main">
  <p:tag name="SHAPENAME" val="5. Source"/>
</p:tagLst>
</file>

<file path=ppt/tags/tag12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3.xml><?xml version="1.0" encoding="utf-8"?>
<p:tagLst xmlns:a="http://schemas.openxmlformats.org/drawingml/2006/main" xmlns:r="http://schemas.openxmlformats.org/officeDocument/2006/relationships" xmlns:p="http://schemas.openxmlformats.org/presentationml/2006/main">
  <p:tag name="SHAPENAME" val="5. Source"/>
</p:tagLst>
</file>

<file path=ppt/tags/tag12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29.xml><?xml version="1.0" encoding="utf-8"?>
<p:tagLst xmlns:a="http://schemas.openxmlformats.org/drawingml/2006/main" xmlns:r="http://schemas.openxmlformats.org/officeDocument/2006/relationships" xmlns:p="http://schemas.openxmlformats.org/presentationml/2006/main">
  <p:tag name="SHAPENAME" val="5. Source"/>
</p:tagLst>
</file>

<file path=ppt/tags/tag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35.xml><?xml version="1.0" encoding="utf-8"?>
<p:tagLst xmlns:a="http://schemas.openxmlformats.org/drawingml/2006/main" xmlns:r="http://schemas.openxmlformats.org/officeDocument/2006/relationships" xmlns:p="http://schemas.openxmlformats.org/presentationml/2006/main">
  <p:tag name="SHAPENAME" val="5. Source"/>
</p:tagLst>
</file>

<file path=ppt/tags/tag12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1.xml><?xml version="1.0" encoding="utf-8"?>
<p:tagLst xmlns:a="http://schemas.openxmlformats.org/drawingml/2006/main" xmlns:r="http://schemas.openxmlformats.org/officeDocument/2006/relationships" xmlns:p="http://schemas.openxmlformats.org/presentationml/2006/main">
  <p:tag name="SHAPENAME" val="5. Source"/>
</p:tagLst>
</file>

<file path=ppt/tags/tag12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47.xml><?xml version="1.0" encoding="utf-8"?>
<p:tagLst xmlns:a="http://schemas.openxmlformats.org/drawingml/2006/main" xmlns:r="http://schemas.openxmlformats.org/officeDocument/2006/relationships" xmlns:p="http://schemas.openxmlformats.org/presentationml/2006/main">
  <p:tag name="SHAPENAME" val="5. Source"/>
</p:tagLst>
</file>

<file path=ppt/tags/tag12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2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3.xml><?xml version="1.0" encoding="utf-8"?>
<p:tagLst xmlns:a="http://schemas.openxmlformats.org/drawingml/2006/main" xmlns:r="http://schemas.openxmlformats.org/officeDocument/2006/relationships" xmlns:p="http://schemas.openxmlformats.org/presentationml/2006/main">
  <p:tag name="SHAPENAME" val="5. Source"/>
</p:tagLst>
</file>

<file path=ppt/tags/tag12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59.xml><?xml version="1.0" encoding="utf-8"?>
<p:tagLst xmlns:a="http://schemas.openxmlformats.org/drawingml/2006/main" xmlns:r="http://schemas.openxmlformats.org/officeDocument/2006/relationships" xmlns:p="http://schemas.openxmlformats.org/presentationml/2006/main">
  <p:tag name="SHAPENAME" val="5. Source"/>
</p:tagLst>
</file>

<file path=ppt/tags/tag126.xml><?xml version="1.0" encoding="utf-8"?>
<p:tagLst xmlns:a="http://schemas.openxmlformats.org/drawingml/2006/main" xmlns:r="http://schemas.openxmlformats.org/officeDocument/2006/relationships" xmlns:p="http://schemas.openxmlformats.org/presentationml/2006/main">
  <p:tag name="SHAPENAME" val="5. Source"/>
</p:tagLst>
</file>

<file path=ppt/tags/tag12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65.xml><?xml version="1.0" encoding="utf-8"?>
<p:tagLst xmlns:a="http://schemas.openxmlformats.org/drawingml/2006/main" xmlns:r="http://schemas.openxmlformats.org/officeDocument/2006/relationships" xmlns:p="http://schemas.openxmlformats.org/presentationml/2006/main">
  <p:tag name="SHAPENAME" val="5. Source"/>
</p:tagLst>
</file>

<file path=ppt/tags/tag12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1.xml><?xml version="1.0" encoding="utf-8"?>
<p:tagLst xmlns:a="http://schemas.openxmlformats.org/drawingml/2006/main" xmlns:r="http://schemas.openxmlformats.org/officeDocument/2006/relationships" xmlns:p="http://schemas.openxmlformats.org/presentationml/2006/main">
  <p:tag name="SHAPENAME" val="5. Source"/>
</p:tagLst>
</file>

<file path=ppt/tags/tag12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77.xml><?xml version="1.0" encoding="utf-8"?>
<p:tagLst xmlns:a="http://schemas.openxmlformats.org/drawingml/2006/main" xmlns:r="http://schemas.openxmlformats.org/officeDocument/2006/relationships" xmlns:p="http://schemas.openxmlformats.org/presentationml/2006/main">
  <p:tag name="SHAPENAME" val="5. Source"/>
</p:tagLst>
</file>

<file path=ppt/tags/tag12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2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3.xml><?xml version="1.0" encoding="utf-8"?>
<p:tagLst xmlns:a="http://schemas.openxmlformats.org/drawingml/2006/main" xmlns:r="http://schemas.openxmlformats.org/officeDocument/2006/relationships" xmlns:p="http://schemas.openxmlformats.org/presentationml/2006/main">
  <p:tag name="SHAPENAME" val="5. Source"/>
</p:tagLst>
</file>

<file path=ppt/tags/tag12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89.xml><?xml version="1.0" encoding="utf-8"?>
<p:tagLst xmlns:a="http://schemas.openxmlformats.org/drawingml/2006/main" xmlns:r="http://schemas.openxmlformats.org/officeDocument/2006/relationships" xmlns:p="http://schemas.openxmlformats.org/presentationml/2006/main">
  <p:tag name="SHAPENAME" val="5. Source"/>
</p:tagLst>
</file>

<file path=ppt/tags/tag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2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295.xml><?xml version="1.0" encoding="utf-8"?>
<p:tagLst xmlns:a="http://schemas.openxmlformats.org/drawingml/2006/main" xmlns:r="http://schemas.openxmlformats.org/officeDocument/2006/relationships" xmlns:p="http://schemas.openxmlformats.org/presentationml/2006/main">
  <p:tag name="SHAPENAME" val="5. Source"/>
</p:tagLst>
</file>

<file path=ppt/tags/tag12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2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1.xml><?xml version="1.0" encoding="utf-8"?>
<p:tagLst xmlns:a="http://schemas.openxmlformats.org/drawingml/2006/main" xmlns:r="http://schemas.openxmlformats.org/officeDocument/2006/relationships" xmlns:p="http://schemas.openxmlformats.org/presentationml/2006/main">
  <p:tag name="SHAPENAME" val="5. Source"/>
</p:tagLst>
</file>

<file path=ppt/tags/tag13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07.xml><?xml version="1.0" encoding="utf-8"?>
<p:tagLst xmlns:a="http://schemas.openxmlformats.org/drawingml/2006/main" xmlns:r="http://schemas.openxmlformats.org/officeDocument/2006/relationships" xmlns:p="http://schemas.openxmlformats.org/presentationml/2006/main">
  <p:tag name="SHAPENAME" val="5. Source"/>
</p:tagLst>
</file>

<file path=ppt/tags/tag13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3.xml><?xml version="1.0" encoding="utf-8"?>
<p:tagLst xmlns:a="http://schemas.openxmlformats.org/drawingml/2006/main" xmlns:r="http://schemas.openxmlformats.org/officeDocument/2006/relationships" xmlns:p="http://schemas.openxmlformats.org/presentationml/2006/main">
  <p:tag name="SHAPENAME" val="5. Source"/>
</p:tagLst>
</file>

<file path=ppt/tags/tag13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19.xml><?xml version="1.0" encoding="utf-8"?>
<p:tagLst xmlns:a="http://schemas.openxmlformats.org/drawingml/2006/main" xmlns:r="http://schemas.openxmlformats.org/officeDocument/2006/relationships" xmlns:p="http://schemas.openxmlformats.org/presentationml/2006/main">
  <p:tag name="SHAPENAME" val="5. Source"/>
</p:tagLst>
</file>

<file path=ppt/tags/tag132.xml><?xml version="1.0" encoding="utf-8"?>
<p:tagLst xmlns:a="http://schemas.openxmlformats.org/drawingml/2006/main" xmlns:r="http://schemas.openxmlformats.org/officeDocument/2006/relationships" xmlns:p="http://schemas.openxmlformats.org/presentationml/2006/main">
  <p:tag name="SHAPENAME" val="5. Source"/>
</p:tagLst>
</file>

<file path=ppt/tags/tag13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25.xml><?xml version="1.0" encoding="utf-8"?>
<p:tagLst xmlns:a="http://schemas.openxmlformats.org/drawingml/2006/main" xmlns:r="http://schemas.openxmlformats.org/officeDocument/2006/relationships" xmlns:p="http://schemas.openxmlformats.org/presentationml/2006/main">
  <p:tag name="SHAPENAME" val="5. Source"/>
</p:tagLst>
</file>

<file path=ppt/tags/tag13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1.xml><?xml version="1.0" encoding="utf-8"?>
<p:tagLst xmlns:a="http://schemas.openxmlformats.org/drawingml/2006/main" xmlns:r="http://schemas.openxmlformats.org/officeDocument/2006/relationships" xmlns:p="http://schemas.openxmlformats.org/presentationml/2006/main">
  <p:tag name="SHAPENAME" val="5. Source"/>
</p:tagLst>
</file>

<file path=ppt/tags/tag13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37.xml><?xml version="1.0" encoding="utf-8"?>
<p:tagLst xmlns:a="http://schemas.openxmlformats.org/drawingml/2006/main" xmlns:r="http://schemas.openxmlformats.org/officeDocument/2006/relationships" xmlns:p="http://schemas.openxmlformats.org/presentationml/2006/main">
  <p:tag name="SHAPENAME" val="5. Source"/>
</p:tagLst>
</file>

<file path=ppt/tags/tag13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13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3.xml><?xml version="1.0" encoding="utf-8"?>
<p:tagLst xmlns:a="http://schemas.openxmlformats.org/drawingml/2006/main" xmlns:r="http://schemas.openxmlformats.org/officeDocument/2006/relationships" xmlns:p="http://schemas.openxmlformats.org/presentationml/2006/main">
  <p:tag name="SHAPENAME" val="5. Source"/>
</p:tagLst>
</file>

<file path=ppt/tags/tag13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49.xml><?xml version="1.0" encoding="utf-8"?>
<p:tagLst xmlns:a="http://schemas.openxmlformats.org/drawingml/2006/main" xmlns:r="http://schemas.openxmlformats.org/officeDocument/2006/relationships" xmlns:p="http://schemas.openxmlformats.org/presentationml/2006/main">
  <p:tag name="SHAPENAME" val="5. Source"/>
</p:tagLst>
</file>

<file path=ppt/tags/tag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55.xml><?xml version="1.0" encoding="utf-8"?>
<p:tagLst xmlns:a="http://schemas.openxmlformats.org/drawingml/2006/main" xmlns:r="http://schemas.openxmlformats.org/officeDocument/2006/relationships" xmlns:p="http://schemas.openxmlformats.org/presentationml/2006/main">
  <p:tag name="SHAPENAME" val="5. Source"/>
</p:tagLst>
</file>

<file path=ppt/tags/tag13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1.xml><?xml version="1.0" encoding="utf-8"?>
<p:tagLst xmlns:a="http://schemas.openxmlformats.org/drawingml/2006/main" xmlns:r="http://schemas.openxmlformats.org/officeDocument/2006/relationships" xmlns:p="http://schemas.openxmlformats.org/presentationml/2006/main">
  <p:tag name="SHAPENAME" val="5. Source"/>
</p:tagLst>
</file>

<file path=ppt/tags/tag13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67.xml><?xml version="1.0" encoding="utf-8"?>
<p:tagLst xmlns:a="http://schemas.openxmlformats.org/drawingml/2006/main" xmlns:r="http://schemas.openxmlformats.org/officeDocument/2006/relationships" xmlns:p="http://schemas.openxmlformats.org/presentationml/2006/main">
  <p:tag name="SHAPENAME" val="5. Source"/>
</p:tagLst>
</file>

<file path=ppt/tags/tag13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3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3.xml><?xml version="1.0" encoding="utf-8"?>
<p:tagLst xmlns:a="http://schemas.openxmlformats.org/drawingml/2006/main" xmlns:r="http://schemas.openxmlformats.org/officeDocument/2006/relationships" xmlns:p="http://schemas.openxmlformats.org/presentationml/2006/main">
  <p:tag name="SHAPENAME" val="5. Source"/>
</p:tagLst>
</file>

<file path=ppt/tags/tag13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79.xml><?xml version="1.0" encoding="utf-8"?>
<p:tagLst xmlns:a="http://schemas.openxmlformats.org/drawingml/2006/main" xmlns:r="http://schemas.openxmlformats.org/officeDocument/2006/relationships" xmlns:p="http://schemas.openxmlformats.org/presentationml/2006/main">
  <p:tag name="SHAPENAME" val="5. Source"/>
</p:tagLst>
</file>

<file path=ppt/tags/tag138.xml><?xml version="1.0" encoding="utf-8"?>
<p:tagLst xmlns:a="http://schemas.openxmlformats.org/drawingml/2006/main" xmlns:r="http://schemas.openxmlformats.org/officeDocument/2006/relationships" xmlns:p="http://schemas.openxmlformats.org/presentationml/2006/main">
  <p:tag name="SHAPENAME" val="5. Source"/>
</p:tagLst>
</file>

<file path=ppt/tags/tag13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85.xml><?xml version="1.0" encoding="utf-8"?>
<p:tagLst xmlns:a="http://schemas.openxmlformats.org/drawingml/2006/main" xmlns:r="http://schemas.openxmlformats.org/officeDocument/2006/relationships" xmlns:p="http://schemas.openxmlformats.org/presentationml/2006/main">
  <p:tag name="SHAPENAME" val="5. Source"/>
</p:tagLst>
</file>

<file path=ppt/tags/tag13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1.xml><?xml version="1.0" encoding="utf-8"?>
<p:tagLst xmlns:a="http://schemas.openxmlformats.org/drawingml/2006/main" xmlns:r="http://schemas.openxmlformats.org/officeDocument/2006/relationships" xmlns:p="http://schemas.openxmlformats.org/presentationml/2006/main">
  <p:tag name="SHAPENAME" val="5. Source"/>
</p:tagLst>
</file>

<file path=ppt/tags/tag13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3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3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397.xml><?xml version="1.0" encoding="utf-8"?>
<p:tagLst xmlns:a="http://schemas.openxmlformats.org/drawingml/2006/main" xmlns:r="http://schemas.openxmlformats.org/officeDocument/2006/relationships" xmlns:p="http://schemas.openxmlformats.org/presentationml/2006/main">
  <p:tag name="SHAPENAME" val="5. Source"/>
</p:tagLst>
</file>

<file path=ppt/tags/tag13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3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3.xml><?xml version="1.0" encoding="utf-8"?>
<p:tagLst xmlns:a="http://schemas.openxmlformats.org/drawingml/2006/main" xmlns:r="http://schemas.openxmlformats.org/officeDocument/2006/relationships" xmlns:p="http://schemas.openxmlformats.org/presentationml/2006/main">
  <p:tag name="SHAPENAME" val="5. Source"/>
</p:tagLst>
</file>

<file path=ppt/tags/tag14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09.xml><?xml version="1.0" encoding="utf-8"?>
<p:tagLst xmlns:a="http://schemas.openxmlformats.org/drawingml/2006/main" xmlns:r="http://schemas.openxmlformats.org/officeDocument/2006/relationships" xmlns:p="http://schemas.openxmlformats.org/presentationml/2006/main">
  <p:tag name="SHAPENAME" val="5. Source"/>
</p:tagLst>
</file>

<file path=ppt/tags/tag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15.xml><?xml version="1.0" encoding="utf-8"?>
<p:tagLst xmlns:a="http://schemas.openxmlformats.org/drawingml/2006/main" xmlns:r="http://schemas.openxmlformats.org/officeDocument/2006/relationships" xmlns:p="http://schemas.openxmlformats.org/presentationml/2006/main">
  <p:tag name="SHAPENAME" val="5. Source"/>
</p:tagLst>
</file>

<file path=ppt/tags/tag14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1.xml><?xml version="1.0" encoding="utf-8"?>
<p:tagLst xmlns:a="http://schemas.openxmlformats.org/drawingml/2006/main" xmlns:r="http://schemas.openxmlformats.org/officeDocument/2006/relationships" xmlns:p="http://schemas.openxmlformats.org/presentationml/2006/main">
  <p:tag name="SHAPENAME" val="5. Source"/>
</p:tagLst>
</file>

<file path=ppt/tags/tag14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27.xml><?xml version="1.0" encoding="utf-8"?>
<p:tagLst xmlns:a="http://schemas.openxmlformats.org/drawingml/2006/main" xmlns:r="http://schemas.openxmlformats.org/officeDocument/2006/relationships" xmlns:p="http://schemas.openxmlformats.org/presentationml/2006/main">
  <p:tag name="SHAPENAME" val="5. Source"/>
</p:tagLst>
</file>

<file path=ppt/tags/tag14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SHAPENAME" val="5. Source"/>
</p:tagLst>
</file>

<file path=ppt/tags/tag14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3.xml><?xml version="1.0" encoding="utf-8"?>
<p:tagLst xmlns:a="http://schemas.openxmlformats.org/drawingml/2006/main" xmlns:r="http://schemas.openxmlformats.org/officeDocument/2006/relationships" xmlns:p="http://schemas.openxmlformats.org/presentationml/2006/main">
  <p:tag name="SHAPENAME" val="5. Source"/>
</p:tagLst>
</file>

<file path=ppt/tags/tag14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39.xml><?xml version="1.0" encoding="utf-8"?>
<p:tagLst xmlns:a="http://schemas.openxmlformats.org/drawingml/2006/main" xmlns:r="http://schemas.openxmlformats.org/officeDocument/2006/relationships" xmlns:p="http://schemas.openxmlformats.org/presentationml/2006/main">
  <p:tag name="SHAPENAME" val="5. Source"/>
</p:tagLst>
</file>

<file path=ppt/tags/tag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45.xml><?xml version="1.0" encoding="utf-8"?>
<p:tagLst xmlns:a="http://schemas.openxmlformats.org/drawingml/2006/main" xmlns:r="http://schemas.openxmlformats.org/officeDocument/2006/relationships" xmlns:p="http://schemas.openxmlformats.org/presentationml/2006/main">
  <p:tag name="SHAPENAME" val="5. Source"/>
</p:tagLst>
</file>

<file path=ppt/tags/tag14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1.xml><?xml version="1.0" encoding="utf-8"?>
<p:tagLst xmlns:a="http://schemas.openxmlformats.org/drawingml/2006/main" xmlns:r="http://schemas.openxmlformats.org/officeDocument/2006/relationships" xmlns:p="http://schemas.openxmlformats.org/presentationml/2006/main">
  <p:tag name="SHAPENAME" val="5. Source"/>
</p:tagLst>
</file>

<file path=ppt/tags/tag14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57.xml><?xml version="1.0" encoding="utf-8"?>
<p:tagLst xmlns:a="http://schemas.openxmlformats.org/drawingml/2006/main" xmlns:r="http://schemas.openxmlformats.org/officeDocument/2006/relationships" xmlns:p="http://schemas.openxmlformats.org/presentationml/2006/main">
  <p:tag name="SHAPENAME" val="5. Source"/>
</p:tagLst>
</file>

<file path=ppt/tags/tag14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3.xml><?xml version="1.0" encoding="utf-8"?>
<p:tagLst xmlns:a="http://schemas.openxmlformats.org/drawingml/2006/main" xmlns:r="http://schemas.openxmlformats.org/officeDocument/2006/relationships" xmlns:p="http://schemas.openxmlformats.org/presentationml/2006/main">
  <p:tag name="SHAPENAME" val="5. Source"/>
</p:tagLst>
</file>

<file path=ppt/tags/tag14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69.xml><?xml version="1.0" encoding="utf-8"?>
<p:tagLst xmlns:a="http://schemas.openxmlformats.org/drawingml/2006/main" xmlns:r="http://schemas.openxmlformats.org/officeDocument/2006/relationships" xmlns:p="http://schemas.openxmlformats.org/presentationml/2006/main">
  <p:tag name="SHAPENAME" val="5. Source"/>
</p:tagLst>
</file>

<file path=ppt/tags/tag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75.xml><?xml version="1.0" encoding="utf-8"?>
<p:tagLst xmlns:a="http://schemas.openxmlformats.org/drawingml/2006/main" xmlns:r="http://schemas.openxmlformats.org/officeDocument/2006/relationships" xmlns:p="http://schemas.openxmlformats.org/presentationml/2006/main">
  <p:tag name="SHAPENAME" val="5. Source"/>
</p:tagLst>
</file>

<file path=ppt/tags/tag14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1.xml><?xml version="1.0" encoding="utf-8"?>
<p:tagLst xmlns:a="http://schemas.openxmlformats.org/drawingml/2006/main" xmlns:r="http://schemas.openxmlformats.org/officeDocument/2006/relationships" xmlns:p="http://schemas.openxmlformats.org/presentationml/2006/main">
  <p:tag name="SHAPENAME" val="5. Source"/>
</p:tagLst>
</file>

<file path=ppt/tags/tag14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87.xml><?xml version="1.0" encoding="utf-8"?>
<p:tagLst xmlns:a="http://schemas.openxmlformats.org/drawingml/2006/main" xmlns:r="http://schemas.openxmlformats.org/officeDocument/2006/relationships" xmlns:p="http://schemas.openxmlformats.org/presentationml/2006/main">
  <p:tag name="SHAPENAME" val="5. Source"/>
</p:tagLst>
</file>

<file path=ppt/tags/tag14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SHAPENAME" val="5. Source"/>
</p:tagLst>
</file>

<file path=ppt/tags/tag14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3.xml><?xml version="1.0" encoding="utf-8"?>
<p:tagLst xmlns:a="http://schemas.openxmlformats.org/drawingml/2006/main" xmlns:r="http://schemas.openxmlformats.org/officeDocument/2006/relationships" xmlns:p="http://schemas.openxmlformats.org/presentationml/2006/main">
  <p:tag name="SHAPENAME" val="5. Source"/>
</p:tagLst>
</file>

<file path=ppt/tags/tag14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4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4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4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499.xml><?xml version="1.0" encoding="utf-8"?>
<p:tagLst xmlns:a="http://schemas.openxmlformats.org/drawingml/2006/main" xmlns:r="http://schemas.openxmlformats.org/officeDocument/2006/relationships" xmlns:p="http://schemas.openxmlformats.org/presentationml/2006/main">
  <p:tag name="SHAPENAME" val="5. Source"/>
</p:tagLst>
</file>

<file path=ppt/tags/tag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05.xml><?xml version="1.0" encoding="utf-8"?>
<p:tagLst xmlns:a="http://schemas.openxmlformats.org/drawingml/2006/main" xmlns:r="http://schemas.openxmlformats.org/officeDocument/2006/relationships" xmlns:p="http://schemas.openxmlformats.org/presentationml/2006/main">
  <p:tag name="SHAPENAME" val="5. Source"/>
</p:tagLst>
</file>

<file path=ppt/tags/tag15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1.xml><?xml version="1.0" encoding="utf-8"?>
<p:tagLst xmlns:a="http://schemas.openxmlformats.org/drawingml/2006/main" xmlns:r="http://schemas.openxmlformats.org/officeDocument/2006/relationships" xmlns:p="http://schemas.openxmlformats.org/presentationml/2006/main">
  <p:tag name="SHAPENAME" val="5. Source"/>
</p:tagLst>
</file>

<file path=ppt/tags/tag15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17.xml><?xml version="1.0" encoding="utf-8"?>
<p:tagLst xmlns:a="http://schemas.openxmlformats.org/drawingml/2006/main" xmlns:r="http://schemas.openxmlformats.org/officeDocument/2006/relationships" xmlns:p="http://schemas.openxmlformats.org/presentationml/2006/main">
  <p:tag name="SHAPENAME" val="5. Source"/>
</p:tagLst>
</file>

<file path=ppt/tags/tag15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3.xml><?xml version="1.0" encoding="utf-8"?>
<p:tagLst xmlns:a="http://schemas.openxmlformats.org/drawingml/2006/main" xmlns:r="http://schemas.openxmlformats.org/officeDocument/2006/relationships" xmlns:p="http://schemas.openxmlformats.org/presentationml/2006/main">
  <p:tag name="SHAPENAME" val="5. Source"/>
</p:tagLst>
</file>

<file path=ppt/tags/tag15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29.xml><?xml version="1.0" encoding="utf-8"?>
<p:tagLst xmlns:a="http://schemas.openxmlformats.org/drawingml/2006/main" xmlns:r="http://schemas.openxmlformats.org/officeDocument/2006/relationships" xmlns:p="http://schemas.openxmlformats.org/presentationml/2006/main">
  <p:tag name="SHAPENAME" val="5. Source"/>
</p:tagLst>
</file>

<file path=ppt/tags/tag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35.xml><?xml version="1.0" encoding="utf-8"?>
<p:tagLst xmlns:a="http://schemas.openxmlformats.org/drawingml/2006/main" xmlns:r="http://schemas.openxmlformats.org/officeDocument/2006/relationships" xmlns:p="http://schemas.openxmlformats.org/presentationml/2006/main">
  <p:tag name="SHAPENAME" val="5. Source"/>
</p:tagLst>
</file>

<file path=ppt/tags/tag15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1.xml><?xml version="1.0" encoding="utf-8"?>
<p:tagLst xmlns:a="http://schemas.openxmlformats.org/drawingml/2006/main" xmlns:r="http://schemas.openxmlformats.org/officeDocument/2006/relationships" xmlns:p="http://schemas.openxmlformats.org/presentationml/2006/main">
  <p:tag name="SHAPENAME" val="5. Source"/>
</p:tagLst>
</file>

<file path=ppt/tags/tag15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47.xml><?xml version="1.0" encoding="utf-8"?>
<p:tagLst xmlns:a="http://schemas.openxmlformats.org/drawingml/2006/main" xmlns:r="http://schemas.openxmlformats.org/officeDocument/2006/relationships" xmlns:p="http://schemas.openxmlformats.org/presentationml/2006/main">
  <p:tag name="SHAPENAME" val="5. Source"/>
</p:tagLst>
</file>

<file path=ppt/tags/tag15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SHAPENAME" val="5. Source"/>
</p:tagLst>
</file>

<file path=ppt/tags/tag15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3.xml><?xml version="1.0" encoding="utf-8"?>
<p:tagLst xmlns:a="http://schemas.openxmlformats.org/drawingml/2006/main" xmlns:r="http://schemas.openxmlformats.org/officeDocument/2006/relationships" xmlns:p="http://schemas.openxmlformats.org/presentationml/2006/main">
  <p:tag name="SHAPENAME" val="5. Source"/>
</p:tagLst>
</file>

<file path=ppt/tags/tag15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59.xml><?xml version="1.0" encoding="utf-8"?>
<p:tagLst xmlns:a="http://schemas.openxmlformats.org/drawingml/2006/main" xmlns:r="http://schemas.openxmlformats.org/officeDocument/2006/relationships" xmlns:p="http://schemas.openxmlformats.org/presentationml/2006/main">
  <p:tag name="SHAPENAME" val="5. Source"/>
</p:tagLst>
</file>

<file path=ppt/tags/tag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65.xml><?xml version="1.0" encoding="utf-8"?>
<p:tagLst xmlns:a="http://schemas.openxmlformats.org/drawingml/2006/main" xmlns:r="http://schemas.openxmlformats.org/officeDocument/2006/relationships" xmlns:p="http://schemas.openxmlformats.org/presentationml/2006/main">
  <p:tag name="SHAPENAME" val="5. Source"/>
</p:tagLst>
</file>

<file path=ppt/tags/tag15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1.xml><?xml version="1.0" encoding="utf-8"?>
<p:tagLst xmlns:a="http://schemas.openxmlformats.org/drawingml/2006/main" xmlns:r="http://schemas.openxmlformats.org/officeDocument/2006/relationships" xmlns:p="http://schemas.openxmlformats.org/presentationml/2006/main">
  <p:tag name="SHAPENAME" val="5. Source"/>
</p:tagLst>
</file>

<file path=ppt/tags/tag15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77.xml><?xml version="1.0" encoding="utf-8"?>
<p:tagLst xmlns:a="http://schemas.openxmlformats.org/drawingml/2006/main" xmlns:r="http://schemas.openxmlformats.org/officeDocument/2006/relationships" xmlns:p="http://schemas.openxmlformats.org/presentationml/2006/main">
  <p:tag name="SHAPENAME" val="5. Source"/>
</p:tagLst>
</file>

<file path=ppt/tags/tag15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3.xml><?xml version="1.0" encoding="utf-8"?>
<p:tagLst xmlns:a="http://schemas.openxmlformats.org/drawingml/2006/main" xmlns:r="http://schemas.openxmlformats.org/officeDocument/2006/relationships" xmlns:p="http://schemas.openxmlformats.org/presentationml/2006/main">
  <p:tag name="SHAPENAME" val="5. Source"/>
</p:tagLst>
</file>

<file path=ppt/tags/tag15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89.xml><?xml version="1.0" encoding="utf-8"?>
<p:tagLst xmlns:a="http://schemas.openxmlformats.org/drawingml/2006/main" xmlns:r="http://schemas.openxmlformats.org/officeDocument/2006/relationships" xmlns:p="http://schemas.openxmlformats.org/presentationml/2006/main">
  <p:tag name="SHAPENAME" val="5. Source"/>
</p:tagLst>
</file>

<file path=ppt/tags/tag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5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595.xml><?xml version="1.0" encoding="utf-8"?>
<p:tagLst xmlns:a="http://schemas.openxmlformats.org/drawingml/2006/main" xmlns:r="http://schemas.openxmlformats.org/officeDocument/2006/relationships" xmlns:p="http://schemas.openxmlformats.org/presentationml/2006/main">
  <p:tag name="SHAPENAME" val="5. Source"/>
</p:tagLst>
</file>

<file path=ppt/tags/tag15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5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5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1.xml><?xml version="1.0" encoding="utf-8"?>
<p:tagLst xmlns:a="http://schemas.openxmlformats.org/drawingml/2006/main" xmlns:r="http://schemas.openxmlformats.org/officeDocument/2006/relationships" xmlns:p="http://schemas.openxmlformats.org/presentationml/2006/main">
  <p:tag name="SHAPENAME" val="5. Source"/>
</p:tagLst>
</file>

<file path=ppt/tags/tag16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07.xml><?xml version="1.0" encoding="utf-8"?>
<p:tagLst xmlns:a="http://schemas.openxmlformats.org/drawingml/2006/main" xmlns:r="http://schemas.openxmlformats.org/officeDocument/2006/relationships" xmlns:p="http://schemas.openxmlformats.org/presentationml/2006/main">
  <p:tag name="SHAPENAME" val="5. Source"/>
</p:tagLst>
</file>

<file path=ppt/tags/tag16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3.xml><?xml version="1.0" encoding="utf-8"?>
<p:tagLst xmlns:a="http://schemas.openxmlformats.org/drawingml/2006/main" xmlns:r="http://schemas.openxmlformats.org/officeDocument/2006/relationships" xmlns:p="http://schemas.openxmlformats.org/presentationml/2006/main">
  <p:tag name="SHAPENAME" val="5. Source"/>
</p:tagLst>
</file>

<file path=ppt/tags/tag16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19.xml><?xml version="1.0" encoding="utf-8"?>
<p:tagLst xmlns:a="http://schemas.openxmlformats.org/drawingml/2006/main" xmlns:r="http://schemas.openxmlformats.org/officeDocument/2006/relationships" xmlns:p="http://schemas.openxmlformats.org/presentationml/2006/main">
  <p:tag name="SHAPENAME" val="5. Source"/>
</p:tagLst>
</file>

<file path=ppt/tags/tag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25.xml><?xml version="1.0" encoding="utf-8"?>
<p:tagLst xmlns:a="http://schemas.openxmlformats.org/drawingml/2006/main" xmlns:r="http://schemas.openxmlformats.org/officeDocument/2006/relationships" xmlns:p="http://schemas.openxmlformats.org/presentationml/2006/main">
  <p:tag name="SHAPENAME" val="5. Source"/>
</p:tagLst>
</file>

<file path=ppt/tags/tag16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1.xml><?xml version="1.0" encoding="utf-8"?>
<p:tagLst xmlns:a="http://schemas.openxmlformats.org/drawingml/2006/main" xmlns:r="http://schemas.openxmlformats.org/officeDocument/2006/relationships" xmlns:p="http://schemas.openxmlformats.org/presentationml/2006/main">
  <p:tag name="SHAPENAME" val="5. Source"/>
</p:tagLst>
</file>

<file path=ppt/tags/tag16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37.xml><?xml version="1.0" encoding="utf-8"?>
<p:tagLst xmlns:a="http://schemas.openxmlformats.org/drawingml/2006/main" xmlns:r="http://schemas.openxmlformats.org/officeDocument/2006/relationships" xmlns:p="http://schemas.openxmlformats.org/presentationml/2006/main">
  <p:tag name="SHAPENAME" val="5. Source"/>
</p:tagLst>
</file>

<file path=ppt/tags/tag16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3.xml><?xml version="1.0" encoding="utf-8"?>
<p:tagLst xmlns:a="http://schemas.openxmlformats.org/drawingml/2006/main" xmlns:r="http://schemas.openxmlformats.org/officeDocument/2006/relationships" xmlns:p="http://schemas.openxmlformats.org/presentationml/2006/main">
  <p:tag name="SHAPENAME" val="5. Source"/>
</p:tagLst>
</file>

<file path=ppt/tags/tag16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49.xml><?xml version="1.0" encoding="utf-8"?>
<p:tagLst xmlns:a="http://schemas.openxmlformats.org/drawingml/2006/main" xmlns:r="http://schemas.openxmlformats.org/officeDocument/2006/relationships" xmlns:p="http://schemas.openxmlformats.org/presentationml/2006/main">
  <p:tag name="SHAPENAME" val="5. Source"/>
</p:tagLst>
</file>

<file path=ppt/tags/tag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55.xml><?xml version="1.0" encoding="utf-8"?>
<p:tagLst xmlns:a="http://schemas.openxmlformats.org/drawingml/2006/main" xmlns:r="http://schemas.openxmlformats.org/officeDocument/2006/relationships" xmlns:p="http://schemas.openxmlformats.org/presentationml/2006/main">
  <p:tag name="SHAPENAME" val="5. Source"/>
</p:tagLst>
</file>

<file path=ppt/tags/tag16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1.xml><?xml version="1.0" encoding="utf-8"?>
<p:tagLst xmlns:a="http://schemas.openxmlformats.org/drawingml/2006/main" xmlns:r="http://schemas.openxmlformats.org/officeDocument/2006/relationships" xmlns:p="http://schemas.openxmlformats.org/presentationml/2006/main">
  <p:tag name="SHAPENAME" val="5. Source"/>
</p:tagLst>
</file>

<file path=ppt/tags/tag16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SHAPENAME" val="5. Source"/>
</p:tagLst>
</file>

<file path=ppt/tags/tag16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3.xml><?xml version="1.0" encoding="utf-8"?>
<p:tagLst xmlns:a="http://schemas.openxmlformats.org/drawingml/2006/main" xmlns:r="http://schemas.openxmlformats.org/officeDocument/2006/relationships" xmlns:p="http://schemas.openxmlformats.org/presentationml/2006/main">
  <p:tag name="SHAPENAME" val="5. Source"/>
</p:tagLst>
</file>

<file path=ppt/tags/tag16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79.xml><?xml version="1.0" encoding="utf-8"?>
<p:tagLst xmlns:a="http://schemas.openxmlformats.org/drawingml/2006/main" xmlns:r="http://schemas.openxmlformats.org/officeDocument/2006/relationships" xmlns:p="http://schemas.openxmlformats.org/presentationml/2006/main">
  <p:tag name="SHAPENAME" val="5. Source"/>
</p:tagLst>
</file>

<file path=ppt/tags/tag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85.xml><?xml version="1.0" encoding="utf-8"?>
<p:tagLst xmlns:a="http://schemas.openxmlformats.org/drawingml/2006/main" xmlns:r="http://schemas.openxmlformats.org/officeDocument/2006/relationships" xmlns:p="http://schemas.openxmlformats.org/presentationml/2006/main">
  <p:tag name="SHAPENAME" val="5. Source"/>
</p:tagLst>
</file>

<file path=ppt/tags/tag16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1.xml><?xml version="1.0" encoding="utf-8"?>
<p:tagLst xmlns:a="http://schemas.openxmlformats.org/drawingml/2006/main" xmlns:r="http://schemas.openxmlformats.org/officeDocument/2006/relationships" xmlns:p="http://schemas.openxmlformats.org/presentationml/2006/main">
  <p:tag name="SHAPENAME" val="5. Source"/>
</p:tagLst>
</file>

<file path=ppt/tags/tag16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6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6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697.xml><?xml version="1.0" encoding="utf-8"?>
<p:tagLst xmlns:a="http://schemas.openxmlformats.org/drawingml/2006/main" xmlns:r="http://schemas.openxmlformats.org/officeDocument/2006/relationships" xmlns:p="http://schemas.openxmlformats.org/presentationml/2006/main">
  <p:tag name="SHAPENAME" val="5. Source"/>
</p:tagLst>
</file>

<file path=ppt/tags/tag16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6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03.xml><?xml version="1.0" encoding="utf-8"?>
<p:tagLst xmlns:a="http://schemas.openxmlformats.org/drawingml/2006/main" xmlns:r="http://schemas.openxmlformats.org/officeDocument/2006/relationships" xmlns:p="http://schemas.openxmlformats.org/presentationml/2006/main">
  <p:tag name="SHAPENAME" val="5. Source"/>
</p:tagLst>
</file>

<file path=ppt/tags/tag17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09.xml><?xml version="1.0" encoding="utf-8"?>
<p:tagLst xmlns:a="http://schemas.openxmlformats.org/drawingml/2006/main" xmlns:r="http://schemas.openxmlformats.org/officeDocument/2006/relationships" xmlns:p="http://schemas.openxmlformats.org/presentationml/2006/main">
  <p:tag name="SHAPENAME" val="5. Source"/>
</p:tagLst>
</file>

<file path=ppt/tags/tag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15.xml><?xml version="1.0" encoding="utf-8"?>
<p:tagLst xmlns:a="http://schemas.openxmlformats.org/drawingml/2006/main" xmlns:r="http://schemas.openxmlformats.org/officeDocument/2006/relationships" xmlns:p="http://schemas.openxmlformats.org/presentationml/2006/main">
  <p:tag name="SHAPENAME" val="5. Source"/>
</p:tagLst>
</file>

<file path=ppt/tags/tag17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1.xml><?xml version="1.0" encoding="utf-8"?>
<p:tagLst xmlns:a="http://schemas.openxmlformats.org/drawingml/2006/main" xmlns:r="http://schemas.openxmlformats.org/officeDocument/2006/relationships" xmlns:p="http://schemas.openxmlformats.org/presentationml/2006/main">
  <p:tag name="SHAPENAME" val="5. Source"/>
</p:tagLst>
</file>

<file path=ppt/tags/tag17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27.xml><?xml version="1.0" encoding="utf-8"?>
<p:tagLst xmlns:a="http://schemas.openxmlformats.org/drawingml/2006/main" xmlns:r="http://schemas.openxmlformats.org/officeDocument/2006/relationships" xmlns:p="http://schemas.openxmlformats.org/presentationml/2006/main">
  <p:tag name="SHAPENAME" val="5. Source"/>
</p:tagLst>
</file>

<file path=ppt/tags/tag17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SHAPENAME" val="5. Source"/>
</p:tagLst>
</file>

<file path=ppt/tags/tag17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3.xml><?xml version="1.0" encoding="utf-8"?>
<p:tagLst xmlns:a="http://schemas.openxmlformats.org/drawingml/2006/main" xmlns:r="http://schemas.openxmlformats.org/officeDocument/2006/relationships" xmlns:p="http://schemas.openxmlformats.org/presentationml/2006/main">
  <p:tag name="SHAPENAME" val="5. Source"/>
</p:tagLst>
</file>

<file path=ppt/tags/tag17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39.xml><?xml version="1.0" encoding="utf-8"?>
<p:tagLst xmlns:a="http://schemas.openxmlformats.org/drawingml/2006/main" xmlns:r="http://schemas.openxmlformats.org/officeDocument/2006/relationships" xmlns:p="http://schemas.openxmlformats.org/presentationml/2006/main">
  <p:tag name="SHAPENAME" val="5. Source"/>
</p:tagLst>
</file>

<file path=ppt/tags/tag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45.xml><?xml version="1.0" encoding="utf-8"?>
<p:tagLst xmlns:a="http://schemas.openxmlformats.org/drawingml/2006/main" xmlns:r="http://schemas.openxmlformats.org/officeDocument/2006/relationships" xmlns:p="http://schemas.openxmlformats.org/presentationml/2006/main">
  <p:tag name="SHAPENAME" val="5. Source"/>
</p:tagLst>
</file>

<file path=ppt/tags/tag17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1.xml><?xml version="1.0" encoding="utf-8"?>
<p:tagLst xmlns:a="http://schemas.openxmlformats.org/drawingml/2006/main" xmlns:r="http://schemas.openxmlformats.org/officeDocument/2006/relationships" xmlns:p="http://schemas.openxmlformats.org/presentationml/2006/main">
  <p:tag name="SHAPENAME" val="5. Source"/>
</p:tagLst>
</file>

<file path=ppt/tags/tag17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57.xml><?xml version="1.0" encoding="utf-8"?>
<p:tagLst xmlns:a="http://schemas.openxmlformats.org/drawingml/2006/main" xmlns:r="http://schemas.openxmlformats.org/officeDocument/2006/relationships" xmlns:p="http://schemas.openxmlformats.org/presentationml/2006/main">
  <p:tag name="SHAPENAME" val="5. Source"/>
</p:tagLst>
</file>

<file path=ppt/tags/tag17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63.xml><?xml version="1.0" encoding="utf-8"?>
<p:tagLst xmlns:a="http://schemas.openxmlformats.org/drawingml/2006/main" xmlns:r="http://schemas.openxmlformats.org/officeDocument/2006/relationships" xmlns:p="http://schemas.openxmlformats.org/presentationml/2006/main">
  <p:tag name="SHAPENAME" val="5. Source"/>
</p:tagLst>
</file>

<file path=ppt/tags/tag17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69.xml><?xml version="1.0" encoding="utf-8"?>
<p:tagLst xmlns:a="http://schemas.openxmlformats.org/drawingml/2006/main" xmlns:r="http://schemas.openxmlformats.org/officeDocument/2006/relationships" xmlns:p="http://schemas.openxmlformats.org/presentationml/2006/main">
  <p:tag name="SHAPENAME" val="5. Source"/>
</p:tagLst>
</file>

<file path=ppt/tags/tag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75.xml><?xml version="1.0" encoding="utf-8"?>
<p:tagLst xmlns:a="http://schemas.openxmlformats.org/drawingml/2006/main" xmlns:r="http://schemas.openxmlformats.org/officeDocument/2006/relationships" xmlns:p="http://schemas.openxmlformats.org/presentationml/2006/main">
  <p:tag name="SHAPENAME" val="5. Source"/>
</p:tagLst>
</file>

<file path=ppt/tags/tag17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1.xml><?xml version="1.0" encoding="utf-8"?>
<p:tagLst xmlns:a="http://schemas.openxmlformats.org/drawingml/2006/main" xmlns:r="http://schemas.openxmlformats.org/officeDocument/2006/relationships" xmlns:p="http://schemas.openxmlformats.org/presentationml/2006/main">
  <p:tag name="SHAPENAME" val="5. Source"/>
</p:tagLst>
</file>

<file path=ppt/tags/tag17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87.xml><?xml version="1.0" encoding="utf-8"?>
<p:tagLst xmlns:a="http://schemas.openxmlformats.org/drawingml/2006/main" xmlns:r="http://schemas.openxmlformats.org/officeDocument/2006/relationships" xmlns:p="http://schemas.openxmlformats.org/presentationml/2006/main">
  <p:tag name="SHAPENAME" val="5. Source"/>
</p:tagLst>
</file>

<file path=ppt/tags/tag17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SHAPENAME" val="5. Source"/>
</p:tagLst>
</file>

<file path=ppt/tags/tag17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3.xml><?xml version="1.0" encoding="utf-8"?>
<p:tagLst xmlns:a="http://schemas.openxmlformats.org/drawingml/2006/main" xmlns:r="http://schemas.openxmlformats.org/officeDocument/2006/relationships" xmlns:p="http://schemas.openxmlformats.org/presentationml/2006/main">
  <p:tag name="SHAPENAME" val="5. Source"/>
</p:tagLst>
</file>

<file path=ppt/tags/tag17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7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7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799.xml><?xml version="1.0" encoding="utf-8"?>
<p:tagLst xmlns:a="http://schemas.openxmlformats.org/drawingml/2006/main" xmlns:r="http://schemas.openxmlformats.org/officeDocument/2006/relationships" xmlns:p="http://schemas.openxmlformats.org/presentationml/2006/main">
  <p:tag name="SHAPENAME" val="5. Source"/>
</p:tagLst>
</file>

<file path=ppt/tags/tag18.xml><?xml version="1.0" encoding="utf-8"?>
<p:tagLst xmlns:a="http://schemas.openxmlformats.org/drawingml/2006/main" xmlns:r="http://schemas.openxmlformats.org/officeDocument/2006/relationships" xmlns:p="http://schemas.openxmlformats.org/presentationml/2006/main">
  <p:tag name="SHAPENAME" val="5. Source"/>
</p:tagLst>
</file>

<file path=ppt/tags/tag1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05.xml><?xml version="1.0" encoding="utf-8"?>
<p:tagLst xmlns:a="http://schemas.openxmlformats.org/drawingml/2006/main" xmlns:r="http://schemas.openxmlformats.org/officeDocument/2006/relationships" xmlns:p="http://schemas.openxmlformats.org/presentationml/2006/main">
  <p:tag name="SHAPENAME" val="5. Source"/>
</p:tagLst>
</file>

<file path=ppt/tags/tag18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1.xml><?xml version="1.0" encoding="utf-8"?>
<p:tagLst xmlns:a="http://schemas.openxmlformats.org/drawingml/2006/main" xmlns:r="http://schemas.openxmlformats.org/officeDocument/2006/relationships" xmlns:p="http://schemas.openxmlformats.org/presentationml/2006/main">
  <p:tag name="SHAPENAME" val="5. Source"/>
</p:tagLst>
</file>

<file path=ppt/tags/tag18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17.xml><?xml version="1.0" encoding="utf-8"?>
<p:tagLst xmlns:a="http://schemas.openxmlformats.org/drawingml/2006/main" xmlns:r="http://schemas.openxmlformats.org/officeDocument/2006/relationships" xmlns:p="http://schemas.openxmlformats.org/presentationml/2006/main">
  <p:tag name="SHAPENAME" val="5. Source"/>
</p:tagLst>
</file>

<file path=ppt/tags/tag18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3.xml><?xml version="1.0" encoding="utf-8"?>
<p:tagLst xmlns:a="http://schemas.openxmlformats.org/drawingml/2006/main" xmlns:r="http://schemas.openxmlformats.org/officeDocument/2006/relationships" xmlns:p="http://schemas.openxmlformats.org/presentationml/2006/main">
  <p:tag name="SHAPENAME" val="5. Source"/>
</p:tagLst>
</file>

<file path=ppt/tags/tag18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29.xml><?xml version="1.0" encoding="utf-8"?>
<p:tagLst xmlns:a="http://schemas.openxmlformats.org/drawingml/2006/main" xmlns:r="http://schemas.openxmlformats.org/officeDocument/2006/relationships" xmlns:p="http://schemas.openxmlformats.org/presentationml/2006/main">
  <p:tag name="SHAPENAME" val="5. Source"/>
</p:tagLst>
</file>

<file path=ppt/tags/tag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35.xml><?xml version="1.0" encoding="utf-8"?>
<p:tagLst xmlns:a="http://schemas.openxmlformats.org/drawingml/2006/main" xmlns:r="http://schemas.openxmlformats.org/officeDocument/2006/relationships" xmlns:p="http://schemas.openxmlformats.org/presentationml/2006/main">
  <p:tag name="SHAPENAME" val="5. Source"/>
</p:tagLst>
</file>

<file path=ppt/tags/tag18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1.xml><?xml version="1.0" encoding="utf-8"?>
<p:tagLst xmlns:a="http://schemas.openxmlformats.org/drawingml/2006/main" xmlns:r="http://schemas.openxmlformats.org/officeDocument/2006/relationships" xmlns:p="http://schemas.openxmlformats.org/presentationml/2006/main">
  <p:tag name="SHAPENAME" val="5. Source"/>
</p:tagLst>
</file>

<file path=ppt/tags/tag18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47.xml><?xml version="1.0" encoding="utf-8"?>
<p:tagLst xmlns:a="http://schemas.openxmlformats.org/drawingml/2006/main" xmlns:r="http://schemas.openxmlformats.org/officeDocument/2006/relationships" xmlns:p="http://schemas.openxmlformats.org/presentationml/2006/main">
  <p:tag name="SHAPENAME" val="5. Source"/>
</p:tagLst>
</file>

<file path=ppt/tags/tag18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SHAPENAME" val="5. Source"/>
</p:tagLst>
</file>

<file path=ppt/tags/tag18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3.xml><?xml version="1.0" encoding="utf-8"?>
<p:tagLst xmlns:a="http://schemas.openxmlformats.org/drawingml/2006/main" xmlns:r="http://schemas.openxmlformats.org/officeDocument/2006/relationships" xmlns:p="http://schemas.openxmlformats.org/presentationml/2006/main">
  <p:tag name="SHAPENAME" val="5. Source"/>
</p:tagLst>
</file>

<file path=ppt/tags/tag18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59.xml><?xml version="1.0" encoding="utf-8"?>
<p:tagLst xmlns:a="http://schemas.openxmlformats.org/drawingml/2006/main" xmlns:r="http://schemas.openxmlformats.org/officeDocument/2006/relationships" xmlns:p="http://schemas.openxmlformats.org/presentationml/2006/main">
  <p:tag name="SHAPENAME" val="5. Source"/>
</p:tagLst>
</file>

<file path=ppt/tags/tag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65.xml><?xml version="1.0" encoding="utf-8"?>
<p:tagLst xmlns:a="http://schemas.openxmlformats.org/drawingml/2006/main" xmlns:r="http://schemas.openxmlformats.org/officeDocument/2006/relationships" xmlns:p="http://schemas.openxmlformats.org/presentationml/2006/main">
  <p:tag name="SHAPENAME" val="5. Source"/>
</p:tagLst>
</file>

<file path=ppt/tags/tag18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1.xml><?xml version="1.0" encoding="utf-8"?>
<p:tagLst xmlns:a="http://schemas.openxmlformats.org/drawingml/2006/main" xmlns:r="http://schemas.openxmlformats.org/officeDocument/2006/relationships" xmlns:p="http://schemas.openxmlformats.org/presentationml/2006/main">
  <p:tag name="SHAPENAME" val="5. Source"/>
</p:tagLst>
</file>

<file path=ppt/tags/tag18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77.xml><?xml version="1.0" encoding="utf-8"?>
<p:tagLst xmlns:a="http://schemas.openxmlformats.org/drawingml/2006/main" xmlns:r="http://schemas.openxmlformats.org/officeDocument/2006/relationships" xmlns:p="http://schemas.openxmlformats.org/presentationml/2006/main">
  <p:tag name="SHAPENAME" val="5. Source"/>
</p:tagLst>
</file>

<file path=ppt/tags/tag18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3.xml><?xml version="1.0" encoding="utf-8"?>
<p:tagLst xmlns:a="http://schemas.openxmlformats.org/drawingml/2006/main" xmlns:r="http://schemas.openxmlformats.org/officeDocument/2006/relationships" xmlns:p="http://schemas.openxmlformats.org/presentationml/2006/main">
  <p:tag name="SHAPENAME" val="5. Source"/>
</p:tagLst>
</file>

<file path=ppt/tags/tag18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89.xml><?xml version="1.0" encoding="utf-8"?>
<p:tagLst xmlns:a="http://schemas.openxmlformats.org/drawingml/2006/main" xmlns:r="http://schemas.openxmlformats.org/officeDocument/2006/relationships" xmlns:p="http://schemas.openxmlformats.org/presentationml/2006/main">
  <p:tag name="SHAPENAME" val="5. Source"/>
</p:tagLst>
</file>

<file path=ppt/tags/tag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8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895.xml><?xml version="1.0" encoding="utf-8"?>
<p:tagLst xmlns:a="http://schemas.openxmlformats.org/drawingml/2006/main" xmlns:r="http://schemas.openxmlformats.org/officeDocument/2006/relationships" xmlns:p="http://schemas.openxmlformats.org/presentationml/2006/main">
  <p:tag name="SHAPENAME" val="5. Source"/>
</p:tagLst>
</file>

<file path=ppt/tags/tag18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8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8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1.xml><?xml version="1.0" encoding="utf-8"?>
<p:tagLst xmlns:a="http://schemas.openxmlformats.org/drawingml/2006/main" xmlns:r="http://schemas.openxmlformats.org/officeDocument/2006/relationships" xmlns:p="http://schemas.openxmlformats.org/presentationml/2006/main">
  <p:tag name="SHAPENAME" val="5. Source"/>
</p:tagLst>
</file>

<file path=ppt/tags/tag19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07.xml><?xml version="1.0" encoding="utf-8"?>
<p:tagLst xmlns:a="http://schemas.openxmlformats.org/drawingml/2006/main" xmlns:r="http://schemas.openxmlformats.org/officeDocument/2006/relationships" xmlns:p="http://schemas.openxmlformats.org/presentationml/2006/main">
  <p:tag name="SHAPENAME" val="5. Source"/>
</p:tagLst>
</file>

<file path=ppt/tags/tag19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3.xml><?xml version="1.0" encoding="utf-8"?>
<p:tagLst xmlns:a="http://schemas.openxmlformats.org/drawingml/2006/main" xmlns:r="http://schemas.openxmlformats.org/officeDocument/2006/relationships" xmlns:p="http://schemas.openxmlformats.org/presentationml/2006/main">
  <p:tag name="SHAPENAME" val="5. Source"/>
</p:tagLst>
</file>

<file path=ppt/tags/tag19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19.xml><?xml version="1.0" encoding="utf-8"?>
<p:tagLst xmlns:a="http://schemas.openxmlformats.org/drawingml/2006/main" xmlns:r="http://schemas.openxmlformats.org/officeDocument/2006/relationships" xmlns:p="http://schemas.openxmlformats.org/presentationml/2006/main">
  <p:tag name="SHAPENAME" val="5. Source"/>
</p:tagLst>
</file>

<file path=ppt/tags/tag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25.xml><?xml version="1.0" encoding="utf-8"?>
<p:tagLst xmlns:a="http://schemas.openxmlformats.org/drawingml/2006/main" xmlns:r="http://schemas.openxmlformats.org/officeDocument/2006/relationships" xmlns:p="http://schemas.openxmlformats.org/presentationml/2006/main">
  <p:tag name="SHAPENAME" val="5. Source"/>
</p:tagLst>
</file>

<file path=ppt/tags/tag19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1.xml><?xml version="1.0" encoding="utf-8"?>
<p:tagLst xmlns:a="http://schemas.openxmlformats.org/drawingml/2006/main" xmlns:r="http://schemas.openxmlformats.org/officeDocument/2006/relationships" xmlns:p="http://schemas.openxmlformats.org/presentationml/2006/main">
  <p:tag name="SHAPENAME" val="5. Source"/>
</p:tagLst>
</file>

<file path=ppt/tags/tag19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37.xml><?xml version="1.0" encoding="utf-8"?>
<p:tagLst xmlns:a="http://schemas.openxmlformats.org/drawingml/2006/main" xmlns:r="http://schemas.openxmlformats.org/officeDocument/2006/relationships" xmlns:p="http://schemas.openxmlformats.org/presentationml/2006/main">
  <p:tag name="SHAPENAME" val="5. Source"/>
</p:tagLst>
</file>

<file path=ppt/tags/tag19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3.xml><?xml version="1.0" encoding="utf-8"?>
<p:tagLst xmlns:a="http://schemas.openxmlformats.org/drawingml/2006/main" xmlns:r="http://schemas.openxmlformats.org/officeDocument/2006/relationships" xmlns:p="http://schemas.openxmlformats.org/presentationml/2006/main">
  <p:tag name="SHAPENAME" val="5. Source"/>
</p:tagLst>
</file>

<file path=ppt/tags/tag19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49.xml><?xml version="1.0" encoding="utf-8"?>
<p:tagLst xmlns:a="http://schemas.openxmlformats.org/drawingml/2006/main" xmlns:r="http://schemas.openxmlformats.org/officeDocument/2006/relationships" xmlns:p="http://schemas.openxmlformats.org/presentationml/2006/main">
  <p:tag name="SHAPENAME" val="5. Source"/>
</p:tagLst>
</file>

<file path=ppt/tags/tag1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55.xml><?xml version="1.0" encoding="utf-8"?>
<p:tagLst xmlns:a="http://schemas.openxmlformats.org/drawingml/2006/main" xmlns:r="http://schemas.openxmlformats.org/officeDocument/2006/relationships" xmlns:p="http://schemas.openxmlformats.org/presentationml/2006/main">
  <p:tag name="SHAPENAME" val="5. Source"/>
</p:tagLst>
</file>

<file path=ppt/tags/tag19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1.xml><?xml version="1.0" encoding="utf-8"?>
<p:tagLst xmlns:a="http://schemas.openxmlformats.org/drawingml/2006/main" xmlns:r="http://schemas.openxmlformats.org/officeDocument/2006/relationships" xmlns:p="http://schemas.openxmlformats.org/presentationml/2006/main">
  <p:tag name="SHAPENAME" val="5. Source"/>
</p:tagLst>
</file>

<file path=ppt/tags/tag19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67.xml><?xml version="1.0" encoding="utf-8"?>
<p:tagLst xmlns:a="http://schemas.openxmlformats.org/drawingml/2006/main" xmlns:r="http://schemas.openxmlformats.org/officeDocument/2006/relationships" xmlns:p="http://schemas.openxmlformats.org/presentationml/2006/main">
  <p:tag name="SHAPENAME" val="5. Source"/>
</p:tagLst>
</file>

<file path=ppt/tags/tag19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3.xml><?xml version="1.0" encoding="utf-8"?>
<p:tagLst xmlns:a="http://schemas.openxmlformats.org/drawingml/2006/main" xmlns:r="http://schemas.openxmlformats.org/officeDocument/2006/relationships" xmlns:p="http://schemas.openxmlformats.org/presentationml/2006/main">
  <p:tag name="SHAPENAME" val="5. Source"/>
</p:tagLst>
</file>

<file path=ppt/tags/tag19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79.xml><?xml version="1.0" encoding="utf-8"?>
<p:tagLst xmlns:a="http://schemas.openxmlformats.org/drawingml/2006/main" xmlns:r="http://schemas.openxmlformats.org/officeDocument/2006/relationships" xmlns:p="http://schemas.openxmlformats.org/presentationml/2006/main">
  <p:tag name="SHAPENAME" val="5. Source"/>
</p:tagLst>
</file>

<file path=ppt/tags/tag1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85.xml><?xml version="1.0" encoding="utf-8"?>
<p:tagLst xmlns:a="http://schemas.openxmlformats.org/drawingml/2006/main" xmlns:r="http://schemas.openxmlformats.org/officeDocument/2006/relationships" xmlns:p="http://schemas.openxmlformats.org/presentationml/2006/main">
  <p:tag name="SHAPENAME" val="5. Source"/>
</p:tagLst>
</file>

<file path=ppt/tags/tag19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1.xml><?xml version="1.0" encoding="utf-8"?>
<p:tagLst xmlns:a="http://schemas.openxmlformats.org/drawingml/2006/main" xmlns:r="http://schemas.openxmlformats.org/officeDocument/2006/relationships" xmlns:p="http://schemas.openxmlformats.org/presentationml/2006/main">
  <p:tag name="SHAPENAME" val="5. Source"/>
</p:tagLst>
</file>

<file path=ppt/tags/tag19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19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19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1997.xml><?xml version="1.0" encoding="utf-8"?>
<p:tagLst xmlns:a="http://schemas.openxmlformats.org/drawingml/2006/main" xmlns:r="http://schemas.openxmlformats.org/officeDocument/2006/relationships" xmlns:p="http://schemas.openxmlformats.org/presentationml/2006/main">
  <p:tag name="SHAPENAME" val="5. Source"/>
</p:tagLst>
</file>

<file path=ppt/tags/tag19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19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09.xml><?xml version="1.0" encoding="utf-8"?>
<p:tagLst xmlns:a="http://schemas.openxmlformats.org/drawingml/2006/main" xmlns:r="http://schemas.openxmlformats.org/officeDocument/2006/relationships" xmlns:p="http://schemas.openxmlformats.org/presentationml/2006/main">
  <p:tag name="SHAPENAME" val="5. Source"/>
</p:tagLst>
</file>

<file path=ppt/tags/tag2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15.xml><?xml version="1.0" encoding="utf-8"?>
<p:tagLst xmlns:a="http://schemas.openxmlformats.org/drawingml/2006/main" xmlns:r="http://schemas.openxmlformats.org/officeDocument/2006/relationships" xmlns:p="http://schemas.openxmlformats.org/presentationml/2006/main">
  <p:tag name="SHAPENAME" val="5. Source"/>
</p:tagLst>
</file>

<file path=ppt/tags/tag20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1.xml><?xml version="1.0" encoding="utf-8"?>
<p:tagLst xmlns:a="http://schemas.openxmlformats.org/drawingml/2006/main" xmlns:r="http://schemas.openxmlformats.org/officeDocument/2006/relationships" xmlns:p="http://schemas.openxmlformats.org/presentationml/2006/main">
  <p:tag name="SHAPENAME" val="5. Source"/>
</p:tagLst>
</file>

<file path=ppt/tags/tag20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27.xml><?xml version="1.0" encoding="utf-8"?>
<p:tagLst xmlns:a="http://schemas.openxmlformats.org/drawingml/2006/main" xmlns:r="http://schemas.openxmlformats.org/officeDocument/2006/relationships" xmlns:p="http://schemas.openxmlformats.org/presentationml/2006/main">
  <p:tag name="SHAPENAME" val="5. Source"/>
</p:tagLst>
</file>

<file path=ppt/tags/tag20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SHAPENAME" val="5. Source"/>
</p:tagLst>
</file>

<file path=ppt/tags/tag20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3.xml><?xml version="1.0" encoding="utf-8"?>
<p:tagLst xmlns:a="http://schemas.openxmlformats.org/drawingml/2006/main" xmlns:r="http://schemas.openxmlformats.org/officeDocument/2006/relationships" xmlns:p="http://schemas.openxmlformats.org/presentationml/2006/main">
  <p:tag name="SHAPENAME" val="5. Source"/>
</p:tagLst>
</file>

<file path=ppt/tags/tag20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39.xml><?xml version="1.0" encoding="utf-8"?>
<p:tagLst xmlns:a="http://schemas.openxmlformats.org/drawingml/2006/main" xmlns:r="http://schemas.openxmlformats.org/officeDocument/2006/relationships" xmlns:p="http://schemas.openxmlformats.org/presentationml/2006/main">
  <p:tag name="SHAPENAME" val="5. Source"/>
</p:tagLst>
</file>

<file path=ppt/tags/tag2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45.xml><?xml version="1.0" encoding="utf-8"?>
<p:tagLst xmlns:a="http://schemas.openxmlformats.org/drawingml/2006/main" xmlns:r="http://schemas.openxmlformats.org/officeDocument/2006/relationships" xmlns:p="http://schemas.openxmlformats.org/presentationml/2006/main">
  <p:tag name="SHAPENAME" val="5. Source"/>
</p:tagLst>
</file>

<file path=ppt/tags/tag20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1.xml><?xml version="1.0" encoding="utf-8"?>
<p:tagLst xmlns:a="http://schemas.openxmlformats.org/drawingml/2006/main" xmlns:r="http://schemas.openxmlformats.org/officeDocument/2006/relationships" xmlns:p="http://schemas.openxmlformats.org/presentationml/2006/main">
  <p:tag name="SHAPENAME" val="5. Source"/>
</p:tagLst>
</file>

<file path=ppt/tags/tag20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57.xml><?xml version="1.0" encoding="utf-8"?>
<p:tagLst xmlns:a="http://schemas.openxmlformats.org/drawingml/2006/main" xmlns:r="http://schemas.openxmlformats.org/officeDocument/2006/relationships" xmlns:p="http://schemas.openxmlformats.org/presentationml/2006/main">
  <p:tag name="SHAPENAME" val="5. Source"/>
</p:tagLst>
</file>

<file path=ppt/tags/tag20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3.xml><?xml version="1.0" encoding="utf-8"?>
<p:tagLst xmlns:a="http://schemas.openxmlformats.org/drawingml/2006/main" xmlns:r="http://schemas.openxmlformats.org/officeDocument/2006/relationships" xmlns:p="http://schemas.openxmlformats.org/presentationml/2006/main">
  <p:tag name="SHAPENAME" val="5. Source"/>
</p:tagLst>
</file>

<file path=ppt/tags/tag20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69.xml><?xml version="1.0" encoding="utf-8"?>
<p:tagLst xmlns:a="http://schemas.openxmlformats.org/drawingml/2006/main" xmlns:r="http://schemas.openxmlformats.org/officeDocument/2006/relationships" xmlns:p="http://schemas.openxmlformats.org/presentationml/2006/main">
  <p:tag name="SHAPENAME" val="5. Source"/>
</p:tagLst>
</file>

<file path=ppt/tags/tag2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75.xml><?xml version="1.0" encoding="utf-8"?>
<p:tagLst xmlns:a="http://schemas.openxmlformats.org/drawingml/2006/main" xmlns:r="http://schemas.openxmlformats.org/officeDocument/2006/relationships" xmlns:p="http://schemas.openxmlformats.org/presentationml/2006/main">
  <p:tag name="SHAPENAME" val="5. Source"/>
</p:tagLst>
</file>

<file path=ppt/tags/tag20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1.xml><?xml version="1.0" encoding="utf-8"?>
<p:tagLst xmlns:a="http://schemas.openxmlformats.org/drawingml/2006/main" xmlns:r="http://schemas.openxmlformats.org/officeDocument/2006/relationships" xmlns:p="http://schemas.openxmlformats.org/presentationml/2006/main">
  <p:tag name="SHAPENAME" val="5. Source"/>
</p:tagLst>
</file>

<file path=ppt/tags/tag20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87.xml><?xml version="1.0" encoding="utf-8"?>
<p:tagLst xmlns:a="http://schemas.openxmlformats.org/drawingml/2006/main" xmlns:r="http://schemas.openxmlformats.org/officeDocument/2006/relationships" xmlns:p="http://schemas.openxmlformats.org/presentationml/2006/main">
  <p:tag name="SHAPENAME" val="5. Source"/>
</p:tagLst>
</file>

<file path=ppt/tags/tag20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SHAPENAME" val="5. Source"/>
</p:tagLst>
</file>

<file path=ppt/tags/tag20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93.xml><?xml version="1.0" encoding="utf-8"?>
<p:tagLst xmlns:a="http://schemas.openxmlformats.org/drawingml/2006/main" xmlns:r="http://schemas.openxmlformats.org/officeDocument/2006/relationships" xmlns:p="http://schemas.openxmlformats.org/presentationml/2006/main">
  <p:tag name="SHAPENAME" val="5. Source"/>
</p:tagLst>
</file>

<file path=ppt/tags/tag20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0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0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0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099.xml><?xml version="1.0" encoding="utf-8"?>
<p:tagLst xmlns:a="http://schemas.openxmlformats.org/drawingml/2006/main" xmlns:r="http://schemas.openxmlformats.org/officeDocument/2006/relationships" xmlns:p="http://schemas.openxmlformats.org/presentationml/2006/main">
  <p:tag name="SHAPENAME" val="5. Sourc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05.xml><?xml version="1.0" encoding="utf-8"?>
<p:tagLst xmlns:a="http://schemas.openxmlformats.org/drawingml/2006/main" xmlns:r="http://schemas.openxmlformats.org/officeDocument/2006/relationships" xmlns:p="http://schemas.openxmlformats.org/presentationml/2006/main">
  <p:tag name="SHAPENAME" val="5. Source"/>
</p:tagLst>
</file>

<file path=ppt/tags/tag21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1.xml><?xml version="1.0" encoding="utf-8"?>
<p:tagLst xmlns:a="http://schemas.openxmlformats.org/drawingml/2006/main" xmlns:r="http://schemas.openxmlformats.org/officeDocument/2006/relationships" xmlns:p="http://schemas.openxmlformats.org/presentationml/2006/main">
  <p:tag name="SHAPENAME" val="5. Source"/>
</p:tagLst>
</file>

<file path=ppt/tags/tag21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17.xml><?xml version="1.0" encoding="utf-8"?>
<p:tagLst xmlns:a="http://schemas.openxmlformats.org/drawingml/2006/main" xmlns:r="http://schemas.openxmlformats.org/officeDocument/2006/relationships" xmlns:p="http://schemas.openxmlformats.org/presentationml/2006/main">
  <p:tag name="SHAPENAME" val="5. Source"/>
</p:tagLst>
</file>

<file path=ppt/tags/tag21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3.xml><?xml version="1.0" encoding="utf-8"?>
<p:tagLst xmlns:a="http://schemas.openxmlformats.org/drawingml/2006/main" xmlns:r="http://schemas.openxmlformats.org/officeDocument/2006/relationships" xmlns:p="http://schemas.openxmlformats.org/presentationml/2006/main">
  <p:tag name="SHAPENAME" val="5. Source"/>
</p:tagLst>
</file>

<file path=ppt/tags/tag21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29.xml><?xml version="1.0" encoding="utf-8"?>
<p:tagLst xmlns:a="http://schemas.openxmlformats.org/drawingml/2006/main" xmlns:r="http://schemas.openxmlformats.org/officeDocument/2006/relationships" xmlns:p="http://schemas.openxmlformats.org/presentationml/2006/main">
  <p:tag name="SHAPENAME" val="5. Source"/>
</p:tagLst>
</file>

<file path=ppt/tags/tag2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35.xml><?xml version="1.0" encoding="utf-8"?>
<p:tagLst xmlns:a="http://schemas.openxmlformats.org/drawingml/2006/main" xmlns:r="http://schemas.openxmlformats.org/officeDocument/2006/relationships" xmlns:p="http://schemas.openxmlformats.org/presentationml/2006/main">
  <p:tag name="SHAPENAME" val="5. Source"/>
</p:tagLst>
</file>

<file path=ppt/tags/tag21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1.xml><?xml version="1.0" encoding="utf-8"?>
<p:tagLst xmlns:a="http://schemas.openxmlformats.org/drawingml/2006/main" xmlns:r="http://schemas.openxmlformats.org/officeDocument/2006/relationships" xmlns:p="http://schemas.openxmlformats.org/presentationml/2006/main">
  <p:tag name="SHAPENAME" val="5. Source"/>
</p:tagLst>
</file>

<file path=ppt/tags/tag21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47.xml><?xml version="1.0" encoding="utf-8"?>
<p:tagLst xmlns:a="http://schemas.openxmlformats.org/drawingml/2006/main" xmlns:r="http://schemas.openxmlformats.org/officeDocument/2006/relationships" xmlns:p="http://schemas.openxmlformats.org/presentationml/2006/main">
  <p:tag name="SHAPENAME" val="5. Source"/>
</p:tagLst>
</file>

<file path=ppt/tags/tag21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SHAPENAME" val="5. Source"/>
</p:tagLst>
</file>

<file path=ppt/tags/tag21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53.xml><?xml version="1.0" encoding="utf-8"?>
<p:tagLst xmlns:a="http://schemas.openxmlformats.org/drawingml/2006/main" xmlns:r="http://schemas.openxmlformats.org/officeDocument/2006/relationships" xmlns:p="http://schemas.openxmlformats.org/presentationml/2006/main">
  <p:tag name="SHAPENAME" val="5. Source"/>
</p:tagLst>
</file>

<file path=ppt/tags/tag21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59.xml><?xml version="1.0" encoding="utf-8"?>
<p:tagLst xmlns:a="http://schemas.openxmlformats.org/drawingml/2006/main" xmlns:r="http://schemas.openxmlformats.org/officeDocument/2006/relationships" xmlns:p="http://schemas.openxmlformats.org/presentationml/2006/main">
  <p:tag name="SHAPENAME" val="5. Source"/>
</p:tagLst>
</file>

<file path=ppt/tags/tag2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65.xml><?xml version="1.0" encoding="utf-8"?>
<p:tagLst xmlns:a="http://schemas.openxmlformats.org/drawingml/2006/main" xmlns:r="http://schemas.openxmlformats.org/officeDocument/2006/relationships" xmlns:p="http://schemas.openxmlformats.org/presentationml/2006/main">
  <p:tag name="SHAPENAME" val="5. Source"/>
</p:tagLst>
</file>

<file path=ppt/tags/tag21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1.xml><?xml version="1.0" encoding="utf-8"?>
<p:tagLst xmlns:a="http://schemas.openxmlformats.org/drawingml/2006/main" xmlns:r="http://schemas.openxmlformats.org/officeDocument/2006/relationships" xmlns:p="http://schemas.openxmlformats.org/presentationml/2006/main">
  <p:tag name="SHAPENAME" val="5. Source"/>
</p:tagLst>
</file>

<file path=ppt/tags/tag21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77.xml><?xml version="1.0" encoding="utf-8"?>
<p:tagLst xmlns:a="http://schemas.openxmlformats.org/drawingml/2006/main" xmlns:r="http://schemas.openxmlformats.org/officeDocument/2006/relationships" xmlns:p="http://schemas.openxmlformats.org/presentationml/2006/main">
  <p:tag name="SHAPENAME" val="5. Source"/>
</p:tagLst>
</file>

<file path=ppt/tags/tag21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3.xml><?xml version="1.0" encoding="utf-8"?>
<p:tagLst xmlns:a="http://schemas.openxmlformats.org/drawingml/2006/main" xmlns:r="http://schemas.openxmlformats.org/officeDocument/2006/relationships" xmlns:p="http://schemas.openxmlformats.org/presentationml/2006/main">
  <p:tag name="SHAPENAME" val="5. Source"/>
</p:tagLst>
</file>

<file path=ppt/tags/tag21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89.xml><?xml version="1.0" encoding="utf-8"?>
<p:tagLst xmlns:a="http://schemas.openxmlformats.org/drawingml/2006/main" xmlns:r="http://schemas.openxmlformats.org/officeDocument/2006/relationships" xmlns:p="http://schemas.openxmlformats.org/presentationml/2006/main">
  <p:tag name="SHAPENAME" val="5. Source"/>
</p:tagLst>
</file>

<file path=ppt/tags/tag2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1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195.xml><?xml version="1.0" encoding="utf-8"?>
<p:tagLst xmlns:a="http://schemas.openxmlformats.org/drawingml/2006/main" xmlns:r="http://schemas.openxmlformats.org/officeDocument/2006/relationships" xmlns:p="http://schemas.openxmlformats.org/presentationml/2006/main">
  <p:tag name="SHAPENAME" val="5. Source"/>
</p:tagLst>
</file>

<file path=ppt/tags/tag21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1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01.xml><?xml version="1.0" encoding="utf-8"?>
<p:tagLst xmlns:a="http://schemas.openxmlformats.org/drawingml/2006/main" xmlns:r="http://schemas.openxmlformats.org/officeDocument/2006/relationships" xmlns:p="http://schemas.openxmlformats.org/presentationml/2006/main">
  <p:tag name="SHAPENAME" val="5. Source"/>
</p:tagLst>
</file>

<file path=ppt/tags/tag22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07.xml><?xml version="1.0" encoding="utf-8"?>
<p:tagLst xmlns:a="http://schemas.openxmlformats.org/drawingml/2006/main" xmlns:r="http://schemas.openxmlformats.org/officeDocument/2006/relationships" xmlns:p="http://schemas.openxmlformats.org/presentationml/2006/main">
  <p:tag name="SHAPENAME" val="5. Source"/>
</p:tagLst>
</file>

<file path=ppt/tags/tag22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SHAPENAME" val="5. Source"/>
</p:tagLst>
</file>

<file path=ppt/tags/tag22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3.xml><?xml version="1.0" encoding="utf-8"?>
<p:tagLst xmlns:a="http://schemas.openxmlformats.org/drawingml/2006/main" xmlns:r="http://schemas.openxmlformats.org/officeDocument/2006/relationships" xmlns:p="http://schemas.openxmlformats.org/presentationml/2006/main">
  <p:tag name="SHAPENAME" val="5. Source"/>
</p:tagLst>
</file>

<file path=ppt/tags/tag22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19.xml><?xml version="1.0" encoding="utf-8"?>
<p:tagLst xmlns:a="http://schemas.openxmlformats.org/drawingml/2006/main" xmlns:r="http://schemas.openxmlformats.org/officeDocument/2006/relationships" xmlns:p="http://schemas.openxmlformats.org/presentationml/2006/main">
  <p:tag name="SHAPENAME" val="5. Source"/>
</p:tagLst>
</file>

<file path=ppt/tags/tag2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25.xml><?xml version="1.0" encoding="utf-8"?>
<p:tagLst xmlns:a="http://schemas.openxmlformats.org/drawingml/2006/main" xmlns:r="http://schemas.openxmlformats.org/officeDocument/2006/relationships" xmlns:p="http://schemas.openxmlformats.org/presentationml/2006/main">
  <p:tag name="SHAPENAME" val="5. Source"/>
</p:tagLst>
</file>

<file path=ppt/tags/tag22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31.xml><?xml version="1.0" encoding="utf-8"?>
<p:tagLst xmlns:a="http://schemas.openxmlformats.org/drawingml/2006/main" xmlns:r="http://schemas.openxmlformats.org/officeDocument/2006/relationships" xmlns:p="http://schemas.openxmlformats.org/presentationml/2006/main">
  <p:tag name="SHAPENAME" val="5. Source"/>
</p:tagLst>
</file>

<file path=ppt/tags/tag22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37.xml><?xml version="1.0" encoding="utf-8"?>
<p:tagLst xmlns:a="http://schemas.openxmlformats.org/drawingml/2006/main" xmlns:r="http://schemas.openxmlformats.org/officeDocument/2006/relationships" xmlns:p="http://schemas.openxmlformats.org/presentationml/2006/main">
  <p:tag name="SHAPENAME" val="5. Source"/>
</p:tagLst>
</file>

<file path=ppt/tags/tag22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3.xml><?xml version="1.0" encoding="utf-8"?>
<p:tagLst xmlns:a="http://schemas.openxmlformats.org/drawingml/2006/main" xmlns:r="http://schemas.openxmlformats.org/officeDocument/2006/relationships" xmlns:p="http://schemas.openxmlformats.org/presentationml/2006/main">
  <p:tag name="SHAPENAME" val="5. Source"/>
</p:tagLst>
</file>

<file path=ppt/tags/tag22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49.xml><?xml version="1.0" encoding="utf-8"?>
<p:tagLst xmlns:a="http://schemas.openxmlformats.org/drawingml/2006/main" xmlns:r="http://schemas.openxmlformats.org/officeDocument/2006/relationships" xmlns:p="http://schemas.openxmlformats.org/presentationml/2006/main">
  <p:tag name="SHAPENAME" val="5. Source"/>
</p:tagLst>
</file>

<file path=ppt/tags/tag2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55.xml><?xml version="1.0" encoding="utf-8"?>
<p:tagLst xmlns:a="http://schemas.openxmlformats.org/drawingml/2006/main" xmlns:r="http://schemas.openxmlformats.org/officeDocument/2006/relationships" xmlns:p="http://schemas.openxmlformats.org/presentationml/2006/main">
  <p:tag name="SHAPENAME" val="5. Source"/>
</p:tagLst>
</file>

<file path=ppt/tags/tag22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1.xml><?xml version="1.0" encoding="utf-8"?>
<p:tagLst xmlns:a="http://schemas.openxmlformats.org/drawingml/2006/main" xmlns:r="http://schemas.openxmlformats.org/officeDocument/2006/relationships" xmlns:p="http://schemas.openxmlformats.org/presentationml/2006/main">
  <p:tag name="SHAPENAME" val="5. Source"/>
</p:tagLst>
</file>

<file path=ppt/tags/tag22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67.xml><?xml version="1.0" encoding="utf-8"?>
<p:tagLst xmlns:a="http://schemas.openxmlformats.org/drawingml/2006/main" xmlns:r="http://schemas.openxmlformats.org/officeDocument/2006/relationships" xmlns:p="http://schemas.openxmlformats.org/presentationml/2006/main">
  <p:tag name="SHAPENAME" val="5. Source"/>
</p:tagLst>
</file>

<file path=ppt/tags/tag22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SHAPENAME" val="5. Source"/>
</p:tagLst>
</file>

<file path=ppt/tags/tag22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3.xml><?xml version="1.0" encoding="utf-8"?>
<p:tagLst xmlns:a="http://schemas.openxmlformats.org/drawingml/2006/main" xmlns:r="http://schemas.openxmlformats.org/officeDocument/2006/relationships" xmlns:p="http://schemas.openxmlformats.org/presentationml/2006/main">
  <p:tag name="SHAPENAME" val="5. Source"/>
</p:tagLst>
</file>

<file path=ppt/tags/tag22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79.xml><?xml version="1.0" encoding="utf-8"?>
<p:tagLst xmlns:a="http://schemas.openxmlformats.org/drawingml/2006/main" xmlns:r="http://schemas.openxmlformats.org/officeDocument/2006/relationships" xmlns:p="http://schemas.openxmlformats.org/presentationml/2006/main">
  <p:tag name="SHAPENAME" val="5. Source"/>
</p:tagLst>
</file>

<file path=ppt/tags/tag2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85.xml><?xml version="1.0" encoding="utf-8"?>
<p:tagLst xmlns:a="http://schemas.openxmlformats.org/drawingml/2006/main" xmlns:r="http://schemas.openxmlformats.org/officeDocument/2006/relationships" xmlns:p="http://schemas.openxmlformats.org/presentationml/2006/main">
  <p:tag name="SHAPENAME" val="5. Source"/>
</p:tagLst>
</file>

<file path=ppt/tags/tag22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1.xml><?xml version="1.0" encoding="utf-8"?>
<p:tagLst xmlns:a="http://schemas.openxmlformats.org/drawingml/2006/main" xmlns:r="http://schemas.openxmlformats.org/officeDocument/2006/relationships" xmlns:p="http://schemas.openxmlformats.org/presentationml/2006/main">
  <p:tag name="SHAPENAME" val="5. Source"/>
</p:tagLst>
</file>

<file path=ppt/tags/tag22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2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2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297.xml><?xml version="1.0" encoding="utf-8"?>
<p:tagLst xmlns:a="http://schemas.openxmlformats.org/drawingml/2006/main" xmlns:r="http://schemas.openxmlformats.org/officeDocument/2006/relationships" xmlns:p="http://schemas.openxmlformats.org/presentationml/2006/main">
  <p:tag name="SHAPENAME" val="5. Source"/>
</p:tagLst>
</file>

<file path=ppt/tags/tag22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2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03.xml><?xml version="1.0" encoding="utf-8"?>
<p:tagLst xmlns:a="http://schemas.openxmlformats.org/drawingml/2006/main" xmlns:r="http://schemas.openxmlformats.org/officeDocument/2006/relationships" xmlns:p="http://schemas.openxmlformats.org/presentationml/2006/main">
  <p:tag name="SHAPENAME" val="5. Source"/>
</p:tagLst>
</file>

<file path=ppt/tags/tag23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09.xml><?xml version="1.0" encoding="utf-8"?>
<p:tagLst xmlns:a="http://schemas.openxmlformats.org/drawingml/2006/main" xmlns:r="http://schemas.openxmlformats.org/officeDocument/2006/relationships" xmlns:p="http://schemas.openxmlformats.org/presentationml/2006/main">
  <p:tag name="SHAPENAME" val="5. Source"/>
</p:tagLst>
</file>

<file path=ppt/tags/tag2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15.xml><?xml version="1.0" encoding="utf-8"?>
<p:tagLst xmlns:a="http://schemas.openxmlformats.org/drawingml/2006/main" xmlns:r="http://schemas.openxmlformats.org/officeDocument/2006/relationships" xmlns:p="http://schemas.openxmlformats.org/presentationml/2006/main">
  <p:tag name="SHAPENAME" val="5. Source"/>
</p:tagLst>
</file>

<file path=ppt/tags/tag23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1.xml><?xml version="1.0" encoding="utf-8"?>
<p:tagLst xmlns:a="http://schemas.openxmlformats.org/drawingml/2006/main" xmlns:r="http://schemas.openxmlformats.org/officeDocument/2006/relationships" xmlns:p="http://schemas.openxmlformats.org/presentationml/2006/main">
  <p:tag name="SHAPENAME" val="5. Source"/>
</p:tagLst>
</file>

<file path=ppt/tags/tag23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27.xml><?xml version="1.0" encoding="utf-8"?>
<p:tagLst xmlns:a="http://schemas.openxmlformats.org/drawingml/2006/main" xmlns:r="http://schemas.openxmlformats.org/officeDocument/2006/relationships" xmlns:p="http://schemas.openxmlformats.org/presentationml/2006/main">
  <p:tag name="SHAPENAME" val="5. Source"/>
</p:tagLst>
</file>

<file path=ppt/tags/tag23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3.xml><?xml version="1.0" encoding="utf-8"?>
<p:tagLst xmlns:a="http://schemas.openxmlformats.org/drawingml/2006/main" xmlns:r="http://schemas.openxmlformats.org/officeDocument/2006/relationships" xmlns:p="http://schemas.openxmlformats.org/presentationml/2006/main">
  <p:tag name="SHAPENAME" val="5. Source"/>
</p:tagLst>
</file>

<file path=ppt/tags/tag23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39.xml><?xml version="1.0" encoding="utf-8"?>
<p:tagLst xmlns:a="http://schemas.openxmlformats.org/drawingml/2006/main" xmlns:r="http://schemas.openxmlformats.org/officeDocument/2006/relationships" xmlns:p="http://schemas.openxmlformats.org/presentationml/2006/main">
  <p:tag name="SHAPENAME" val="5. Source"/>
</p:tagLst>
</file>

<file path=ppt/tags/tag2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45.xml><?xml version="1.0" encoding="utf-8"?>
<p:tagLst xmlns:a="http://schemas.openxmlformats.org/drawingml/2006/main" xmlns:r="http://schemas.openxmlformats.org/officeDocument/2006/relationships" xmlns:p="http://schemas.openxmlformats.org/presentationml/2006/main">
  <p:tag name="SHAPENAME" val="5. Source"/>
</p:tagLst>
</file>

<file path=ppt/tags/tag23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1.xml><?xml version="1.0" encoding="utf-8"?>
<p:tagLst xmlns:a="http://schemas.openxmlformats.org/drawingml/2006/main" xmlns:r="http://schemas.openxmlformats.org/officeDocument/2006/relationships" xmlns:p="http://schemas.openxmlformats.org/presentationml/2006/main">
  <p:tag name="SHAPENAME" val="5. Source"/>
</p:tagLst>
</file>

<file path=ppt/tags/tag23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57.xml><?xml version="1.0" encoding="utf-8"?>
<p:tagLst xmlns:a="http://schemas.openxmlformats.org/drawingml/2006/main" xmlns:r="http://schemas.openxmlformats.org/officeDocument/2006/relationships" xmlns:p="http://schemas.openxmlformats.org/presentationml/2006/main">
  <p:tag name="SHAPENAME" val="5. Source"/>
</p:tagLst>
</file>

<file path=ppt/tags/tag23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3.xml><?xml version="1.0" encoding="utf-8"?>
<p:tagLst xmlns:a="http://schemas.openxmlformats.org/drawingml/2006/main" xmlns:r="http://schemas.openxmlformats.org/officeDocument/2006/relationships" xmlns:p="http://schemas.openxmlformats.org/presentationml/2006/main">
  <p:tag name="SHAPENAME" val="5. Source"/>
</p:tagLst>
</file>

<file path=ppt/tags/tag23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69.xml><?xml version="1.0" encoding="utf-8"?>
<p:tagLst xmlns:a="http://schemas.openxmlformats.org/drawingml/2006/main" xmlns:r="http://schemas.openxmlformats.org/officeDocument/2006/relationships" xmlns:p="http://schemas.openxmlformats.org/presentationml/2006/main">
  <p:tag name="SHAPENAME" val="5. Source"/>
</p:tagLst>
</file>

<file path=ppt/tags/tag2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75.xml><?xml version="1.0" encoding="utf-8"?>
<p:tagLst xmlns:a="http://schemas.openxmlformats.org/drawingml/2006/main" xmlns:r="http://schemas.openxmlformats.org/officeDocument/2006/relationships" xmlns:p="http://schemas.openxmlformats.org/presentationml/2006/main">
  <p:tag name="SHAPENAME" val="5. Source"/>
</p:tagLst>
</file>

<file path=ppt/tags/tag23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1.xml><?xml version="1.0" encoding="utf-8"?>
<p:tagLst xmlns:a="http://schemas.openxmlformats.org/drawingml/2006/main" xmlns:r="http://schemas.openxmlformats.org/officeDocument/2006/relationships" xmlns:p="http://schemas.openxmlformats.org/presentationml/2006/main">
  <p:tag name="SHAPENAME" val="5. Source"/>
</p:tagLst>
</file>

<file path=ppt/tags/tag23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87.xml><?xml version="1.0" encoding="utf-8"?>
<p:tagLst xmlns:a="http://schemas.openxmlformats.org/drawingml/2006/main" xmlns:r="http://schemas.openxmlformats.org/officeDocument/2006/relationships" xmlns:p="http://schemas.openxmlformats.org/presentationml/2006/main">
  <p:tag name="SHAPENAME" val="5. Source"/>
</p:tagLst>
</file>

<file path=ppt/tags/tag23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SHAPENAME" val="5. Source"/>
</p:tagLst>
</file>

<file path=ppt/tags/tag23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3.xml><?xml version="1.0" encoding="utf-8"?>
<p:tagLst xmlns:a="http://schemas.openxmlformats.org/drawingml/2006/main" xmlns:r="http://schemas.openxmlformats.org/officeDocument/2006/relationships" xmlns:p="http://schemas.openxmlformats.org/presentationml/2006/main">
  <p:tag name="SHAPENAME" val="5. Source"/>
</p:tagLst>
</file>

<file path=ppt/tags/tag23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3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3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3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399.xml><?xml version="1.0" encoding="utf-8"?>
<p:tagLst xmlns:a="http://schemas.openxmlformats.org/drawingml/2006/main" xmlns:r="http://schemas.openxmlformats.org/officeDocument/2006/relationships" xmlns:p="http://schemas.openxmlformats.org/presentationml/2006/main">
  <p:tag name="SHAPENAME" val="5. Source"/>
</p:tagLst>
</file>

<file path=ppt/tags/tag24.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2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05.xml><?xml version="1.0" encoding="utf-8"?>
<p:tagLst xmlns:a="http://schemas.openxmlformats.org/drawingml/2006/main" xmlns:r="http://schemas.openxmlformats.org/officeDocument/2006/relationships" xmlns:p="http://schemas.openxmlformats.org/presentationml/2006/main">
  <p:tag name="SHAPENAME" val="5. Source"/>
</p:tagLst>
</file>

<file path=ppt/tags/tag24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1.xml><?xml version="1.0" encoding="utf-8"?>
<p:tagLst xmlns:a="http://schemas.openxmlformats.org/drawingml/2006/main" xmlns:r="http://schemas.openxmlformats.org/officeDocument/2006/relationships" xmlns:p="http://schemas.openxmlformats.org/presentationml/2006/main">
  <p:tag name="SHAPENAME" val="5. Source"/>
</p:tagLst>
</file>

<file path=ppt/tags/tag24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17.xml><?xml version="1.0" encoding="utf-8"?>
<p:tagLst xmlns:a="http://schemas.openxmlformats.org/drawingml/2006/main" xmlns:r="http://schemas.openxmlformats.org/officeDocument/2006/relationships" xmlns:p="http://schemas.openxmlformats.org/presentationml/2006/main">
  <p:tag name="SHAPENAME" val="5. Source"/>
</p:tagLst>
</file>

<file path=ppt/tags/tag24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23.xml><?xml version="1.0" encoding="utf-8"?>
<p:tagLst xmlns:a="http://schemas.openxmlformats.org/drawingml/2006/main" xmlns:r="http://schemas.openxmlformats.org/officeDocument/2006/relationships" xmlns:p="http://schemas.openxmlformats.org/presentationml/2006/main">
  <p:tag name="SHAPENAME" val="5. Source"/>
</p:tagLst>
</file>

<file path=ppt/tags/tag24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29.xml><?xml version="1.0" encoding="utf-8"?>
<p:tagLst xmlns:a="http://schemas.openxmlformats.org/drawingml/2006/main" xmlns:r="http://schemas.openxmlformats.org/officeDocument/2006/relationships" xmlns:p="http://schemas.openxmlformats.org/presentationml/2006/main">
  <p:tag name="SHAPENAME" val="5. Source"/>
</p:tagLst>
</file>

<file path=ppt/tags/tag2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35.xml><?xml version="1.0" encoding="utf-8"?>
<p:tagLst xmlns:a="http://schemas.openxmlformats.org/drawingml/2006/main" xmlns:r="http://schemas.openxmlformats.org/officeDocument/2006/relationships" xmlns:p="http://schemas.openxmlformats.org/presentationml/2006/main">
  <p:tag name="SHAPENAME" val="5. Source"/>
</p:tagLst>
</file>

<file path=ppt/tags/tag24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1.xml><?xml version="1.0" encoding="utf-8"?>
<p:tagLst xmlns:a="http://schemas.openxmlformats.org/drawingml/2006/main" xmlns:r="http://schemas.openxmlformats.org/officeDocument/2006/relationships" xmlns:p="http://schemas.openxmlformats.org/presentationml/2006/main">
  <p:tag name="SHAPENAME" val="5. Source"/>
</p:tagLst>
</file>

<file path=ppt/tags/tag24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47.xml><?xml version="1.0" encoding="utf-8"?>
<p:tagLst xmlns:a="http://schemas.openxmlformats.org/drawingml/2006/main" xmlns:r="http://schemas.openxmlformats.org/officeDocument/2006/relationships" xmlns:p="http://schemas.openxmlformats.org/presentationml/2006/main">
  <p:tag name="SHAPENAME" val="5. Source"/>
</p:tagLst>
</file>

<file path=ppt/tags/tag24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SHAPENAME" val="5. Source"/>
</p:tagLst>
</file>

<file path=ppt/tags/tag24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3.xml><?xml version="1.0" encoding="utf-8"?>
<p:tagLst xmlns:a="http://schemas.openxmlformats.org/drawingml/2006/main" xmlns:r="http://schemas.openxmlformats.org/officeDocument/2006/relationships" xmlns:p="http://schemas.openxmlformats.org/presentationml/2006/main">
  <p:tag name="SHAPENAME" val="5. Source"/>
</p:tagLst>
</file>

<file path=ppt/tags/tag24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59.xml><?xml version="1.0" encoding="utf-8"?>
<p:tagLst xmlns:a="http://schemas.openxmlformats.org/drawingml/2006/main" xmlns:r="http://schemas.openxmlformats.org/officeDocument/2006/relationships" xmlns:p="http://schemas.openxmlformats.org/presentationml/2006/main">
  <p:tag name="SHAPENAME" val="5. Source"/>
</p:tagLst>
</file>

<file path=ppt/tags/tag2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65.xml><?xml version="1.0" encoding="utf-8"?>
<p:tagLst xmlns:a="http://schemas.openxmlformats.org/drawingml/2006/main" xmlns:r="http://schemas.openxmlformats.org/officeDocument/2006/relationships" xmlns:p="http://schemas.openxmlformats.org/presentationml/2006/main">
  <p:tag name="SHAPENAME" val="5. Source"/>
</p:tagLst>
</file>

<file path=ppt/tags/tag24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1.xml><?xml version="1.0" encoding="utf-8"?>
<p:tagLst xmlns:a="http://schemas.openxmlformats.org/drawingml/2006/main" xmlns:r="http://schemas.openxmlformats.org/officeDocument/2006/relationships" xmlns:p="http://schemas.openxmlformats.org/presentationml/2006/main">
  <p:tag name="SHAPENAME" val="5. Source"/>
</p:tagLst>
</file>

<file path=ppt/tags/tag24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77.xml><?xml version="1.0" encoding="utf-8"?>
<p:tagLst xmlns:a="http://schemas.openxmlformats.org/drawingml/2006/main" xmlns:r="http://schemas.openxmlformats.org/officeDocument/2006/relationships" xmlns:p="http://schemas.openxmlformats.org/presentationml/2006/main">
  <p:tag name="SHAPENAME" val="5. Source"/>
</p:tagLst>
</file>

<file path=ppt/tags/tag24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3.xml><?xml version="1.0" encoding="utf-8"?>
<p:tagLst xmlns:a="http://schemas.openxmlformats.org/drawingml/2006/main" xmlns:r="http://schemas.openxmlformats.org/officeDocument/2006/relationships" xmlns:p="http://schemas.openxmlformats.org/presentationml/2006/main">
  <p:tag name="SHAPENAME" val="5. Source"/>
</p:tagLst>
</file>

<file path=ppt/tags/tag24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89.xml><?xml version="1.0" encoding="utf-8"?>
<p:tagLst xmlns:a="http://schemas.openxmlformats.org/drawingml/2006/main" xmlns:r="http://schemas.openxmlformats.org/officeDocument/2006/relationships" xmlns:p="http://schemas.openxmlformats.org/presentationml/2006/main">
  <p:tag name="SHAPENAME" val="5. Source"/>
</p:tagLst>
</file>

<file path=ppt/tags/tag2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4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495.xml><?xml version="1.0" encoding="utf-8"?>
<p:tagLst xmlns:a="http://schemas.openxmlformats.org/drawingml/2006/main" xmlns:r="http://schemas.openxmlformats.org/officeDocument/2006/relationships" xmlns:p="http://schemas.openxmlformats.org/presentationml/2006/main">
  <p:tag name="SHAPENAME" val="5. Source"/>
</p:tagLst>
</file>

<file path=ppt/tags/tag24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4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xml><?xml version="1.0" encoding="utf-8"?>
<p:tagLst xmlns:a="http://schemas.openxmlformats.org/drawingml/2006/main" xmlns:r="http://schemas.openxmlformats.org/officeDocument/2006/relationships" xmlns:p="http://schemas.openxmlformats.org/presentationml/2006/main">
  <p:tag name="SHAPENAME" val="5. Source"/>
</p:tagLst>
</file>

<file path=ppt/tags/tag2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01.xml><?xml version="1.0" encoding="utf-8"?>
<p:tagLst xmlns:a="http://schemas.openxmlformats.org/drawingml/2006/main" xmlns:r="http://schemas.openxmlformats.org/officeDocument/2006/relationships" xmlns:p="http://schemas.openxmlformats.org/presentationml/2006/main">
  <p:tag name="SHAPENAME" val="5. Source"/>
</p:tagLst>
</file>

<file path=ppt/tags/tag25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07.xml><?xml version="1.0" encoding="utf-8"?>
<p:tagLst xmlns:a="http://schemas.openxmlformats.org/drawingml/2006/main" xmlns:r="http://schemas.openxmlformats.org/officeDocument/2006/relationships" xmlns:p="http://schemas.openxmlformats.org/presentationml/2006/main">
  <p:tag name="SHAPENAME" val="5. Source"/>
</p:tagLst>
</file>

<file path=ppt/tags/tag25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SHAPENAME" val="5. Source"/>
</p:tagLst>
</file>

<file path=ppt/tags/tag25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3.xml><?xml version="1.0" encoding="utf-8"?>
<p:tagLst xmlns:a="http://schemas.openxmlformats.org/drawingml/2006/main" xmlns:r="http://schemas.openxmlformats.org/officeDocument/2006/relationships" xmlns:p="http://schemas.openxmlformats.org/presentationml/2006/main">
  <p:tag name="SHAPENAME" val="5. Source"/>
</p:tagLst>
</file>

<file path=ppt/tags/tag25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19.xml><?xml version="1.0" encoding="utf-8"?>
<p:tagLst xmlns:a="http://schemas.openxmlformats.org/drawingml/2006/main" xmlns:r="http://schemas.openxmlformats.org/officeDocument/2006/relationships" xmlns:p="http://schemas.openxmlformats.org/presentationml/2006/main">
  <p:tag name="SHAPENAME" val="5. Source"/>
</p:tagLst>
</file>

<file path=ppt/tags/tag2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25.xml><?xml version="1.0" encoding="utf-8"?>
<p:tagLst xmlns:a="http://schemas.openxmlformats.org/drawingml/2006/main" xmlns:r="http://schemas.openxmlformats.org/officeDocument/2006/relationships" xmlns:p="http://schemas.openxmlformats.org/presentationml/2006/main">
  <p:tag name="SHAPENAME" val="5. Source"/>
</p:tagLst>
</file>

<file path=ppt/tags/tag25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1.xml><?xml version="1.0" encoding="utf-8"?>
<p:tagLst xmlns:a="http://schemas.openxmlformats.org/drawingml/2006/main" xmlns:r="http://schemas.openxmlformats.org/officeDocument/2006/relationships" xmlns:p="http://schemas.openxmlformats.org/presentationml/2006/main">
  <p:tag name="SHAPENAME" val="5. Source"/>
</p:tagLst>
</file>

<file path=ppt/tags/tag25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37.xml><?xml version="1.0" encoding="utf-8"?>
<p:tagLst xmlns:a="http://schemas.openxmlformats.org/drawingml/2006/main" xmlns:r="http://schemas.openxmlformats.org/officeDocument/2006/relationships" xmlns:p="http://schemas.openxmlformats.org/presentationml/2006/main">
  <p:tag name="SHAPENAME" val="5. Source"/>
</p:tagLst>
</file>

<file path=ppt/tags/tag25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3.xml><?xml version="1.0" encoding="utf-8"?>
<p:tagLst xmlns:a="http://schemas.openxmlformats.org/drawingml/2006/main" xmlns:r="http://schemas.openxmlformats.org/officeDocument/2006/relationships" xmlns:p="http://schemas.openxmlformats.org/presentationml/2006/main">
  <p:tag name="SHAPENAME" val="5. Source"/>
</p:tagLst>
</file>

<file path=ppt/tags/tag25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49.xml><?xml version="1.0" encoding="utf-8"?>
<p:tagLst xmlns:a="http://schemas.openxmlformats.org/drawingml/2006/main" xmlns:r="http://schemas.openxmlformats.org/officeDocument/2006/relationships" xmlns:p="http://schemas.openxmlformats.org/presentationml/2006/main">
  <p:tag name="SHAPENAME" val="5. Source"/>
</p:tagLst>
</file>

<file path=ppt/tags/tag2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55.xml><?xml version="1.0" encoding="utf-8"?>
<p:tagLst xmlns:a="http://schemas.openxmlformats.org/drawingml/2006/main" xmlns:r="http://schemas.openxmlformats.org/officeDocument/2006/relationships" xmlns:p="http://schemas.openxmlformats.org/presentationml/2006/main">
  <p:tag name="SHAPENAME" val="5. Source"/>
</p:tagLst>
</file>

<file path=ppt/tags/tag25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61.xml><?xml version="1.0" encoding="utf-8"?>
<p:tagLst xmlns:a="http://schemas.openxmlformats.org/drawingml/2006/main" xmlns:r="http://schemas.openxmlformats.org/officeDocument/2006/relationships" xmlns:p="http://schemas.openxmlformats.org/presentationml/2006/main">
  <p:tag name="SHAPENAME" val="5. Source"/>
</p:tagLst>
</file>

<file path=ppt/tags/tag25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67.xml><?xml version="1.0" encoding="utf-8"?>
<p:tagLst xmlns:a="http://schemas.openxmlformats.org/drawingml/2006/main" xmlns:r="http://schemas.openxmlformats.org/officeDocument/2006/relationships" xmlns:p="http://schemas.openxmlformats.org/presentationml/2006/main">
  <p:tag name="SHAPENAME" val="5. Source"/>
</p:tagLst>
</file>

<file path=ppt/tags/tag25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xml><?xml version="1.0" encoding="utf-8"?>
<p:tagLst xmlns:a="http://schemas.openxmlformats.org/drawingml/2006/main" xmlns:r="http://schemas.openxmlformats.org/officeDocument/2006/relationships" xmlns:p="http://schemas.openxmlformats.org/presentationml/2006/main">
  <p:tag name="SHAPENAME" val="5. Source"/>
</p:tagLst>
</file>

<file path=ppt/tags/tag25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73.xml><?xml version="1.0" encoding="utf-8"?>
<p:tagLst xmlns:a="http://schemas.openxmlformats.org/drawingml/2006/main" xmlns:r="http://schemas.openxmlformats.org/officeDocument/2006/relationships" xmlns:p="http://schemas.openxmlformats.org/presentationml/2006/main">
  <p:tag name="SHAPENAME" val="5. Source"/>
</p:tagLst>
</file>

<file path=ppt/tags/tag25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79.xml><?xml version="1.0" encoding="utf-8"?>
<p:tagLst xmlns:a="http://schemas.openxmlformats.org/drawingml/2006/main" xmlns:r="http://schemas.openxmlformats.org/officeDocument/2006/relationships" xmlns:p="http://schemas.openxmlformats.org/presentationml/2006/main">
  <p:tag name="SHAPENAME" val="5. Source"/>
</p:tagLst>
</file>

<file path=ppt/tags/tag2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85.xml><?xml version="1.0" encoding="utf-8"?>
<p:tagLst xmlns:a="http://schemas.openxmlformats.org/drawingml/2006/main" xmlns:r="http://schemas.openxmlformats.org/officeDocument/2006/relationships" xmlns:p="http://schemas.openxmlformats.org/presentationml/2006/main">
  <p:tag name="SHAPENAME" val="5. Source"/>
</p:tagLst>
</file>

<file path=ppt/tags/tag25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1.xml><?xml version="1.0" encoding="utf-8"?>
<p:tagLst xmlns:a="http://schemas.openxmlformats.org/drawingml/2006/main" xmlns:r="http://schemas.openxmlformats.org/officeDocument/2006/relationships" xmlns:p="http://schemas.openxmlformats.org/presentationml/2006/main">
  <p:tag name="SHAPENAME" val="5. Source"/>
</p:tagLst>
</file>

<file path=ppt/tags/tag25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5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5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597.xml><?xml version="1.0" encoding="utf-8"?>
<p:tagLst xmlns:a="http://schemas.openxmlformats.org/drawingml/2006/main" xmlns:r="http://schemas.openxmlformats.org/officeDocument/2006/relationships" xmlns:p="http://schemas.openxmlformats.org/presentationml/2006/main">
  <p:tag name="SHAPENAME" val="5. Source"/>
</p:tagLst>
</file>

<file path=ppt/tags/tag25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03.xml><?xml version="1.0" encoding="utf-8"?>
<p:tagLst xmlns:a="http://schemas.openxmlformats.org/drawingml/2006/main" xmlns:r="http://schemas.openxmlformats.org/officeDocument/2006/relationships" xmlns:p="http://schemas.openxmlformats.org/presentationml/2006/main">
  <p:tag name="SHAPENAME" val="5. Source"/>
</p:tagLst>
</file>

<file path=ppt/tags/tag26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09.xml><?xml version="1.0" encoding="utf-8"?>
<p:tagLst xmlns:a="http://schemas.openxmlformats.org/drawingml/2006/main" xmlns:r="http://schemas.openxmlformats.org/officeDocument/2006/relationships" xmlns:p="http://schemas.openxmlformats.org/presentationml/2006/main">
  <p:tag name="SHAPENAME" val="5. Source"/>
</p:tagLst>
</file>

<file path=ppt/tags/tag2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15.xml><?xml version="1.0" encoding="utf-8"?>
<p:tagLst xmlns:a="http://schemas.openxmlformats.org/drawingml/2006/main" xmlns:r="http://schemas.openxmlformats.org/officeDocument/2006/relationships" xmlns:p="http://schemas.openxmlformats.org/presentationml/2006/main">
  <p:tag name="SHAPENAME" val="5. Source"/>
</p:tagLst>
</file>

<file path=ppt/tags/tag26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1.xml><?xml version="1.0" encoding="utf-8"?>
<p:tagLst xmlns:a="http://schemas.openxmlformats.org/drawingml/2006/main" xmlns:r="http://schemas.openxmlformats.org/officeDocument/2006/relationships" xmlns:p="http://schemas.openxmlformats.org/presentationml/2006/main">
  <p:tag name="SHAPENAME" val="5. Source"/>
</p:tagLst>
</file>

<file path=ppt/tags/tag26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27.xml><?xml version="1.0" encoding="utf-8"?>
<p:tagLst xmlns:a="http://schemas.openxmlformats.org/drawingml/2006/main" xmlns:r="http://schemas.openxmlformats.org/officeDocument/2006/relationships" xmlns:p="http://schemas.openxmlformats.org/presentationml/2006/main">
  <p:tag name="SHAPENAME" val="5. Source"/>
</p:tagLst>
</file>

<file path=ppt/tags/tag26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3.xml><?xml version="1.0" encoding="utf-8"?>
<p:tagLst xmlns:a="http://schemas.openxmlformats.org/drawingml/2006/main" xmlns:r="http://schemas.openxmlformats.org/officeDocument/2006/relationships" xmlns:p="http://schemas.openxmlformats.org/presentationml/2006/main">
  <p:tag name="SHAPENAME" val="5. Source"/>
</p:tagLst>
</file>

<file path=ppt/tags/tag26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39.xml><?xml version="1.0" encoding="utf-8"?>
<p:tagLst xmlns:a="http://schemas.openxmlformats.org/drawingml/2006/main" xmlns:r="http://schemas.openxmlformats.org/officeDocument/2006/relationships" xmlns:p="http://schemas.openxmlformats.org/presentationml/2006/main">
  <p:tag name="SHAPENAME" val="5. Source"/>
</p:tagLst>
</file>

<file path=ppt/tags/tag2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45.xml><?xml version="1.0" encoding="utf-8"?>
<p:tagLst xmlns:a="http://schemas.openxmlformats.org/drawingml/2006/main" xmlns:r="http://schemas.openxmlformats.org/officeDocument/2006/relationships" xmlns:p="http://schemas.openxmlformats.org/presentationml/2006/main">
  <p:tag name="SHAPENAME" val="5. Source"/>
</p:tagLst>
</file>

<file path=ppt/tags/tag26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1.xml><?xml version="1.0" encoding="utf-8"?>
<p:tagLst xmlns:a="http://schemas.openxmlformats.org/drawingml/2006/main" xmlns:r="http://schemas.openxmlformats.org/officeDocument/2006/relationships" xmlns:p="http://schemas.openxmlformats.org/presentationml/2006/main">
  <p:tag name="SHAPENAME" val="5. Source"/>
</p:tagLst>
</file>

<file path=ppt/tags/tag26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57.xml><?xml version="1.0" encoding="utf-8"?>
<p:tagLst xmlns:a="http://schemas.openxmlformats.org/drawingml/2006/main" xmlns:r="http://schemas.openxmlformats.org/officeDocument/2006/relationships" xmlns:p="http://schemas.openxmlformats.org/presentationml/2006/main">
  <p:tag name="SHAPENAME" val="5. Source"/>
</p:tagLst>
</file>

<file path=ppt/tags/tag26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3.xml><?xml version="1.0" encoding="utf-8"?>
<p:tagLst xmlns:a="http://schemas.openxmlformats.org/drawingml/2006/main" xmlns:r="http://schemas.openxmlformats.org/officeDocument/2006/relationships" xmlns:p="http://schemas.openxmlformats.org/presentationml/2006/main">
  <p:tag name="SHAPENAME" val="5. Source"/>
</p:tagLst>
</file>

<file path=ppt/tags/tag26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69.xml><?xml version="1.0" encoding="utf-8"?>
<p:tagLst xmlns:a="http://schemas.openxmlformats.org/drawingml/2006/main" xmlns:r="http://schemas.openxmlformats.org/officeDocument/2006/relationships" xmlns:p="http://schemas.openxmlformats.org/presentationml/2006/main">
  <p:tag name="SHAPENAME" val="5. Source"/>
</p:tagLst>
</file>

<file path=ppt/tags/tag2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75.xml><?xml version="1.0" encoding="utf-8"?>
<p:tagLst xmlns:a="http://schemas.openxmlformats.org/drawingml/2006/main" xmlns:r="http://schemas.openxmlformats.org/officeDocument/2006/relationships" xmlns:p="http://schemas.openxmlformats.org/presentationml/2006/main">
  <p:tag name="SHAPENAME" val="5. Source"/>
</p:tagLst>
</file>

<file path=ppt/tags/tag26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1.xml><?xml version="1.0" encoding="utf-8"?>
<p:tagLst xmlns:a="http://schemas.openxmlformats.org/drawingml/2006/main" xmlns:r="http://schemas.openxmlformats.org/officeDocument/2006/relationships" xmlns:p="http://schemas.openxmlformats.org/presentationml/2006/main">
  <p:tag name="SHAPENAME" val="5. Source"/>
</p:tagLst>
</file>

<file path=ppt/tags/tag26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87.xml><?xml version="1.0" encoding="utf-8"?>
<p:tagLst xmlns:a="http://schemas.openxmlformats.org/drawingml/2006/main" xmlns:r="http://schemas.openxmlformats.org/officeDocument/2006/relationships" xmlns:p="http://schemas.openxmlformats.org/presentationml/2006/main">
  <p:tag name="SHAPENAME" val="5. Source"/>
</p:tagLst>
</file>

<file path=ppt/tags/tag26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xml><?xml version="1.0" encoding="utf-8"?>
<p:tagLst xmlns:a="http://schemas.openxmlformats.org/drawingml/2006/main" xmlns:r="http://schemas.openxmlformats.org/officeDocument/2006/relationships" xmlns:p="http://schemas.openxmlformats.org/presentationml/2006/main">
  <p:tag name="SHAPENAME" val="5. Source"/>
</p:tagLst>
</file>

<file path=ppt/tags/tag26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93.xml><?xml version="1.0" encoding="utf-8"?>
<p:tagLst xmlns:a="http://schemas.openxmlformats.org/drawingml/2006/main" xmlns:r="http://schemas.openxmlformats.org/officeDocument/2006/relationships" xmlns:p="http://schemas.openxmlformats.org/presentationml/2006/main">
  <p:tag name="SHAPENAME" val="5. Source"/>
</p:tagLst>
</file>

<file path=ppt/tags/tag26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6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6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699.xml><?xml version="1.0" encoding="utf-8"?>
<p:tagLst xmlns:a="http://schemas.openxmlformats.org/drawingml/2006/main" xmlns:r="http://schemas.openxmlformats.org/officeDocument/2006/relationships" xmlns:p="http://schemas.openxmlformats.org/presentationml/2006/main">
  <p:tag name="SHAPENAME" val="5. Sourc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05.xml><?xml version="1.0" encoding="utf-8"?>
<p:tagLst xmlns:a="http://schemas.openxmlformats.org/drawingml/2006/main" xmlns:r="http://schemas.openxmlformats.org/officeDocument/2006/relationships" xmlns:p="http://schemas.openxmlformats.org/presentationml/2006/main">
  <p:tag name="SHAPENAME" val="5. Source"/>
</p:tagLst>
</file>

<file path=ppt/tags/tag27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11.xml><?xml version="1.0" encoding="utf-8"?>
<p:tagLst xmlns:a="http://schemas.openxmlformats.org/drawingml/2006/main" xmlns:r="http://schemas.openxmlformats.org/officeDocument/2006/relationships" xmlns:p="http://schemas.openxmlformats.org/presentationml/2006/main">
  <p:tag name="SHAPENAME" val="5. Source"/>
</p:tagLst>
</file>

<file path=ppt/tags/tag27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17.xml><?xml version="1.0" encoding="utf-8"?>
<p:tagLst xmlns:a="http://schemas.openxmlformats.org/drawingml/2006/main" xmlns:r="http://schemas.openxmlformats.org/officeDocument/2006/relationships" xmlns:p="http://schemas.openxmlformats.org/presentationml/2006/main">
  <p:tag name="SHAPENAME" val="5. Source"/>
</p:tagLst>
</file>

<file path=ppt/tags/tag27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23.xml><?xml version="1.0" encoding="utf-8"?>
<p:tagLst xmlns:a="http://schemas.openxmlformats.org/drawingml/2006/main" xmlns:r="http://schemas.openxmlformats.org/officeDocument/2006/relationships" xmlns:p="http://schemas.openxmlformats.org/presentationml/2006/main">
  <p:tag name="SHAPENAME" val="5. Source"/>
</p:tagLst>
</file>

<file path=ppt/tags/tag27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29.xml><?xml version="1.0" encoding="utf-8"?>
<p:tagLst xmlns:a="http://schemas.openxmlformats.org/drawingml/2006/main" xmlns:r="http://schemas.openxmlformats.org/officeDocument/2006/relationships" xmlns:p="http://schemas.openxmlformats.org/presentationml/2006/main">
  <p:tag name="SHAPENAME" val="5. Source"/>
</p:tagLst>
</file>

<file path=ppt/tags/tag2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35.xml><?xml version="1.0" encoding="utf-8"?>
<p:tagLst xmlns:a="http://schemas.openxmlformats.org/drawingml/2006/main" xmlns:r="http://schemas.openxmlformats.org/officeDocument/2006/relationships" xmlns:p="http://schemas.openxmlformats.org/presentationml/2006/main">
  <p:tag name="SHAPENAME" val="5. Source"/>
</p:tagLst>
</file>

<file path=ppt/tags/tag27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41.xml><?xml version="1.0" encoding="utf-8"?>
<p:tagLst xmlns:a="http://schemas.openxmlformats.org/drawingml/2006/main" xmlns:r="http://schemas.openxmlformats.org/officeDocument/2006/relationships" xmlns:p="http://schemas.openxmlformats.org/presentationml/2006/main">
  <p:tag name="SHAPENAME" val="5. Source"/>
</p:tagLst>
</file>

<file path=ppt/tags/tag27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47.xml><?xml version="1.0" encoding="utf-8"?>
<p:tagLst xmlns:a="http://schemas.openxmlformats.org/drawingml/2006/main" xmlns:r="http://schemas.openxmlformats.org/officeDocument/2006/relationships" xmlns:p="http://schemas.openxmlformats.org/presentationml/2006/main">
  <p:tag name="SHAPENAME" val="5. Source"/>
</p:tagLst>
</file>

<file path=ppt/tags/tag27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SHAPENAME" val="5. Source"/>
</p:tagLst>
</file>

<file path=ppt/tags/tag27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3.xml><?xml version="1.0" encoding="utf-8"?>
<p:tagLst xmlns:a="http://schemas.openxmlformats.org/drawingml/2006/main" xmlns:r="http://schemas.openxmlformats.org/officeDocument/2006/relationships" xmlns:p="http://schemas.openxmlformats.org/presentationml/2006/main">
  <p:tag name="SHAPENAME" val="5. Source"/>
</p:tagLst>
</file>

<file path=ppt/tags/tag27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59.xml><?xml version="1.0" encoding="utf-8"?>
<p:tagLst xmlns:a="http://schemas.openxmlformats.org/drawingml/2006/main" xmlns:r="http://schemas.openxmlformats.org/officeDocument/2006/relationships" xmlns:p="http://schemas.openxmlformats.org/presentationml/2006/main">
  <p:tag name="SHAPENAME" val="5. Source"/>
</p:tagLst>
</file>

<file path=ppt/tags/tag2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65.xml><?xml version="1.0" encoding="utf-8"?>
<p:tagLst xmlns:a="http://schemas.openxmlformats.org/drawingml/2006/main" xmlns:r="http://schemas.openxmlformats.org/officeDocument/2006/relationships" xmlns:p="http://schemas.openxmlformats.org/presentationml/2006/main">
  <p:tag name="SHAPENAME" val="5. Source"/>
</p:tagLst>
</file>

<file path=ppt/tags/tag27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71.xml><?xml version="1.0" encoding="utf-8"?>
<p:tagLst xmlns:a="http://schemas.openxmlformats.org/drawingml/2006/main" xmlns:r="http://schemas.openxmlformats.org/officeDocument/2006/relationships" xmlns:p="http://schemas.openxmlformats.org/presentationml/2006/main">
  <p:tag name="SHAPENAME" val="5. Source"/>
</p:tagLst>
</file>

<file path=ppt/tags/tag27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77.xml><?xml version="1.0" encoding="utf-8"?>
<p:tagLst xmlns:a="http://schemas.openxmlformats.org/drawingml/2006/main" xmlns:r="http://schemas.openxmlformats.org/officeDocument/2006/relationships" xmlns:p="http://schemas.openxmlformats.org/presentationml/2006/main">
  <p:tag name="SHAPENAME" val="5. Source"/>
</p:tagLst>
</file>

<file path=ppt/tags/tag27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3.xml><?xml version="1.0" encoding="utf-8"?>
<p:tagLst xmlns:a="http://schemas.openxmlformats.org/drawingml/2006/main" xmlns:r="http://schemas.openxmlformats.org/officeDocument/2006/relationships" xmlns:p="http://schemas.openxmlformats.org/presentationml/2006/main">
  <p:tag name="SHAPENAME" val="5. Source"/>
</p:tagLst>
</file>

<file path=ppt/tags/tag27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89.xml><?xml version="1.0" encoding="utf-8"?>
<p:tagLst xmlns:a="http://schemas.openxmlformats.org/drawingml/2006/main" xmlns:r="http://schemas.openxmlformats.org/officeDocument/2006/relationships" xmlns:p="http://schemas.openxmlformats.org/presentationml/2006/main">
  <p:tag name="SHAPENAME" val="5. Source"/>
</p:tagLst>
</file>

<file path=ppt/tags/tag2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7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795.xml><?xml version="1.0" encoding="utf-8"?>
<p:tagLst xmlns:a="http://schemas.openxmlformats.org/drawingml/2006/main" xmlns:r="http://schemas.openxmlformats.org/officeDocument/2006/relationships" xmlns:p="http://schemas.openxmlformats.org/presentationml/2006/main">
  <p:tag name="SHAPENAME" val="5. Source"/>
</p:tagLst>
</file>

<file path=ppt/tags/tag27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7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7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2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1.xml><?xml version="1.0" encoding="utf-8"?>
<p:tagLst xmlns:a="http://schemas.openxmlformats.org/drawingml/2006/main" xmlns:r="http://schemas.openxmlformats.org/officeDocument/2006/relationships" xmlns:p="http://schemas.openxmlformats.org/presentationml/2006/main">
  <p:tag name="SHAPENAME" val="5. Source"/>
</p:tagLst>
</file>

<file path=ppt/tags/tag28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07.xml><?xml version="1.0" encoding="utf-8"?>
<p:tagLst xmlns:a="http://schemas.openxmlformats.org/drawingml/2006/main" xmlns:r="http://schemas.openxmlformats.org/officeDocument/2006/relationships" xmlns:p="http://schemas.openxmlformats.org/presentationml/2006/main">
  <p:tag name="SHAPENAME" val="5. Source"/>
</p:tagLst>
</file>

<file path=ppt/tags/tag28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xml><?xml version="1.0" encoding="utf-8"?>
<p:tagLst xmlns:a="http://schemas.openxmlformats.org/drawingml/2006/main" xmlns:r="http://schemas.openxmlformats.org/officeDocument/2006/relationships" xmlns:p="http://schemas.openxmlformats.org/presentationml/2006/main">
  <p:tag name="SHAPENAME" val="5. Source"/>
</p:tagLst>
</file>

<file path=ppt/tags/tag28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13.xml><?xml version="1.0" encoding="utf-8"?>
<p:tagLst xmlns:a="http://schemas.openxmlformats.org/drawingml/2006/main" xmlns:r="http://schemas.openxmlformats.org/officeDocument/2006/relationships" xmlns:p="http://schemas.openxmlformats.org/presentationml/2006/main">
  <p:tag name="SHAPENAME" val="5. Source"/>
</p:tagLst>
</file>

<file path=ppt/tags/tag28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19.xml><?xml version="1.0" encoding="utf-8"?>
<p:tagLst xmlns:a="http://schemas.openxmlformats.org/drawingml/2006/main" xmlns:r="http://schemas.openxmlformats.org/officeDocument/2006/relationships" xmlns:p="http://schemas.openxmlformats.org/presentationml/2006/main">
  <p:tag name="SHAPENAME" val="5. Source"/>
</p:tagLst>
</file>

<file path=ppt/tags/tag2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25.xml><?xml version="1.0" encoding="utf-8"?>
<p:tagLst xmlns:a="http://schemas.openxmlformats.org/drawingml/2006/main" xmlns:r="http://schemas.openxmlformats.org/officeDocument/2006/relationships" xmlns:p="http://schemas.openxmlformats.org/presentationml/2006/main">
  <p:tag name="SHAPENAME" val="5. Source"/>
</p:tagLst>
</file>

<file path=ppt/tags/tag28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31.xml><?xml version="1.0" encoding="utf-8"?>
<p:tagLst xmlns:a="http://schemas.openxmlformats.org/drawingml/2006/main" xmlns:r="http://schemas.openxmlformats.org/officeDocument/2006/relationships" xmlns:p="http://schemas.openxmlformats.org/presentationml/2006/main">
  <p:tag name="SHAPENAME" val="5. Source"/>
</p:tagLst>
</file>

<file path=ppt/tags/tag28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37.xml><?xml version="1.0" encoding="utf-8"?>
<p:tagLst xmlns:a="http://schemas.openxmlformats.org/drawingml/2006/main" xmlns:r="http://schemas.openxmlformats.org/officeDocument/2006/relationships" xmlns:p="http://schemas.openxmlformats.org/presentationml/2006/main">
  <p:tag name="SHAPENAME" val="5. Source"/>
</p:tagLst>
</file>

<file path=ppt/tags/tag28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3.xml><?xml version="1.0" encoding="utf-8"?>
<p:tagLst xmlns:a="http://schemas.openxmlformats.org/drawingml/2006/main" xmlns:r="http://schemas.openxmlformats.org/officeDocument/2006/relationships" xmlns:p="http://schemas.openxmlformats.org/presentationml/2006/main">
  <p:tag name="SHAPENAME" val="5. Source"/>
</p:tagLst>
</file>

<file path=ppt/tags/tag28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49.xml><?xml version="1.0" encoding="utf-8"?>
<p:tagLst xmlns:a="http://schemas.openxmlformats.org/drawingml/2006/main" xmlns:r="http://schemas.openxmlformats.org/officeDocument/2006/relationships" xmlns:p="http://schemas.openxmlformats.org/presentationml/2006/main">
  <p:tag name="SHAPENAME" val="5. Source"/>
</p:tagLst>
</file>

<file path=ppt/tags/tag2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55.xml><?xml version="1.0" encoding="utf-8"?>
<p:tagLst xmlns:a="http://schemas.openxmlformats.org/drawingml/2006/main" xmlns:r="http://schemas.openxmlformats.org/officeDocument/2006/relationships" xmlns:p="http://schemas.openxmlformats.org/presentationml/2006/main">
  <p:tag name="SHAPENAME" val="5. Source"/>
</p:tagLst>
</file>

<file path=ppt/tags/tag28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1.xml><?xml version="1.0" encoding="utf-8"?>
<p:tagLst xmlns:a="http://schemas.openxmlformats.org/drawingml/2006/main" xmlns:r="http://schemas.openxmlformats.org/officeDocument/2006/relationships" xmlns:p="http://schemas.openxmlformats.org/presentationml/2006/main">
  <p:tag name="SHAPENAME" val="5. Source"/>
</p:tagLst>
</file>

<file path=ppt/tags/tag28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67.xml><?xml version="1.0" encoding="utf-8"?>
<p:tagLst xmlns:a="http://schemas.openxmlformats.org/drawingml/2006/main" xmlns:r="http://schemas.openxmlformats.org/officeDocument/2006/relationships" xmlns:p="http://schemas.openxmlformats.org/presentationml/2006/main">
  <p:tag name="SHAPENAME" val="5. Source"/>
</p:tagLst>
</file>

<file path=ppt/tags/tag28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SHAPENAME" val="5. Source"/>
</p:tagLst>
</file>

<file path=ppt/tags/tag28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73.xml><?xml version="1.0" encoding="utf-8"?>
<p:tagLst xmlns:a="http://schemas.openxmlformats.org/drawingml/2006/main" xmlns:r="http://schemas.openxmlformats.org/officeDocument/2006/relationships" xmlns:p="http://schemas.openxmlformats.org/presentationml/2006/main">
  <p:tag name="SHAPENAME" val="5. Source"/>
</p:tagLst>
</file>

<file path=ppt/tags/tag28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79.xml><?xml version="1.0" encoding="utf-8"?>
<p:tagLst xmlns:a="http://schemas.openxmlformats.org/drawingml/2006/main" xmlns:r="http://schemas.openxmlformats.org/officeDocument/2006/relationships" xmlns:p="http://schemas.openxmlformats.org/presentationml/2006/main">
  <p:tag name="SHAPENAME" val="5. Source"/>
</p:tagLst>
</file>

<file path=ppt/tags/tag2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85.xml><?xml version="1.0" encoding="utf-8"?>
<p:tagLst xmlns:a="http://schemas.openxmlformats.org/drawingml/2006/main" xmlns:r="http://schemas.openxmlformats.org/officeDocument/2006/relationships" xmlns:p="http://schemas.openxmlformats.org/presentationml/2006/main">
  <p:tag name="SHAPENAME" val="5. Source"/>
</p:tagLst>
</file>

<file path=ppt/tags/tag28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1.xml><?xml version="1.0" encoding="utf-8"?>
<p:tagLst xmlns:a="http://schemas.openxmlformats.org/drawingml/2006/main" xmlns:r="http://schemas.openxmlformats.org/officeDocument/2006/relationships" xmlns:p="http://schemas.openxmlformats.org/presentationml/2006/main">
  <p:tag name="SHAPENAME" val="5. Source"/>
</p:tagLst>
</file>

<file path=ppt/tags/tag28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8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8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897.xml><?xml version="1.0" encoding="utf-8"?>
<p:tagLst xmlns:a="http://schemas.openxmlformats.org/drawingml/2006/main" xmlns:r="http://schemas.openxmlformats.org/officeDocument/2006/relationships" xmlns:p="http://schemas.openxmlformats.org/presentationml/2006/main">
  <p:tag name="SHAPENAME" val="5. Source"/>
</p:tagLst>
</file>

<file path=ppt/tags/tag28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8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3.xml><?xml version="1.0" encoding="utf-8"?>
<p:tagLst xmlns:a="http://schemas.openxmlformats.org/drawingml/2006/main" xmlns:r="http://schemas.openxmlformats.org/officeDocument/2006/relationships" xmlns:p="http://schemas.openxmlformats.org/presentationml/2006/main">
  <p:tag name="SHAPENAME" val="5. Source"/>
</p:tagLst>
</file>

<file path=ppt/tags/tag29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09.xml><?xml version="1.0" encoding="utf-8"?>
<p:tagLst xmlns:a="http://schemas.openxmlformats.org/drawingml/2006/main" xmlns:r="http://schemas.openxmlformats.org/officeDocument/2006/relationships" xmlns:p="http://schemas.openxmlformats.org/presentationml/2006/main">
  <p:tag name="SHAPENAME" val="5. Source"/>
</p:tagLst>
</file>

<file path=ppt/tags/tag2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15.xml><?xml version="1.0" encoding="utf-8"?>
<p:tagLst xmlns:a="http://schemas.openxmlformats.org/drawingml/2006/main" xmlns:r="http://schemas.openxmlformats.org/officeDocument/2006/relationships" xmlns:p="http://schemas.openxmlformats.org/presentationml/2006/main">
  <p:tag name="SHAPENAME" val="5. Source"/>
</p:tagLst>
</file>

<file path=ppt/tags/tag29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1.xml><?xml version="1.0" encoding="utf-8"?>
<p:tagLst xmlns:a="http://schemas.openxmlformats.org/drawingml/2006/main" xmlns:r="http://schemas.openxmlformats.org/officeDocument/2006/relationships" xmlns:p="http://schemas.openxmlformats.org/presentationml/2006/main">
  <p:tag name="SHAPENAME" val="5. Source"/>
</p:tagLst>
</file>

<file path=ppt/tags/tag29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27.xml><?xml version="1.0" encoding="utf-8"?>
<p:tagLst xmlns:a="http://schemas.openxmlformats.org/drawingml/2006/main" xmlns:r="http://schemas.openxmlformats.org/officeDocument/2006/relationships" xmlns:p="http://schemas.openxmlformats.org/presentationml/2006/main">
  <p:tag name="SHAPENAME" val="5. Source"/>
</p:tagLst>
</file>

<file path=ppt/tags/tag29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3.xml><?xml version="1.0" encoding="utf-8"?>
<p:tagLst xmlns:a="http://schemas.openxmlformats.org/drawingml/2006/main" xmlns:r="http://schemas.openxmlformats.org/officeDocument/2006/relationships" xmlns:p="http://schemas.openxmlformats.org/presentationml/2006/main">
  <p:tag name="SHAPENAME" val="5. Source"/>
</p:tagLst>
</file>

<file path=ppt/tags/tag29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39.xml><?xml version="1.0" encoding="utf-8"?>
<p:tagLst xmlns:a="http://schemas.openxmlformats.org/drawingml/2006/main" xmlns:r="http://schemas.openxmlformats.org/officeDocument/2006/relationships" xmlns:p="http://schemas.openxmlformats.org/presentationml/2006/main">
  <p:tag name="SHAPENAME" val="5. Source"/>
</p:tagLst>
</file>

<file path=ppt/tags/tag2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45.xml><?xml version="1.0" encoding="utf-8"?>
<p:tagLst xmlns:a="http://schemas.openxmlformats.org/drawingml/2006/main" xmlns:r="http://schemas.openxmlformats.org/officeDocument/2006/relationships" xmlns:p="http://schemas.openxmlformats.org/presentationml/2006/main">
  <p:tag name="SHAPENAME" val="5. Source"/>
</p:tagLst>
</file>

<file path=ppt/tags/tag29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51.xml><?xml version="1.0" encoding="utf-8"?>
<p:tagLst xmlns:a="http://schemas.openxmlformats.org/drawingml/2006/main" xmlns:r="http://schemas.openxmlformats.org/officeDocument/2006/relationships" xmlns:p="http://schemas.openxmlformats.org/presentationml/2006/main">
  <p:tag name="SHAPENAME" val="5. Source"/>
</p:tagLst>
</file>

<file path=ppt/tags/tag29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57.xml><?xml version="1.0" encoding="utf-8"?>
<p:tagLst xmlns:a="http://schemas.openxmlformats.org/drawingml/2006/main" xmlns:r="http://schemas.openxmlformats.org/officeDocument/2006/relationships" xmlns:p="http://schemas.openxmlformats.org/presentationml/2006/main">
  <p:tag name="SHAPENAME" val="5. Source"/>
</p:tagLst>
</file>

<file path=ppt/tags/tag29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63.xml><?xml version="1.0" encoding="utf-8"?>
<p:tagLst xmlns:a="http://schemas.openxmlformats.org/drawingml/2006/main" xmlns:r="http://schemas.openxmlformats.org/officeDocument/2006/relationships" xmlns:p="http://schemas.openxmlformats.org/presentationml/2006/main">
  <p:tag name="SHAPENAME" val="5. Source"/>
</p:tagLst>
</file>

<file path=ppt/tags/tag29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69.xml><?xml version="1.0" encoding="utf-8"?>
<p:tagLst xmlns:a="http://schemas.openxmlformats.org/drawingml/2006/main" xmlns:r="http://schemas.openxmlformats.org/officeDocument/2006/relationships" xmlns:p="http://schemas.openxmlformats.org/presentationml/2006/main">
  <p:tag name="SHAPENAME" val="5. Source"/>
</p:tagLst>
</file>

<file path=ppt/tags/tag2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75.xml><?xml version="1.0" encoding="utf-8"?>
<p:tagLst xmlns:a="http://schemas.openxmlformats.org/drawingml/2006/main" xmlns:r="http://schemas.openxmlformats.org/officeDocument/2006/relationships" xmlns:p="http://schemas.openxmlformats.org/presentationml/2006/main">
  <p:tag name="SHAPENAME" val="5. Source"/>
</p:tagLst>
</file>

<file path=ppt/tags/tag29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1.xml><?xml version="1.0" encoding="utf-8"?>
<p:tagLst xmlns:a="http://schemas.openxmlformats.org/drawingml/2006/main" xmlns:r="http://schemas.openxmlformats.org/officeDocument/2006/relationships" xmlns:p="http://schemas.openxmlformats.org/presentationml/2006/main">
  <p:tag name="SHAPENAME" val="5. Source"/>
</p:tagLst>
</file>

<file path=ppt/tags/tag29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87.xml><?xml version="1.0" encoding="utf-8"?>
<p:tagLst xmlns:a="http://schemas.openxmlformats.org/drawingml/2006/main" xmlns:r="http://schemas.openxmlformats.org/officeDocument/2006/relationships" xmlns:p="http://schemas.openxmlformats.org/presentationml/2006/main">
  <p:tag name="SHAPENAME" val="5. Source"/>
</p:tagLst>
</file>

<file path=ppt/tags/tag29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xml><?xml version="1.0" encoding="utf-8"?>
<p:tagLst xmlns:a="http://schemas.openxmlformats.org/drawingml/2006/main" xmlns:r="http://schemas.openxmlformats.org/officeDocument/2006/relationships" xmlns:p="http://schemas.openxmlformats.org/presentationml/2006/main">
  <p:tag name="SHAPENAME" val="5. Source"/>
</p:tagLst>
</file>

<file path=ppt/tags/tag29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93.xml><?xml version="1.0" encoding="utf-8"?>
<p:tagLst xmlns:a="http://schemas.openxmlformats.org/drawingml/2006/main" xmlns:r="http://schemas.openxmlformats.org/officeDocument/2006/relationships" xmlns:p="http://schemas.openxmlformats.org/presentationml/2006/main">
  <p:tag name="SHAPENAME" val="5. Source"/>
</p:tagLst>
</file>

<file path=ppt/tags/tag29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29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29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29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2999.xml><?xml version="1.0" encoding="utf-8"?>
<p:tagLst xmlns:a="http://schemas.openxmlformats.org/drawingml/2006/main" xmlns:r="http://schemas.openxmlformats.org/officeDocument/2006/relationships" xmlns:p="http://schemas.openxmlformats.org/presentationml/2006/main">
  <p:tag name="SHAPENAME" val="5. Source"/>
</p:tagLst>
</file>

<file path=ppt/tags/tag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1.xml><?xml version="1.0" encoding="utf-8"?>
<p:tagLst xmlns:a="http://schemas.openxmlformats.org/drawingml/2006/main" xmlns:r="http://schemas.openxmlformats.org/officeDocument/2006/relationships" xmlns:p="http://schemas.openxmlformats.org/presentationml/2006/main">
  <p:tag name="SHAPENAME" val="5. Source"/>
</p:tagLst>
</file>

<file path=ppt/tags/tag30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17.xml><?xml version="1.0" encoding="utf-8"?>
<p:tagLst xmlns:a="http://schemas.openxmlformats.org/drawingml/2006/main" xmlns:r="http://schemas.openxmlformats.org/officeDocument/2006/relationships" xmlns:p="http://schemas.openxmlformats.org/presentationml/2006/main">
  <p:tag name="SHAPENAME" val="5. Source"/>
</p:tagLst>
</file>

<file path=ppt/tags/tag30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23.xml><?xml version="1.0" encoding="utf-8"?>
<p:tagLst xmlns:a="http://schemas.openxmlformats.org/drawingml/2006/main" xmlns:r="http://schemas.openxmlformats.org/officeDocument/2006/relationships" xmlns:p="http://schemas.openxmlformats.org/presentationml/2006/main">
  <p:tag name="SHAPENAME" val="5. Source"/>
</p:tagLst>
</file>

<file path=ppt/tags/tag30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29.xml><?xml version="1.0" encoding="utf-8"?>
<p:tagLst xmlns:a="http://schemas.openxmlformats.org/drawingml/2006/main" xmlns:r="http://schemas.openxmlformats.org/officeDocument/2006/relationships" xmlns:p="http://schemas.openxmlformats.org/presentationml/2006/main">
  <p:tag name="SHAPENAME" val="5. Source"/>
</p:tagLst>
</file>

<file path=ppt/tags/tag3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35.xml><?xml version="1.0" encoding="utf-8"?>
<p:tagLst xmlns:a="http://schemas.openxmlformats.org/drawingml/2006/main" xmlns:r="http://schemas.openxmlformats.org/officeDocument/2006/relationships" xmlns:p="http://schemas.openxmlformats.org/presentationml/2006/main">
  <p:tag name="SHAPENAME" val="5. Source"/>
</p:tagLst>
</file>

<file path=ppt/tags/tag30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1.xml><?xml version="1.0" encoding="utf-8"?>
<p:tagLst xmlns:a="http://schemas.openxmlformats.org/drawingml/2006/main" xmlns:r="http://schemas.openxmlformats.org/officeDocument/2006/relationships" xmlns:p="http://schemas.openxmlformats.org/presentationml/2006/main">
  <p:tag name="SHAPENAME" val="5. Source"/>
</p:tagLst>
</file>

<file path=ppt/tags/tag30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47.xml><?xml version="1.0" encoding="utf-8"?>
<p:tagLst xmlns:a="http://schemas.openxmlformats.org/drawingml/2006/main" xmlns:r="http://schemas.openxmlformats.org/officeDocument/2006/relationships" xmlns:p="http://schemas.openxmlformats.org/presentationml/2006/main">
  <p:tag name="SHAPENAME" val="5. Source"/>
</p:tagLst>
</file>

<file path=ppt/tags/tag30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xml><?xml version="1.0" encoding="utf-8"?>
<p:tagLst xmlns:a="http://schemas.openxmlformats.org/drawingml/2006/main" xmlns:r="http://schemas.openxmlformats.org/officeDocument/2006/relationships" xmlns:p="http://schemas.openxmlformats.org/presentationml/2006/main">
  <p:tag name="SHAPENAME" val="5. Source"/>
</p:tagLst>
</file>

<file path=ppt/tags/tag30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3.xml><?xml version="1.0" encoding="utf-8"?>
<p:tagLst xmlns:a="http://schemas.openxmlformats.org/drawingml/2006/main" xmlns:r="http://schemas.openxmlformats.org/officeDocument/2006/relationships" xmlns:p="http://schemas.openxmlformats.org/presentationml/2006/main">
  <p:tag name="SHAPENAME" val="5. Source"/>
</p:tagLst>
</file>

<file path=ppt/tags/tag30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59.xml><?xml version="1.0" encoding="utf-8"?>
<p:tagLst xmlns:a="http://schemas.openxmlformats.org/drawingml/2006/main" xmlns:r="http://schemas.openxmlformats.org/officeDocument/2006/relationships" xmlns:p="http://schemas.openxmlformats.org/presentationml/2006/main">
  <p:tag name="SHAPENAME" val="5. Source"/>
</p:tagLst>
</file>

<file path=ppt/tags/tag3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65.xml><?xml version="1.0" encoding="utf-8"?>
<p:tagLst xmlns:a="http://schemas.openxmlformats.org/drawingml/2006/main" xmlns:r="http://schemas.openxmlformats.org/officeDocument/2006/relationships" xmlns:p="http://schemas.openxmlformats.org/presentationml/2006/main">
  <p:tag name="SHAPENAME" val="5. Source"/>
</p:tagLst>
</file>

<file path=ppt/tags/tag30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71.xml><?xml version="1.0" encoding="utf-8"?>
<p:tagLst xmlns:a="http://schemas.openxmlformats.org/drawingml/2006/main" xmlns:r="http://schemas.openxmlformats.org/officeDocument/2006/relationships" xmlns:p="http://schemas.openxmlformats.org/presentationml/2006/main">
  <p:tag name="SHAPENAME" val="5. Source"/>
</p:tagLst>
</file>

<file path=ppt/tags/tag30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77.xml><?xml version="1.0" encoding="utf-8"?>
<p:tagLst xmlns:a="http://schemas.openxmlformats.org/drawingml/2006/main" xmlns:r="http://schemas.openxmlformats.org/officeDocument/2006/relationships" xmlns:p="http://schemas.openxmlformats.org/presentationml/2006/main">
  <p:tag name="SHAPENAME" val="5. Source"/>
</p:tagLst>
</file>

<file path=ppt/tags/tag30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3.xml><?xml version="1.0" encoding="utf-8"?>
<p:tagLst xmlns:a="http://schemas.openxmlformats.org/drawingml/2006/main" xmlns:r="http://schemas.openxmlformats.org/officeDocument/2006/relationships" xmlns:p="http://schemas.openxmlformats.org/presentationml/2006/main">
  <p:tag name="SHAPENAME" val="5. Source"/>
</p:tagLst>
</file>

<file path=ppt/tags/tag30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89.xml><?xml version="1.0" encoding="utf-8"?>
<p:tagLst xmlns:a="http://schemas.openxmlformats.org/drawingml/2006/main" xmlns:r="http://schemas.openxmlformats.org/officeDocument/2006/relationships" xmlns:p="http://schemas.openxmlformats.org/presentationml/2006/main">
  <p:tag name="SHAPENAME" val="5. Source"/>
</p:tagLst>
</file>

<file path=ppt/tags/tag3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0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095.xml><?xml version="1.0" encoding="utf-8"?>
<p:tagLst xmlns:a="http://schemas.openxmlformats.org/drawingml/2006/main" xmlns:r="http://schemas.openxmlformats.org/officeDocument/2006/relationships" xmlns:p="http://schemas.openxmlformats.org/presentationml/2006/main">
  <p:tag name="SHAPENAME" val="5. Source"/>
</p:tagLst>
</file>

<file path=ppt/tags/tag30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0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0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1.xml><?xml version="1.0" encoding="utf-8"?>
<p:tagLst xmlns:a="http://schemas.openxmlformats.org/drawingml/2006/main" xmlns:r="http://schemas.openxmlformats.org/officeDocument/2006/relationships" xmlns:p="http://schemas.openxmlformats.org/presentationml/2006/main">
  <p:tag name="SHAPENAME" val="5. Source"/>
</p:tagLst>
</file>

<file path=ppt/tags/tag31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07.xml><?xml version="1.0" encoding="utf-8"?>
<p:tagLst xmlns:a="http://schemas.openxmlformats.org/drawingml/2006/main" xmlns:r="http://schemas.openxmlformats.org/officeDocument/2006/relationships" xmlns:p="http://schemas.openxmlformats.org/presentationml/2006/main">
  <p:tag name="SHAPENAME" val="5. Source"/>
</p:tagLst>
</file>

<file path=ppt/tags/tag31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SHAPENAME" val="5. Source"/>
</p:tagLst>
</file>

<file path=ppt/tags/tag31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3.xml><?xml version="1.0" encoding="utf-8"?>
<p:tagLst xmlns:a="http://schemas.openxmlformats.org/drawingml/2006/main" xmlns:r="http://schemas.openxmlformats.org/officeDocument/2006/relationships" xmlns:p="http://schemas.openxmlformats.org/presentationml/2006/main">
  <p:tag name="SHAPENAME" val="5. Source"/>
</p:tagLst>
</file>

<file path=ppt/tags/tag31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19.xml><?xml version="1.0" encoding="utf-8"?>
<p:tagLst xmlns:a="http://schemas.openxmlformats.org/drawingml/2006/main" xmlns:r="http://schemas.openxmlformats.org/officeDocument/2006/relationships" xmlns:p="http://schemas.openxmlformats.org/presentationml/2006/main">
  <p:tag name="SHAPENAME" val="5. Source"/>
</p:tagLst>
</file>

<file path=ppt/tags/tag3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25.xml><?xml version="1.0" encoding="utf-8"?>
<p:tagLst xmlns:a="http://schemas.openxmlformats.org/drawingml/2006/main" xmlns:r="http://schemas.openxmlformats.org/officeDocument/2006/relationships" xmlns:p="http://schemas.openxmlformats.org/presentationml/2006/main">
  <p:tag name="SHAPENAME" val="5. Source"/>
</p:tagLst>
</file>

<file path=ppt/tags/tag31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1.xml><?xml version="1.0" encoding="utf-8"?>
<p:tagLst xmlns:a="http://schemas.openxmlformats.org/drawingml/2006/main" xmlns:r="http://schemas.openxmlformats.org/officeDocument/2006/relationships" xmlns:p="http://schemas.openxmlformats.org/presentationml/2006/main">
  <p:tag name="SHAPENAME" val="5. Source"/>
</p:tagLst>
</file>

<file path=ppt/tags/tag31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37.xml><?xml version="1.0" encoding="utf-8"?>
<p:tagLst xmlns:a="http://schemas.openxmlformats.org/drawingml/2006/main" xmlns:r="http://schemas.openxmlformats.org/officeDocument/2006/relationships" xmlns:p="http://schemas.openxmlformats.org/presentationml/2006/main">
  <p:tag name="SHAPENAME" val="5. Source"/>
</p:tagLst>
</file>

<file path=ppt/tags/tag31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43.xml><?xml version="1.0" encoding="utf-8"?>
<p:tagLst xmlns:a="http://schemas.openxmlformats.org/drawingml/2006/main" xmlns:r="http://schemas.openxmlformats.org/officeDocument/2006/relationships" xmlns:p="http://schemas.openxmlformats.org/presentationml/2006/main">
  <p:tag name="SHAPENAME" val="5. Source"/>
</p:tagLst>
</file>

<file path=ppt/tags/tag31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49.xml><?xml version="1.0" encoding="utf-8"?>
<p:tagLst xmlns:a="http://schemas.openxmlformats.org/drawingml/2006/main" xmlns:r="http://schemas.openxmlformats.org/officeDocument/2006/relationships" xmlns:p="http://schemas.openxmlformats.org/presentationml/2006/main">
  <p:tag name="SHAPENAME" val="5. Source"/>
</p:tagLst>
</file>

<file path=ppt/tags/tag3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55.xml><?xml version="1.0" encoding="utf-8"?>
<p:tagLst xmlns:a="http://schemas.openxmlformats.org/drawingml/2006/main" xmlns:r="http://schemas.openxmlformats.org/officeDocument/2006/relationships" xmlns:p="http://schemas.openxmlformats.org/presentationml/2006/main">
  <p:tag name="SHAPENAME" val="5. Source"/>
</p:tagLst>
</file>

<file path=ppt/tags/tag31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61.xml><?xml version="1.0" encoding="utf-8"?>
<p:tagLst xmlns:a="http://schemas.openxmlformats.org/drawingml/2006/main" xmlns:r="http://schemas.openxmlformats.org/officeDocument/2006/relationships" xmlns:p="http://schemas.openxmlformats.org/presentationml/2006/main">
  <p:tag name="SHAPENAME" val="5. Source"/>
</p:tagLst>
</file>

<file path=ppt/tags/tag31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67.xml><?xml version="1.0" encoding="utf-8"?>
<p:tagLst xmlns:a="http://schemas.openxmlformats.org/drawingml/2006/main" xmlns:r="http://schemas.openxmlformats.org/officeDocument/2006/relationships" xmlns:p="http://schemas.openxmlformats.org/presentationml/2006/main">
  <p:tag name="SHAPENAME" val="5. Source"/>
</p:tagLst>
</file>

<file path=ppt/tags/tag31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SHAPENAME" val="5. Source"/>
</p:tagLst>
</file>

<file path=ppt/tags/tag31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73.xml><?xml version="1.0" encoding="utf-8"?>
<p:tagLst xmlns:a="http://schemas.openxmlformats.org/drawingml/2006/main" xmlns:r="http://schemas.openxmlformats.org/officeDocument/2006/relationships" xmlns:p="http://schemas.openxmlformats.org/presentationml/2006/main">
  <p:tag name="SHAPENAME" val="5. Source"/>
</p:tagLst>
</file>

<file path=ppt/tags/tag31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79.xml><?xml version="1.0" encoding="utf-8"?>
<p:tagLst xmlns:a="http://schemas.openxmlformats.org/drawingml/2006/main" xmlns:r="http://schemas.openxmlformats.org/officeDocument/2006/relationships" xmlns:p="http://schemas.openxmlformats.org/presentationml/2006/main">
  <p:tag name="SHAPENAME" val="5. Source"/>
</p:tagLst>
</file>

<file path=ppt/tags/tag3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85.xml><?xml version="1.0" encoding="utf-8"?>
<p:tagLst xmlns:a="http://schemas.openxmlformats.org/drawingml/2006/main" xmlns:r="http://schemas.openxmlformats.org/officeDocument/2006/relationships" xmlns:p="http://schemas.openxmlformats.org/presentationml/2006/main">
  <p:tag name="SHAPENAME" val="5. Source"/>
</p:tagLst>
</file>

<file path=ppt/tags/tag31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1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191.xml><?xml version="1.0" encoding="utf-8"?>
<p:tagLst xmlns:a="http://schemas.openxmlformats.org/drawingml/2006/main" xmlns:r="http://schemas.openxmlformats.org/officeDocument/2006/relationships" xmlns:p="http://schemas.openxmlformats.org/presentationml/2006/main">
  <p:tag name="SHAPENAME" val="5. Source"/>
</p:tagLst>
</file>

<file path=ppt/tags/tag31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195.xml><?xml version="1.0" encoding="utf-8"?>
<p:tagLst xmlns:a="http://schemas.openxmlformats.org/drawingml/2006/main" xmlns:r="http://schemas.openxmlformats.org/officeDocument/2006/relationships" xmlns:p="http://schemas.openxmlformats.org/presentationml/2006/main">
  <p:tag name="1LEVEL" val="0.2"/>
  <p:tag name="2LEVEL" val="0.1"/>
  <p:tag name="3LEVEL" val="0.05"/>
  <p:tag name="4LEVEL" val="0.03"/>
  <p:tag name="5LEVEL" val="0.01"/>
</p:tagLst>
</file>

<file path=ppt/tags/tag3196.xml><?xml version="1.0" encoding="utf-8"?>
<p:tagLst xmlns:a="http://schemas.openxmlformats.org/drawingml/2006/main" xmlns:r="http://schemas.openxmlformats.org/officeDocument/2006/relationships" xmlns:p="http://schemas.openxmlformats.org/presentationml/2006/main">
  <p:tag name="SHAPENAME" val="4. Footnote"/>
</p:tagLst>
</file>

<file path=ppt/tags/tag3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8.xml><?xml version="1.0" encoding="utf-8"?>
<p:tagLst xmlns:a="http://schemas.openxmlformats.org/drawingml/2006/main" xmlns:r="http://schemas.openxmlformats.org/officeDocument/2006/relationships" xmlns:p="http://schemas.openxmlformats.org/presentationml/2006/main">
  <p:tag name="SHAPENAME" val="5. Source"/>
</p:tagLst>
</file>

<file path=ppt/tags/tag3199.xml><?xml version="1.0" encoding="utf-8"?>
<p:tagLst xmlns:a="http://schemas.openxmlformats.org/drawingml/2006/main" xmlns:r="http://schemas.openxmlformats.org/officeDocument/2006/relationships" xmlns:p="http://schemas.openxmlformats.org/presentationml/2006/main">
  <p:tag name="NAME" val="ACET"/>
</p:tagLst>
</file>

<file path=ppt/tags/tag32.xml><?xml version="1.0" encoding="utf-8"?>
<p:tagLst xmlns:a="http://schemas.openxmlformats.org/drawingml/2006/main" xmlns:r="http://schemas.openxmlformats.org/officeDocument/2006/relationships" xmlns:p="http://schemas.openxmlformats.org/presentationml/2006/main">
  <p:tag name="SHAPENAME" val="5. Sourc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00.xml><?xml version="1.0" encoding="utf-8"?>
<p:tagLst xmlns:a="http://schemas.openxmlformats.org/drawingml/2006/main" xmlns:r="http://schemas.openxmlformats.org/officeDocument/2006/relationships" xmlns:p="http://schemas.openxmlformats.org/presentationml/2006/main">
  <p:tag name="NAME" val="ACET"/>
</p:tagLst>
</file>

<file path=ppt/tags/tag3201.xml><?xml version="1.0" encoding="utf-8"?>
<p:tagLst xmlns:a="http://schemas.openxmlformats.org/drawingml/2006/main" xmlns:r="http://schemas.openxmlformats.org/officeDocument/2006/relationships" xmlns:p="http://schemas.openxmlformats.org/presentationml/2006/main">
  <p:tag name="NAME" val="TrackerNumBlue"/>
</p:tagLst>
</file>

<file path=ppt/tags/tag3202.xml><?xml version="1.0" encoding="utf-8"?>
<p:tagLst xmlns:a="http://schemas.openxmlformats.org/drawingml/2006/main" xmlns:r="http://schemas.openxmlformats.org/officeDocument/2006/relationships" xmlns:p="http://schemas.openxmlformats.org/presentationml/2006/main">
  <p:tag name="THINKCELLSHAPEDONOTDELETE" val="tl8x5zA1xQHTFkk22EFD5Bg"/>
</p:tagLst>
</file>

<file path=ppt/tags/tag3203.xml><?xml version="1.0" encoding="utf-8"?>
<p:tagLst xmlns:a="http://schemas.openxmlformats.org/drawingml/2006/main" xmlns:r="http://schemas.openxmlformats.org/officeDocument/2006/relationships" xmlns:p="http://schemas.openxmlformats.org/presentationml/2006/main">
  <p:tag name="THINKCELLSHAPEDONOTDELETE" val="tTBCu49oo_l24ptjH2i.kzw"/>
</p:tagLst>
</file>

<file path=ppt/tags/tag3204.xml><?xml version="1.0" encoding="utf-8"?>
<p:tagLst xmlns:a="http://schemas.openxmlformats.org/drawingml/2006/main" xmlns:r="http://schemas.openxmlformats.org/officeDocument/2006/relationships" xmlns:p="http://schemas.openxmlformats.org/presentationml/2006/main">
  <p:tag name="THINKCELLSHAPEDONOTDELETE" val="tDD4elbB4ZvonoWkZI0iCpQ"/>
</p:tagLst>
</file>

<file path=ppt/tags/tag3205.xml><?xml version="1.0" encoding="utf-8"?>
<p:tagLst xmlns:a="http://schemas.openxmlformats.org/drawingml/2006/main" xmlns:r="http://schemas.openxmlformats.org/officeDocument/2006/relationships" xmlns:p="http://schemas.openxmlformats.org/presentationml/2006/main">
  <p:tag name="THINKCELLSHAPEDONOTDELETE" val="ts8mxC2q4n5w_QowtO_6Z2g"/>
</p:tagLst>
</file>

<file path=ppt/tags/tag3206.xml><?xml version="1.0" encoding="utf-8"?>
<p:tagLst xmlns:a="http://schemas.openxmlformats.org/drawingml/2006/main" xmlns:r="http://schemas.openxmlformats.org/officeDocument/2006/relationships" xmlns:p="http://schemas.openxmlformats.org/presentationml/2006/main">
  <p:tag name="THINKCELLSHAPEDONOTDELETE" val="tfQTqkA10z2V4S.J8A329Bw"/>
</p:tagLst>
</file>

<file path=ppt/tags/tag3207.xml><?xml version="1.0" encoding="utf-8"?>
<p:tagLst xmlns:a="http://schemas.openxmlformats.org/drawingml/2006/main" xmlns:r="http://schemas.openxmlformats.org/officeDocument/2006/relationships" xmlns:p="http://schemas.openxmlformats.org/presentationml/2006/main">
  <p:tag name="THINKCELLSHAPEDONOTDELETE" val="tUvPsNZf3RHWZ5_bZJ5P.WQ"/>
</p:tagLst>
</file>

<file path=ppt/tags/tag3208.xml><?xml version="1.0" encoding="utf-8"?>
<p:tagLst xmlns:a="http://schemas.openxmlformats.org/drawingml/2006/main" xmlns:r="http://schemas.openxmlformats.org/officeDocument/2006/relationships" xmlns:p="http://schemas.openxmlformats.org/presentationml/2006/main">
  <p:tag name="THINKCELLSHAPEDONOTDELETE" val="tpqPmetmUWJDOCEyFgRNfhA"/>
</p:tagLst>
</file>

<file path=ppt/tags/tag3209.xml><?xml version="1.0" encoding="utf-8"?>
<p:tagLst xmlns:a="http://schemas.openxmlformats.org/drawingml/2006/main" xmlns:r="http://schemas.openxmlformats.org/officeDocument/2006/relationships" xmlns:p="http://schemas.openxmlformats.org/presentationml/2006/main">
  <p:tag name="THINKCELLSHAPEDONOTDELETE" val="t2pxBPbMEaJVOTWOpcMEORA"/>
</p:tagLst>
</file>

<file path=ppt/tags/tag3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10.xml><?xml version="1.0" encoding="utf-8"?>
<p:tagLst xmlns:a="http://schemas.openxmlformats.org/drawingml/2006/main" xmlns:r="http://schemas.openxmlformats.org/officeDocument/2006/relationships" xmlns:p="http://schemas.openxmlformats.org/presentationml/2006/main">
  <p:tag name="THINKCELLSHAPEDONOTDELETE" val="tUMLP5tby7QksE_AvopoNmQ"/>
</p:tagLst>
</file>

<file path=ppt/tags/tag3211.xml><?xml version="1.0" encoding="utf-8"?>
<p:tagLst xmlns:a="http://schemas.openxmlformats.org/drawingml/2006/main" xmlns:r="http://schemas.openxmlformats.org/officeDocument/2006/relationships" xmlns:p="http://schemas.openxmlformats.org/presentationml/2006/main">
  <p:tag name="THINKCELLSHAPEDONOTDELETE" val="t39_DRXQzIS6siEo6nDT5cA"/>
</p:tagLst>
</file>

<file path=ppt/tags/tag3212.xml><?xml version="1.0" encoding="utf-8"?>
<p:tagLst xmlns:a="http://schemas.openxmlformats.org/drawingml/2006/main" xmlns:r="http://schemas.openxmlformats.org/officeDocument/2006/relationships" xmlns:p="http://schemas.openxmlformats.org/presentationml/2006/main">
  <p:tag name="THINKCELLSHAPEDONOTDELETE" val="tbwf65LGUEzCy8zhyVBxiog"/>
</p:tagLst>
</file>

<file path=ppt/tags/tag3213.xml><?xml version="1.0" encoding="utf-8"?>
<p:tagLst xmlns:a="http://schemas.openxmlformats.org/drawingml/2006/main" xmlns:r="http://schemas.openxmlformats.org/officeDocument/2006/relationships" xmlns:p="http://schemas.openxmlformats.org/presentationml/2006/main">
  <p:tag name="THINKCELLSHAPEDONOTDELETE" val="tp_dD8mKMzPf0uBIhJsrozg"/>
</p:tagLst>
</file>

<file path=ppt/tags/tag3214.xml><?xml version="1.0" encoding="utf-8"?>
<p:tagLst xmlns:a="http://schemas.openxmlformats.org/drawingml/2006/main" xmlns:r="http://schemas.openxmlformats.org/officeDocument/2006/relationships" xmlns:p="http://schemas.openxmlformats.org/presentationml/2006/main">
  <p:tag name="THINKCELLSHAPEDONOTDELETE" val="twBJaTj6.UzN2vvIJ24fdIQ"/>
</p:tagLst>
</file>

<file path=ppt/tags/tag3215.xml><?xml version="1.0" encoding="utf-8"?>
<p:tagLst xmlns:a="http://schemas.openxmlformats.org/drawingml/2006/main" xmlns:r="http://schemas.openxmlformats.org/officeDocument/2006/relationships" xmlns:p="http://schemas.openxmlformats.org/presentationml/2006/main">
  <p:tag name="THINKCELLSHAPEDONOTDELETE" val="tYhA8glImctqN6IMHYLf9WQ"/>
</p:tagLst>
</file>

<file path=ppt/tags/tag3216.xml><?xml version="1.0" encoding="utf-8"?>
<p:tagLst xmlns:a="http://schemas.openxmlformats.org/drawingml/2006/main" xmlns:r="http://schemas.openxmlformats.org/officeDocument/2006/relationships" xmlns:p="http://schemas.openxmlformats.org/presentationml/2006/main">
  <p:tag name="THINKCELLSHAPEDONOTDELETE" val="tr.fG92UJ2YyY9RX4Mkz1aw"/>
</p:tagLst>
</file>

<file path=ppt/tags/tag3217.xml><?xml version="1.0" encoding="utf-8"?>
<p:tagLst xmlns:a="http://schemas.openxmlformats.org/drawingml/2006/main" xmlns:r="http://schemas.openxmlformats.org/officeDocument/2006/relationships" xmlns:p="http://schemas.openxmlformats.org/presentationml/2006/main">
  <p:tag name="THINKCELLSHAPEDONOTDELETE" val="tlV82jgNSx_TFodGN4pz3uw"/>
</p:tagLst>
</file>

<file path=ppt/tags/tag3218.xml><?xml version="1.0" encoding="utf-8"?>
<p:tagLst xmlns:a="http://schemas.openxmlformats.org/drawingml/2006/main" xmlns:r="http://schemas.openxmlformats.org/officeDocument/2006/relationships" xmlns:p="http://schemas.openxmlformats.org/presentationml/2006/main">
  <p:tag name="THINKCELLSHAPEDONOTDELETE" val="tiZM6RRqk6Ap2pgITwJ44UA"/>
</p:tagLst>
</file>

<file path=ppt/tags/tag3219.xml><?xml version="1.0" encoding="utf-8"?>
<p:tagLst xmlns:a="http://schemas.openxmlformats.org/drawingml/2006/main" xmlns:r="http://schemas.openxmlformats.org/officeDocument/2006/relationships" xmlns:p="http://schemas.openxmlformats.org/presentationml/2006/main">
  <p:tag name="THINKCELLSHAPEDONOTDELETE" val="trwD5CPURBLg._idqbRDnRQ"/>
</p:tagLst>
</file>

<file path=ppt/tags/tag3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20.xml><?xml version="1.0" encoding="utf-8"?>
<p:tagLst xmlns:a="http://schemas.openxmlformats.org/drawingml/2006/main" xmlns:r="http://schemas.openxmlformats.org/officeDocument/2006/relationships" xmlns:p="http://schemas.openxmlformats.org/presentationml/2006/main">
  <p:tag name="THINKCELLSHAPEDONOTDELETE" val="th7Zq1GywSLiUsy.9l5h4RQ"/>
</p:tagLst>
</file>

<file path=ppt/tags/tag3221.xml><?xml version="1.0" encoding="utf-8"?>
<p:tagLst xmlns:a="http://schemas.openxmlformats.org/drawingml/2006/main" xmlns:r="http://schemas.openxmlformats.org/officeDocument/2006/relationships" xmlns:p="http://schemas.openxmlformats.org/presentationml/2006/main">
  <p:tag name="THINKCELLSHAPEDONOTDELETE" val="t2.rmpFmpKIGnMC3JCcUVAQ"/>
</p:tagLst>
</file>

<file path=ppt/tags/tag3222.xml><?xml version="1.0" encoding="utf-8"?>
<p:tagLst xmlns:a="http://schemas.openxmlformats.org/drawingml/2006/main" xmlns:r="http://schemas.openxmlformats.org/officeDocument/2006/relationships" xmlns:p="http://schemas.openxmlformats.org/presentationml/2006/main">
  <p:tag name="THINKCELLSHAPEDONOTDELETE" val="t6e91nE1RE2ETp1TANnN2VA"/>
</p:tagLst>
</file>

<file path=ppt/tags/tag3223.xml><?xml version="1.0" encoding="utf-8"?>
<p:tagLst xmlns:a="http://schemas.openxmlformats.org/drawingml/2006/main" xmlns:r="http://schemas.openxmlformats.org/officeDocument/2006/relationships" xmlns:p="http://schemas.openxmlformats.org/presentationml/2006/main">
  <p:tag name="NAME" val="TrackerNumBlue"/>
</p:tagLst>
</file>

<file path=ppt/tags/tag3224.xml><?xml version="1.0" encoding="utf-8"?>
<p:tagLst xmlns:a="http://schemas.openxmlformats.org/drawingml/2006/main" xmlns:r="http://schemas.openxmlformats.org/officeDocument/2006/relationships" xmlns:p="http://schemas.openxmlformats.org/presentationml/2006/main">
  <p:tag name="NAME" val="TrackerNumBlue"/>
</p:tagLst>
</file>

<file path=ppt/tags/tag3225.xml><?xml version="1.0" encoding="utf-8"?>
<p:tagLst xmlns:a="http://schemas.openxmlformats.org/drawingml/2006/main" xmlns:r="http://schemas.openxmlformats.org/officeDocument/2006/relationships" xmlns:p="http://schemas.openxmlformats.org/presentationml/2006/main">
  <p:tag name="NAME" val="TrackerNumBlue"/>
</p:tagLst>
</file>

<file path=ppt/tags/tag3226.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2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28.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29.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3.xml><?xml version="1.0" encoding="utf-8"?>
<p:tagLst xmlns:a="http://schemas.openxmlformats.org/drawingml/2006/main" xmlns:r="http://schemas.openxmlformats.org/officeDocument/2006/relationships" xmlns:p="http://schemas.openxmlformats.org/presentationml/2006/main">
  <p:tag name="SHAPENAME" val="5. Source"/>
</p:tagLst>
</file>

<file path=ppt/tags/tag3230.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1.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33.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4.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35.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36.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7.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8.xml><?xml version="1.0" encoding="utf-8"?>
<p:tagLst xmlns:a="http://schemas.openxmlformats.org/drawingml/2006/main" xmlns:r="http://schemas.openxmlformats.org/officeDocument/2006/relationships" xmlns:p="http://schemas.openxmlformats.org/presentationml/2006/main">
  <p:tag name="NAME" val="TrackerNumBlue"/>
</p:tagLst>
</file>

<file path=ppt/tags/tag3239.xml><?xml version="1.0" encoding="utf-8"?>
<p:tagLst xmlns:a="http://schemas.openxmlformats.org/drawingml/2006/main" xmlns:r="http://schemas.openxmlformats.org/officeDocument/2006/relationships" xmlns:p="http://schemas.openxmlformats.org/presentationml/2006/main">
  <p:tag name="NAME" val="TrackerNumBlue"/>
</p:tagLst>
</file>

<file path=ppt/tags/tag3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240.xml><?xml version="1.0" encoding="utf-8"?>
<p:tagLst xmlns:a="http://schemas.openxmlformats.org/drawingml/2006/main" xmlns:r="http://schemas.openxmlformats.org/officeDocument/2006/relationships" xmlns:p="http://schemas.openxmlformats.org/presentationml/2006/main">
  <p:tag name="NAME" val="TrackerNumBlue"/>
</p:tagLst>
</file>

<file path=ppt/tags/tag32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2.xml><?xml version="1.0" encoding="utf-8"?>
<p:tagLst xmlns:a="http://schemas.openxmlformats.org/drawingml/2006/main" xmlns:r="http://schemas.openxmlformats.org/officeDocument/2006/relationships" xmlns:p="http://schemas.openxmlformats.org/presentationml/2006/main">
  <p:tag name="SHAPENAME" val="5. Source"/>
</p:tagLst>
</file>

<file path=ppt/tags/tag3243.xml><?xml version="1.0" encoding="utf-8"?>
<p:tagLst xmlns:a="http://schemas.openxmlformats.org/drawingml/2006/main" xmlns:r="http://schemas.openxmlformats.org/officeDocument/2006/relationships" xmlns:p="http://schemas.openxmlformats.org/presentationml/2006/main">
  <p:tag name="NAME" val="ACET"/>
</p:tagLst>
</file>

<file path=ppt/tags/tag3244.xml><?xml version="1.0" encoding="utf-8"?>
<p:tagLst xmlns:a="http://schemas.openxmlformats.org/drawingml/2006/main" xmlns:r="http://schemas.openxmlformats.org/officeDocument/2006/relationships" xmlns:p="http://schemas.openxmlformats.org/presentationml/2006/main">
  <p:tag name="NAME" val="ACET"/>
</p:tagLst>
</file>

<file path=ppt/tags/tag3245.xml><?xml version="1.0" encoding="utf-8"?>
<p:tagLst xmlns:a="http://schemas.openxmlformats.org/drawingml/2006/main" xmlns:r="http://schemas.openxmlformats.org/officeDocument/2006/relationships" xmlns:p="http://schemas.openxmlformats.org/presentationml/2006/main">
  <p:tag name="NAME" val="TrackerNumBlue"/>
</p:tagLst>
</file>

<file path=ppt/tags/tag3246.xml><?xml version="1.0" encoding="utf-8"?>
<p:tagLst xmlns:a="http://schemas.openxmlformats.org/drawingml/2006/main" xmlns:r="http://schemas.openxmlformats.org/officeDocument/2006/relationships" xmlns:p="http://schemas.openxmlformats.org/presentationml/2006/main">
  <p:tag name="NAME" val="TrackerNumBlue"/>
</p:tagLst>
</file>

<file path=ppt/tags/tag3247.xml><?xml version="1.0" encoding="utf-8"?>
<p:tagLst xmlns:a="http://schemas.openxmlformats.org/drawingml/2006/main" xmlns:r="http://schemas.openxmlformats.org/officeDocument/2006/relationships" xmlns:p="http://schemas.openxmlformats.org/presentationml/2006/main">
  <p:tag name="THINKCELLSHAPEDONOTDELETE" val="tl8x5zA1xQHTFkk22EFD5Bg"/>
</p:tagLst>
</file>

<file path=ppt/tags/tag3248.xml><?xml version="1.0" encoding="utf-8"?>
<p:tagLst xmlns:a="http://schemas.openxmlformats.org/drawingml/2006/main" xmlns:r="http://schemas.openxmlformats.org/officeDocument/2006/relationships" xmlns:p="http://schemas.openxmlformats.org/presentationml/2006/main">
  <p:tag name="THINKCELLSHAPEDONOTDELETE" val="tUvPsNZf3RHWZ5_bZJ5P.WQ"/>
</p:tagLst>
</file>

<file path=ppt/tags/tag3249.xml><?xml version="1.0" encoding="utf-8"?>
<p:tagLst xmlns:a="http://schemas.openxmlformats.org/drawingml/2006/main" xmlns:r="http://schemas.openxmlformats.org/officeDocument/2006/relationships" xmlns:p="http://schemas.openxmlformats.org/presentationml/2006/main">
  <p:tag name="THINKCELLSHAPEDONOTDELETE" val="t2pxBPbMEaJVOTWOpcMEOR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0.xml><?xml version="1.0" encoding="utf-8"?>
<p:tagLst xmlns:a="http://schemas.openxmlformats.org/drawingml/2006/main" xmlns:r="http://schemas.openxmlformats.org/officeDocument/2006/relationships" xmlns:p="http://schemas.openxmlformats.org/presentationml/2006/main">
  <p:tag name="THINKCELLSHAPEDONOTDELETE" val="tUMLP5tby7QksE_AvopoNmQ"/>
</p:tagLst>
</file>

<file path=ppt/tags/tag3251.xml><?xml version="1.0" encoding="utf-8"?>
<p:tagLst xmlns:a="http://schemas.openxmlformats.org/drawingml/2006/main" xmlns:r="http://schemas.openxmlformats.org/officeDocument/2006/relationships" xmlns:p="http://schemas.openxmlformats.org/presentationml/2006/main">
  <p:tag name="THINKCELLSHAPEDONOTDELETE" val="tRiWhStXaEl0fHOrcY8tZrA"/>
</p:tagLst>
</file>

<file path=ppt/tags/tag3252.xml><?xml version="1.0" encoding="utf-8"?>
<p:tagLst xmlns:a="http://schemas.openxmlformats.org/drawingml/2006/main" xmlns:r="http://schemas.openxmlformats.org/officeDocument/2006/relationships" xmlns:p="http://schemas.openxmlformats.org/presentationml/2006/main">
  <p:tag name="THINKCELLSHAPEDONOTDELETE" val="tKda4n0AS12kRiQhR0xaiFg"/>
</p:tagLst>
</file>

<file path=ppt/tags/tag3253.xml><?xml version="1.0" encoding="utf-8"?>
<p:tagLst xmlns:a="http://schemas.openxmlformats.org/drawingml/2006/main" xmlns:r="http://schemas.openxmlformats.org/officeDocument/2006/relationships" xmlns:p="http://schemas.openxmlformats.org/presentationml/2006/main">
  <p:tag name="THINKCELLSHAPEDONOTDELETE" val="tHQgm7dLerQLBqpQ6yl1heA"/>
</p:tagLst>
</file>

<file path=ppt/tags/tag3254.xml><?xml version="1.0" encoding="utf-8"?>
<p:tagLst xmlns:a="http://schemas.openxmlformats.org/drawingml/2006/main" xmlns:r="http://schemas.openxmlformats.org/officeDocument/2006/relationships" xmlns:p="http://schemas.openxmlformats.org/presentationml/2006/main">
  <p:tag name="THINKCELLSHAPEDONOTDELETE" val="tp9g_xyj.pQ5jP9AhD9_C.g"/>
</p:tagLst>
</file>

<file path=ppt/tags/tag3255.xml><?xml version="1.0" encoding="utf-8"?>
<p:tagLst xmlns:a="http://schemas.openxmlformats.org/drawingml/2006/main" xmlns:r="http://schemas.openxmlformats.org/officeDocument/2006/relationships" xmlns:p="http://schemas.openxmlformats.org/presentationml/2006/main">
  <p:tag name="THINKCELLSHAPEDONOTDELETE" val="tusaBOhWBiZm8EYPdHBxFxw"/>
</p:tagLst>
</file>

<file path=ppt/tags/tag3256.xml><?xml version="1.0" encoding="utf-8"?>
<p:tagLst xmlns:a="http://schemas.openxmlformats.org/drawingml/2006/main" xmlns:r="http://schemas.openxmlformats.org/officeDocument/2006/relationships" xmlns:p="http://schemas.openxmlformats.org/presentationml/2006/main">
  <p:tag name="THINKCELLSHAPEDONOTDELETE" val="tqwEz_uGYomIYQtL_j4qj0w"/>
</p:tagLst>
</file>

<file path=ppt/tags/tag3257.xml><?xml version="1.0" encoding="utf-8"?>
<p:tagLst xmlns:a="http://schemas.openxmlformats.org/drawingml/2006/main" xmlns:r="http://schemas.openxmlformats.org/officeDocument/2006/relationships" xmlns:p="http://schemas.openxmlformats.org/presentationml/2006/main">
  <p:tag name="THINKCELLSHAPEDONOTDELETE" val="taFRPEON5AipNJxKHJXlngA"/>
</p:tagLst>
</file>

<file path=ppt/tags/tag3258.xml><?xml version="1.0" encoding="utf-8"?>
<p:tagLst xmlns:a="http://schemas.openxmlformats.org/drawingml/2006/main" xmlns:r="http://schemas.openxmlformats.org/officeDocument/2006/relationships" xmlns:p="http://schemas.openxmlformats.org/presentationml/2006/main">
  <p:tag name="THINKCELLSHAPEDONOTDELETE" val="tV_2tK21wVALUT5BjtUxfSQ"/>
</p:tagLst>
</file>

<file path=ppt/tags/tag3259.xml><?xml version="1.0" encoding="utf-8"?>
<p:tagLst xmlns:a="http://schemas.openxmlformats.org/drawingml/2006/main" xmlns:r="http://schemas.openxmlformats.org/officeDocument/2006/relationships" xmlns:p="http://schemas.openxmlformats.org/presentationml/2006/main">
  <p:tag name="THINKCELLSHAPEDONOTDELETE" val="t6e91nE1RE2ETp1TANnN2V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260.xml><?xml version="1.0" encoding="utf-8"?>
<p:tagLst xmlns:a="http://schemas.openxmlformats.org/drawingml/2006/main" xmlns:r="http://schemas.openxmlformats.org/officeDocument/2006/relationships" xmlns:p="http://schemas.openxmlformats.org/presentationml/2006/main">
  <p:tag name="THINKCELLSHAPEDONOTDELETE" val="t2.rmpFmpKIGnMC3JCcUVAQ"/>
</p:tagLst>
</file>

<file path=ppt/tags/tag3261.xml><?xml version="1.0" encoding="utf-8"?>
<p:tagLst xmlns:a="http://schemas.openxmlformats.org/drawingml/2006/main" xmlns:r="http://schemas.openxmlformats.org/officeDocument/2006/relationships" xmlns:p="http://schemas.openxmlformats.org/presentationml/2006/main">
  <p:tag name="THINKCELLSHAPEDONOTDELETE" val="twBJaTj6.UzN2vvIJ24fdIQ"/>
</p:tagLst>
</file>

<file path=ppt/tags/tag3262.xml><?xml version="1.0" encoding="utf-8"?>
<p:tagLst xmlns:a="http://schemas.openxmlformats.org/drawingml/2006/main" xmlns:r="http://schemas.openxmlformats.org/officeDocument/2006/relationships" xmlns:p="http://schemas.openxmlformats.org/presentationml/2006/main">
  <p:tag name="THINKCELLSHAPEDONOTDELETE" val="tYhA8glImctqN6IMHYLf9WQ"/>
</p:tagLst>
</file>

<file path=ppt/tags/tag3263.xml><?xml version="1.0" encoding="utf-8"?>
<p:tagLst xmlns:a="http://schemas.openxmlformats.org/drawingml/2006/main" xmlns:r="http://schemas.openxmlformats.org/officeDocument/2006/relationships" xmlns:p="http://schemas.openxmlformats.org/presentationml/2006/main">
  <p:tag name="THINKCELLSHAPEDONOTDELETE" val="tr.fG92UJ2YyY9RX4Mkz1aw"/>
</p:tagLst>
</file>

<file path=ppt/tags/tag3264.xml><?xml version="1.0" encoding="utf-8"?>
<p:tagLst xmlns:a="http://schemas.openxmlformats.org/drawingml/2006/main" xmlns:r="http://schemas.openxmlformats.org/officeDocument/2006/relationships" xmlns:p="http://schemas.openxmlformats.org/presentationml/2006/main">
  <p:tag name="THINKCELLSHAPEDONOTDELETE" val="tlV82jgNSx_TFodGN4pz3uw"/>
</p:tagLst>
</file>

<file path=ppt/tags/tag3265.xml><?xml version="1.0" encoding="utf-8"?>
<p:tagLst xmlns:a="http://schemas.openxmlformats.org/drawingml/2006/main" xmlns:r="http://schemas.openxmlformats.org/officeDocument/2006/relationships" xmlns:p="http://schemas.openxmlformats.org/presentationml/2006/main">
  <p:tag name="THINKCELLSHAPEDONOTDELETE" val="tiZM6RRqk6Ap2pgITwJ44UA"/>
</p:tagLst>
</file>

<file path=ppt/tags/tag3266.xml><?xml version="1.0" encoding="utf-8"?>
<p:tagLst xmlns:a="http://schemas.openxmlformats.org/drawingml/2006/main" xmlns:r="http://schemas.openxmlformats.org/officeDocument/2006/relationships" xmlns:p="http://schemas.openxmlformats.org/presentationml/2006/main">
  <p:tag name="THINKCELLSHAPEDONOTDELETE" val="trwD5CPURBLg._idqbRDnRQ"/>
</p:tagLst>
</file>

<file path=ppt/tags/tag3267.xml><?xml version="1.0" encoding="utf-8"?>
<p:tagLst xmlns:a="http://schemas.openxmlformats.org/drawingml/2006/main" xmlns:r="http://schemas.openxmlformats.org/officeDocument/2006/relationships" xmlns:p="http://schemas.openxmlformats.org/presentationml/2006/main">
  <p:tag name="THINKCELLSHAPEDONOTDELETE" val="th7Zq1GywSLiUsy.9l5h4RQ"/>
</p:tagLst>
</file>

<file path=ppt/tags/tag3268.xml><?xml version="1.0" encoding="utf-8"?>
<p:tagLst xmlns:a="http://schemas.openxmlformats.org/drawingml/2006/main" xmlns:r="http://schemas.openxmlformats.org/officeDocument/2006/relationships" xmlns:p="http://schemas.openxmlformats.org/presentationml/2006/main">
  <p:tag name="NAME" val="TrackerNumBlue"/>
</p:tagLst>
</file>

<file path=ppt/tags/tag3269.xml><?xml version="1.0" encoding="utf-8"?>
<p:tagLst xmlns:a="http://schemas.openxmlformats.org/drawingml/2006/main" xmlns:r="http://schemas.openxmlformats.org/officeDocument/2006/relationships" xmlns:p="http://schemas.openxmlformats.org/presentationml/2006/main">
  <p:tag name="NAME" val="TrackerNumBlue"/>
</p:tagLst>
</file>

<file path=ppt/tags/tag3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0.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7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72.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73.xml><?xml version="1.0" encoding="utf-8"?>
<p:tagLst xmlns:a="http://schemas.openxmlformats.org/drawingml/2006/main" xmlns:r="http://schemas.openxmlformats.org/officeDocument/2006/relationships" xmlns:p="http://schemas.openxmlformats.org/presentationml/2006/main">
  <p:tag name="NAME" val="TrackerNumBlue"/>
</p:tagLst>
</file>

<file path=ppt/tags/tag3274.xml><?xml version="1.0" encoding="utf-8"?>
<p:tagLst xmlns:a="http://schemas.openxmlformats.org/drawingml/2006/main" xmlns:r="http://schemas.openxmlformats.org/officeDocument/2006/relationships" xmlns:p="http://schemas.openxmlformats.org/presentationml/2006/main">
  <p:tag name="NAME" val="TrackerNumBlue"/>
</p:tagLst>
</file>

<file path=ppt/tags/tag3275.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76.xml><?xml version="1.0" encoding="utf-8"?>
<p:tagLst xmlns:a="http://schemas.openxmlformats.org/drawingml/2006/main" xmlns:r="http://schemas.openxmlformats.org/officeDocument/2006/relationships" xmlns:p="http://schemas.openxmlformats.org/presentationml/2006/main">
  <p:tag name="NAME" val="TrackerNumBlue"/>
</p:tagLst>
</file>

<file path=ppt/tags/tag3277.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79.xml><?xml version="1.0" encoding="utf-8"?>
<p:tagLst xmlns:a="http://schemas.openxmlformats.org/drawingml/2006/main" xmlns:r="http://schemas.openxmlformats.org/officeDocument/2006/relationships" xmlns:p="http://schemas.openxmlformats.org/presentationml/2006/main">
  <p:tag name="SHAPENAME" val="4. Footnote"/>
</p:tagLst>
</file>

<file path=ppt/tags/tag3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280.xml><?xml version="1.0" encoding="utf-8"?>
<p:tagLst xmlns:a="http://schemas.openxmlformats.org/drawingml/2006/main" xmlns:r="http://schemas.openxmlformats.org/officeDocument/2006/relationships" xmlns:p="http://schemas.openxmlformats.org/presentationml/2006/main">
  <p:tag name="NAME" val="TrackerNumBlue"/>
</p:tagLst>
</file>

<file path=ppt/tags/tag3281.xml><?xml version="1.0" encoding="utf-8"?>
<p:tagLst xmlns:a="http://schemas.openxmlformats.org/drawingml/2006/main" xmlns:r="http://schemas.openxmlformats.org/officeDocument/2006/relationships" xmlns:p="http://schemas.openxmlformats.org/presentationml/2006/main">
  <p:tag name="NAME" val="LineBasicVerticalDefault"/>
</p:tagLst>
</file>

<file path=ppt/tags/tag3282.xml><?xml version="1.0" encoding="utf-8"?>
<p:tagLst xmlns:a="http://schemas.openxmlformats.org/drawingml/2006/main" xmlns:r="http://schemas.openxmlformats.org/officeDocument/2006/relationships" xmlns:p="http://schemas.openxmlformats.org/presentationml/2006/main">
  <p:tag name="NAME" val="TrackerNumBlue"/>
</p:tagLst>
</file>

<file path=ppt/tags/tag3283.xml><?xml version="1.0" encoding="utf-8"?>
<p:tagLst xmlns:a="http://schemas.openxmlformats.org/drawingml/2006/main" xmlns:r="http://schemas.openxmlformats.org/officeDocument/2006/relationships" xmlns:p="http://schemas.openxmlformats.org/presentationml/2006/main">
  <p:tag name="NAME" val="TrackerNumBlue"/>
</p:tagLst>
</file>

<file path=ppt/tags/tag3284.xml><?xml version="1.0" encoding="utf-8"?>
<p:tagLst xmlns:a="http://schemas.openxmlformats.org/drawingml/2006/main" xmlns:r="http://schemas.openxmlformats.org/officeDocument/2006/relationships" xmlns:p="http://schemas.openxmlformats.org/presentationml/2006/main">
  <p:tag name="NAME" val="TrackerNumBlue"/>
</p:tagLst>
</file>

<file path=ppt/tags/tag3285.xml><?xml version="1.0" encoding="utf-8"?>
<p:tagLst xmlns:a="http://schemas.openxmlformats.org/drawingml/2006/main" xmlns:r="http://schemas.openxmlformats.org/officeDocument/2006/relationships" xmlns:p="http://schemas.openxmlformats.org/presentationml/2006/main">
  <p:tag name="NAME" val="TrackerNumBlue"/>
</p:tagLst>
</file>

<file path=ppt/tags/tag3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87.xml><?xml version="1.0" encoding="utf-8"?>
<p:tagLst xmlns:a="http://schemas.openxmlformats.org/drawingml/2006/main" xmlns:r="http://schemas.openxmlformats.org/officeDocument/2006/relationships" xmlns:p="http://schemas.openxmlformats.org/presentationml/2006/main">
  <p:tag name="THINKCELLSHAPEDONOTDELETE" val="tu94tkxH_7BggP8cTArFINA"/>
</p:tagLst>
</file>

<file path=ppt/tags/tag328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289.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5"/>
  <p:tag name="WIDTH" val="425"/>
  <p:tag name="HEIGHT" val="19.38748"/>
  <p:tag name="TOP" val="110"/>
</p:tagLst>
</file>

<file path=ppt/tags/tag329.xml><?xml version="1.0" encoding="utf-8"?>
<p:tagLst xmlns:a="http://schemas.openxmlformats.org/drawingml/2006/main" xmlns:r="http://schemas.openxmlformats.org/officeDocument/2006/relationships" xmlns:p="http://schemas.openxmlformats.org/presentationml/2006/main">
  <p:tag name="SHAPENAME" val="5. Source"/>
</p:tagLst>
</file>

<file path=ppt/tags/tag3290.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90"/>
  <p:tag name="WIDTH" val="425"/>
  <p:tag name="HEIGHT" val="19.38748"/>
  <p:tag name="TOP" val="110"/>
</p:tagLst>
</file>

<file path=ppt/tags/tag3291.xml><?xml version="1.0" encoding="utf-8"?>
<p:tagLst xmlns:a="http://schemas.openxmlformats.org/drawingml/2006/main" xmlns:r="http://schemas.openxmlformats.org/officeDocument/2006/relationships" xmlns:p="http://schemas.openxmlformats.org/presentationml/2006/main">
  <p:tag name="MTTABLE" val="HTitleDiv"/>
  <p:tag name="MTNUMBER" val="0.125697748328418"/>
</p:tagLst>
</file>

<file path=ppt/tags/tag3292.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5"/>
  <p:tag name="WIDTH" val="425"/>
  <p:tag name="TOP" val="139.3875"/>
  <p:tag name="HEIGHT" val="40.10206"/>
</p:tagLst>
</file>

<file path=ppt/tags/tag3293.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90"/>
  <p:tag name="WIDTH" val="425"/>
  <p:tag name="TOP" val="139.3875"/>
  <p:tag name="HEIGHT" val="40.10206"/>
</p:tagLst>
</file>

<file path=ppt/tags/tag3294.xml><?xml version="1.0" encoding="utf-8"?>
<p:tagLst xmlns:a="http://schemas.openxmlformats.org/drawingml/2006/main" xmlns:r="http://schemas.openxmlformats.org/officeDocument/2006/relationships" xmlns:p="http://schemas.openxmlformats.org/presentationml/2006/main">
  <p:tag name="MTTABLE" val="HDiv"/>
  <p:tag name="MTNUMBER" val="0.125697748328418"/>
</p:tagLst>
</file>

<file path=ppt/tags/tag3295.xml><?xml version="1.0" encoding="utf-8"?>
<p:tagLst xmlns:a="http://schemas.openxmlformats.org/drawingml/2006/main" xmlns:r="http://schemas.openxmlformats.org/officeDocument/2006/relationships" xmlns:p="http://schemas.openxmlformats.org/presentationml/2006/main">
  <p:tag name="MTTABLE" val="HDiv"/>
  <p:tag name="MTNUMBER" val="0.125697748328418"/>
</p:tagLst>
</file>

<file path=ppt/tags/tag3296.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5"/>
  <p:tag name="WIDTH" val="425"/>
  <p:tag name="TOP" val="389.8977"/>
  <p:tag name="HEIGHT" val="40.10206"/>
</p:tagLst>
</file>

<file path=ppt/tags/tag3297.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90"/>
  <p:tag name="WIDTH" val="425"/>
  <p:tag name="TOP" val="389.8977"/>
  <p:tag name="HEIGHT" val="40.10206"/>
</p:tagLst>
</file>

<file path=ppt/tags/tag3298.xml><?xml version="1.0" encoding="utf-8"?>
<p:tagLst xmlns:a="http://schemas.openxmlformats.org/drawingml/2006/main" xmlns:r="http://schemas.openxmlformats.org/officeDocument/2006/relationships" xmlns:p="http://schemas.openxmlformats.org/presentationml/2006/main">
  <p:tag name="MTTABLE" val="HDiv"/>
  <p:tag name="MTNUMBER" val="0.125697748328418"/>
</p:tagLst>
</file>

<file path=ppt/tags/tag3299.xml><?xml version="1.0" encoding="utf-8"?>
<p:tagLst xmlns:a="http://schemas.openxmlformats.org/drawingml/2006/main" xmlns:r="http://schemas.openxmlformats.org/officeDocument/2006/relationships" xmlns:p="http://schemas.openxmlformats.org/presentationml/2006/main">
  <p:tag name="MTTABLE" val="HTitleDiv"/>
  <p:tag name="MTNUMBER" val="0.125697748328418"/>
</p:tagLst>
</file>

<file path=ppt/tags/tag33.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00.xml><?xml version="1.0" encoding="utf-8"?>
<p:tagLst xmlns:a="http://schemas.openxmlformats.org/drawingml/2006/main" xmlns:r="http://schemas.openxmlformats.org/officeDocument/2006/relationships" xmlns:p="http://schemas.openxmlformats.org/presentationml/2006/main">
  <p:tag name="NAME" val="CustomIcon"/>
</p:tagLst>
</file>

<file path=ppt/tags/tag3301.xml><?xml version="1.0" encoding="utf-8"?>
<p:tagLst xmlns:a="http://schemas.openxmlformats.org/drawingml/2006/main" xmlns:r="http://schemas.openxmlformats.org/officeDocument/2006/relationships" xmlns:p="http://schemas.openxmlformats.org/presentationml/2006/main">
  <p:tag name="NAME" val="CustomIcon"/>
</p:tagLst>
</file>

<file path=ppt/tags/tag3302.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90"/>
  <p:tag name="WIDTH" val="425"/>
  <p:tag name="TOP" val="389.8977"/>
  <p:tag name="HEIGHT" val="40.10206"/>
</p:tagLst>
</file>

<file path=ppt/tags/tag3303.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5"/>
  <p:tag name="WIDTH" val="425"/>
  <p:tag name="TOP" val="389.8977"/>
  <p:tag name="HEIGHT" val="40.10206"/>
</p:tagLst>
</file>

<file path=ppt/tags/tag3304.xml><?xml version="1.0" encoding="utf-8"?>
<p:tagLst xmlns:a="http://schemas.openxmlformats.org/drawingml/2006/main" xmlns:r="http://schemas.openxmlformats.org/officeDocument/2006/relationships" xmlns:p="http://schemas.openxmlformats.org/presentationml/2006/main">
  <p:tag name="NAME" val="CustomIcon"/>
</p:tagLst>
</file>

<file path=ppt/tags/tag3305.xml><?xml version="1.0" encoding="utf-8"?>
<p:tagLst xmlns:a="http://schemas.openxmlformats.org/drawingml/2006/main" xmlns:r="http://schemas.openxmlformats.org/officeDocument/2006/relationships" xmlns:p="http://schemas.openxmlformats.org/presentationml/2006/main">
  <p:tag name="MTTABLE" val="HDiv"/>
  <p:tag name="MTNUMBER" val="0.125697748328418"/>
</p:tagLst>
</file>

<file path=ppt/tags/tag3306.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5"/>
  <p:tag name="WIDTH" val="425"/>
  <p:tag name="TOP" val="189.4895"/>
  <p:tag name="HEIGHT" val="40.10206"/>
</p:tagLst>
</file>

<file path=ppt/tags/tag3307.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5"/>
  <p:tag name="WIDTH" val="425"/>
  <p:tag name="HEIGHT" val="19.38748"/>
  <p:tag name="TOP" val="110"/>
</p:tagLst>
</file>

<file path=ppt/tags/tag3308.xml><?xml version="1.0" encoding="utf-8"?>
<p:tagLst xmlns:a="http://schemas.openxmlformats.org/drawingml/2006/main" xmlns:r="http://schemas.openxmlformats.org/officeDocument/2006/relationships" xmlns:p="http://schemas.openxmlformats.org/presentationml/2006/main">
  <p:tag name="MTTABLE" val="Cell"/>
  <p:tag name="MTNUMBER" val="0.125697748328418"/>
  <p:tag name="LEFT" val="45"/>
  <p:tag name="WIDTH" val="425"/>
  <p:tag name="TOP" val="189.4895"/>
  <p:tag name="HEIGHT" val="40.10206"/>
</p:tagLst>
</file>

<file path=ppt/tags/tag3309.xml><?xml version="1.0" encoding="utf-8"?>
<p:tagLst xmlns:a="http://schemas.openxmlformats.org/drawingml/2006/main" xmlns:r="http://schemas.openxmlformats.org/officeDocument/2006/relationships" xmlns:p="http://schemas.openxmlformats.org/presentationml/2006/main">
  <p:tag name="NAME" val="CustomIcon"/>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10.xml><?xml version="1.0" encoding="utf-8"?>
<p:tagLst xmlns:a="http://schemas.openxmlformats.org/drawingml/2006/main" xmlns:r="http://schemas.openxmlformats.org/officeDocument/2006/relationships" xmlns:p="http://schemas.openxmlformats.org/presentationml/2006/main">
  <p:tag name="NAME" val="CustomIcon"/>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35.xml><?xml version="1.0" encoding="utf-8"?>
<p:tagLst xmlns:a="http://schemas.openxmlformats.org/drawingml/2006/main" xmlns:r="http://schemas.openxmlformats.org/officeDocument/2006/relationships" xmlns:p="http://schemas.openxmlformats.org/presentationml/2006/main">
  <p:tag name="SHAPENAME" val="5. Source"/>
</p:tagLst>
</file>

<file path=ppt/tags/tag3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1.xml><?xml version="1.0" encoding="utf-8"?>
<p:tagLst xmlns:a="http://schemas.openxmlformats.org/drawingml/2006/main" xmlns:r="http://schemas.openxmlformats.org/officeDocument/2006/relationships" xmlns:p="http://schemas.openxmlformats.org/presentationml/2006/main">
  <p:tag name="SHAPENAME" val="5. Source"/>
</p:tagLst>
</file>

<file path=ppt/tags/tag3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47.xml><?xml version="1.0" encoding="utf-8"?>
<p:tagLst xmlns:a="http://schemas.openxmlformats.org/drawingml/2006/main" xmlns:r="http://schemas.openxmlformats.org/officeDocument/2006/relationships" xmlns:p="http://schemas.openxmlformats.org/presentationml/2006/main">
  <p:tag name="SHAPENAME" val="5. Source"/>
</p:tagLst>
</file>

<file path=ppt/tags/tag3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3.xml><?xml version="1.0" encoding="utf-8"?>
<p:tagLst xmlns:a="http://schemas.openxmlformats.org/drawingml/2006/main" xmlns:r="http://schemas.openxmlformats.org/officeDocument/2006/relationships" xmlns:p="http://schemas.openxmlformats.org/presentationml/2006/main">
  <p:tag name="SHAPENAME" val="5. Source"/>
</p:tagLst>
</file>

<file path=ppt/tags/tag3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59.xml><?xml version="1.0" encoding="utf-8"?>
<p:tagLst xmlns:a="http://schemas.openxmlformats.org/drawingml/2006/main" xmlns:r="http://schemas.openxmlformats.org/officeDocument/2006/relationships" xmlns:p="http://schemas.openxmlformats.org/presentationml/2006/main">
  <p:tag name="SHAPENAME" val="5. Source"/>
</p:tagLst>
</file>

<file path=ppt/tags/tag36.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65.xml><?xml version="1.0" encoding="utf-8"?>
<p:tagLst xmlns:a="http://schemas.openxmlformats.org/drawingml/2006/main" xmlns:r="http://schemas.openxmlformats.org/officeDocument/2006/relationships" xmlns:p="http://schemas.openxmlformats.org/presentationml/2006/main">
  <p:tag name="SHAPENAME" val="5. Source"/>
</p:tagLst>
</file>

<file path=ppt/tags/tag3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1.xml><?xml version="1.0" encoding="utf-8"?>
<p:tagLst xmlns:a="http://schemas.openxmlformats.org/drawingml/2006/main" xmlns:r="http://schemas.openxmlformats.org/officeDocument/2006/relationships" xmlns:p="http://schemas.openxmlformats.org/presentationml/2006/main">
  <p:tag name="SHAPENAME" val="5. Source"/>
</p:tagLst>
</file>

<file path=ppt/tags/tag3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377.xml><?xml version="1.0" encoding="utf-8"?>
<p:tagLst xmlns:a="http://schemas.openxmlformats.org/drawingml/2006/main" xmlns:r="http://schemas.openxmlformats.org/officeDocument/2006/relationships" xmlns:p="http://schemas.openxmlformats.org/presentationml/2006/main">
  <p:tag name="SHAPENAME" val="5. Source"/>
</p:tagLst>
</file>

<file path=ppt/tags/tag3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3.xml><?xml version="1.0" encoding="utf-8"?>
<p:tagLst xmlns:a="http://schemas.openxmlformats.org/drawingml/2006/main" xmlns:r="http://schemas.openxmlformats.org/officeDocument/2006/relationships" xmlns:p="http://schemas.openxmlformats.org/presentationml/2006/main">
  <p:tag name="SHAPENAME" val="5. Source"/>
</p:tagLst>
</file>

<file path=ppt/tags/tag3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389.xml><?xml version="1.0" encoding="utf-8"?>
<p:tagLst xmlns:a="http://schemas.openxmlformats.org/drawingml/2006/main" xmlns:r="http://schemas.openxmlformats.org/officeDocument/2006/relationships" xmlns:p="http://schemas.openxmlformats.org/presentationml/2006/main">
  <p:tag name="SHAPENAME" val="5. Source"/>
</p:tagLst>
</file>

<file path=ppt/tags/tag39.xml><?xml version="1.0" encoding="utf-8"?>
<p:tagLst xmlns:a="http://schemas.openxmlformats.org/drawingml/2006/main" xmlns:r="http://schemas.openxmlformats.org/officeDocument/2006/relationships" xmlns:p="http://schemas.openxmlformats.org/presentationml/2006/main">
  <p:tag name="SHAPENAME" val="5. Source"/>
</p:tagLst>
</file>

<file path=ppt/tags/tag3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3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395.xml><?xml version="1.0" encoding="utf-8"?>
<p:tagLst xmlns:a="http://schemas.openxmlformats.org/drawingml/2006/main" xmlns:r="http://schemas.openxmlformats.org/officeDocument/2006/relationships" xmlns:p="http://schemas.openxmlformats.org/presentationml/2006/main">
  <p:tag name="SHAPENAME" val="5. Source"/>
</p:tagLst>
</file>

<file path=ppt/tags/tag3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3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1.xml><?xml version="1.0" encoding="utf-8"?>
<p:tagLst xmlns:a="http://schemas.openxmlformats.org/drawingml/2006/main" xmlns:r="http://schemas.openxmlformats.org/officeDocument/2006/relationships" xmlns:p="http://schemas.openxmlformats.org/presentationml/2006/main">
  <p:tag name="SHAPENAME" val="5. Source"/>
</p:tagLst>
</file>

<file path=ppt/tags/tag4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07.xml><?xml version="1.0" encoding="utf-8"?>
<p:tagLst xmlns:a="http://schemas.openxmlformats.org/drawingml/2006/main" xmlns:r="http://schemas.openxmlformats.org/officeDocument/2006/relationships" xmlns:p="http://schemas.openxmlformats.org/presentationml/2006/main">
  <p:tag name="SHAPENAME" val="5. Source"/>
</p:tagLst>
</file>

<file path=ppt/tags/tag4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3.xml><?xml version="1.0" encoding="utf-8"?>
<p:tagLst xmlns:a="http://schemas.openxmlformats.org/drawingml/2006/main" xmlns:r="http://schemas.openxmlformats.org/officeDocument/2006/relationships" xmlns:p="http://schemas.openxmlformats.org/presentationml/2006/main">
  <p:tag name="SHAPENAME" val="5. Source"/>
</p:tagLst>
</file>

<file path=ppt/tags/tag4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19.xml><?xml version="1.0" encoding="utf-8"?>
<p:tagLst xmlns:a="http://schemas.openxmlformats.org/drawingml/2006/main" xmlns:r="http://schemas.openxmlformats.org/officeDocument/2006/relationships" xmlns:p="http://schemas.openxmlformats.org/presentationml/2006/main">
  <p:tag name="SHAPENAME" val="5. Sourc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4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25.xml><?xml version="1.0" encoding="utf-8"?>
<p:tagLst xmlns:a="http://schemas.openxmlformats.org/drawingml/2006/main" xmlns:r="http://schemas.openxmlformats.org/officeDocument/2006/relationships" xmlns:p="http://schemas.openxmlformats.org/presentationml/2006/main">
  <p:tag name="SHAPENAME" val="5. Source"/>
</p:tagLst>
</file>

<file path=ppt/tags/tag4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1.xml><?xml version="1.0" encoding="utf-8"?>
<p:tagLst xmlns:a="http://schemas.openxmlformats.org/drawingml/2006/main" xmlns:r="http://schemas.openxmlformats.org/officeDocument/2006/relationships" xmlns:p="http://schemas.openxmlformats.org/presentationml/2006/main">
  <p:tag name="SHAPENAME" val="5. Source"/>
</p:tagLst>
</file>

<file path=ppt/tags/tag4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37.xml><?xml version="1.0" encoding="utf-8"?>
<p:tagLst xmlns:a="http://schemas.openxmlformats.org/drawingml/2006/main" xmlns:r="http://schemas.openxmlformats.org/officeDocument/2006/relationships" xmlns:p="http://schemas.openxmlformats.org/presentationml/2006/main">
  <p:tag name="SHAPENAME" val="5. Source"/>
</p:tagLst>
</file>

<file path=ppt/tags/tag4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3.xml><?xml version="1.0" encoding="utf-8"?>
<p:tagLst xmlns:a="http://schemas.openxmlformats.org/drawingml/2006/main" xmlns:r="http://schemas.openxmlformats.org/officeDocument/2006/relationships" xmlns:p="http://schemas.openxmlformats.org/presentationml/2006/main">
  <p:tag name="SHAPENAME" val="5. Source"/>
</p:tagLst>
</file>

<file path=ppt/tags/tag4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49.xml><?xml version="1.0" encoding="utf-8"?>
<p:tagLst xmlns:a="http://schemas.openxmlformats.org/drawingml/2006/main" xmlns:r="http://schemas.openxmlformats.org/officeDocument/2006/relationships" xmlns:p="http://schemas.openxmlformats.org/presentationml/2006/main">
  <p:tag name="SHAPENAME" val="5. Source"/>
</p:tagLst>
</file>

<file path=ppt/tags/tag4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55.xml><?xml version="1.0" encoding="utf-8"?>
<p:tagLst xmlns:a="http://schemas.openxmlformats.org/drawingml/2006/main" xmlns:r="http://schemas.openxmlformats.org/officeDocument/2006/relationships" xmlns:p="http://schemas.openxmlformats.org/presentationml/2006/main">
  <p:tag name="SHAPENAME" val="5. Source"/>
</p:tagLst>
</file>

<file path=ppt/tags/tag4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xml><?xml version="1.0" encoding="utf-8"?>
<p:tagLst xmlns:a="http://schemas.openxmlformats.org/drawingml/2006/main" xmlns:r="http://schemas.openxmlformats.org/officeDocument/2006/relationships" xmlns:p="http://schemas.openxmlformats.org/presentationml/2006/main">
  <p:tag name="SHAPENAME" val="5. Source"/>
</p:tagLst>
</file>

<file path=ppt/tags/tag4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1.xml><?xml version="1.0" encoding="utf-8"?>
<p:tagLst xmlns:a="http://schemas.openxmlformats.org/drawingml/2006/main" xmlns:r="http://schemas.openxmlformats.org/officeDocument/2006/relationships" xmlns:p="http://schemas.openxmlformats.org/presentationml/2006/main">
  <p:tag name="SHAPENAME" val="5. Source"/>
</p:tagLst>
</file>

<file path=ppt/tags/tag4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67.xml><?xml version="1.0" encoding="utf-8"?>
<p:tagLst xmlns:a="http://schemas.openxmlformats.org/drawingml/2006/main" xmlns:r="http://schemas.openxmlformats.org/officeDocument/2006/relationships" xmlns:p="http://schemas.openxmlformats.org/presentationml/2006/main">
  <p:tag name="SHAPENAME" val="5. Source"/>
</p:tagLst>
</file>

<file path=ppt/tags/tag4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3.xml><?xml version="1.0" encoding="utf-8"?>
<p:tagLst xmlns:a="http://schemas.openxmlformats.org/drawingml/2006/main" xmlns:r="http://schemas.openxmlformats.org/officeDocument/2006/relationships" xmlns:p="http://schemas.openxmlformats.org/presentationml/2006/main">
  <p:tag name="SHAPENAME" val="5. Source"/>
</p:tagLst>
</file>

<file path=ppt/tags/tag4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479.xml><?xml version="1.0" encoding="utf-8"?>
<p:tagLst xmlns:a="http://schemas.openxmlformats.org/drawingml/2006/main" xmlns:r="http://schemas.openxmlformats.org/officeDocument/2006/relationships" xmlns:p="http://schemas.openxmlformats.org/presentationml/2006/main">
  <p:tag name="SHAPENAME" val="5. Sourc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485.xml><?xml version="1.0" encoding="utf-8"?>
<p:tagLst xmlns:a="http://schemas.openxmlformats.org/drawingml/2006/main" xmlns:r="http://schemas.openxmlformats.org/officeDocument/2006/relationships" xmlns:p="http://schemas.openxmlformats.org/presentationml/2006/main">
  <p:tag name="SHAPENAME" val="5. Source"/>
</p:tagLst>
</file>

<file path=ppt/tags/tag4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4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1.xml><?xml version="1.0" encoding="utf-8"?>
<p:tagLst xmlns:a="http://schemas.openxmlformats.org/drawingml/2006/main" xmlns:r="http://schemas.openxmlformats.org/officeDocument/2006/relationships" xmlns:p="http://schemas.openxmlformats.org/presentationml/2006/main">
  <p:tag name="SHAPENAME" val="5. Source"/>
</p:tagLst>
</file>

<file path=ppt/tags/tag4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4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4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497.xml><?xml version="1.0" encoding="utf-8"?>
<p:tagLst xmlns:a="http://schemas.openxmlformats.org/drawingml/2006/main" xmlns:r="http://schemas.openxmlformats.org/officeDocument/2006/relationships" xmlns:p="http://schemas.openxmlformats.org/presentationml/2006/main">
  <p:tag name="SHAPENAME" val="5. Source"/>
</p:tagLst>
</file>

<file path=ppt/tags/tag4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0.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3.xml><?xml version="1.0" encoding="utf-8"?>
<p:tagLst xmlns:a="http://schemas.openxmlformats.org/drawingml/2006/main" xmlns:r="http://schemas.openxmlformats.org/officeDocument/2006/relationships" xmlns:p="http://schemas.openxmlformats.org/presentationml/2006/main">
  <p:tag name="SHAPENAME" val="5. Source"/>
</p:tagLst>
</file>

<file path=ppt/tags/tag5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09.xml><?xml version="1.0" encoding="utf-8"?>
<p:tagLst xmlns:a="http://schemas.openxmlformats.org/drawingml/2006/main" xmlns:r="http://schemas.openxmlformats.org/officeDocument/2006/relationships" xmlns:p="http://schemas.openxmlformats.org/presentationml/2006/main">
  <p:tag name="SHAPENAME" val="5. Source"/>
</p:tagLst>
</file>

<file path=ppt/tags/tag51.xml><?xml version="1.0" encoding="utf-8"?>
<p:tagLst xmlns:a="http://schemas.openxmlformats.org/drawingml/2006/main" xmlns:r="http://schemas.openxmlformats.org/officeDocument/2006/relationships" xmlns:p="http://schemas.openxmlformats.org/presentationml/2006/main">
  <p:tag name="SHAPENAME" val="Subtitle"/>
</p:tagLst>
</file>

<file path=ppt/tags/tag5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15.xml><?xml version="1.0" encoding="utf-8"?>
<p:tagLst xmlns:a="http://schemas.openxmlformats.org/drawingml/2006/main" xmlns:r="http://schemas.openxmlformats.org/officeDocument/2006/relationships" xmlns:p="http://schemas.openxmlformats.org/presentationml/2006/main">
  <p:tag name="SHAPENAME" val="5. Source"/>
</p:tagLst>
</file>

<file path=ppt/tags/tag5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xml><?xml version="1.0" encoding="utf-8"?>
<p:tagLst xmlns:a="http://schemas.openxmlformats.org/drawingml/2006/main" xmlns:r="http://schemas.openxmlformats.org/officeDocument/2006/relationships" xmlns:p="http://schemas.openxmlformats.org/presentationml/2006/main">
  <p:tag name="SHAPENAME" val="Title"/>
</p:tagLst>
</file>

<file path=ppt/tags/tag5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1.xml><?xml version="1.0" encoding="utf-8"?>
<p:tagLst xmlns:a="http://schemas.openxmlformats.org/drawingml/2006/main" xmlns:r="http://schemas.openxmlformats.org/officeDocument/2006/relationships" xmlns:p="http://schemas.openxmlformats.org/presentationml/2006/main">
  <p:tag name="SHAPENAME" val="5. Source"/>
</p:tagLst>
</file>

<file path=ppt/tags/tag5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27.xml><?xml version="1.0" encoding="utf-8"?>
<p:tagLst xmlns:a="http://schemas.openxmlformats.org/drawingml/2006/main" xmlns:r="http://schemas.openxmlformats.org/officeDocument/2006/relationships" xmlns:p="http://schemas.openxmlformats.org/presentationml/2006/main">
  <p:tag name="SHAPENAME" val="5. Source"/>
</p:tagLst>
</file>

<file path=ppt/tags/tag5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3.xml><?xml version="1.0" encoding="utf-8"?>
<p:tagLst xmlns:a="http://schemas.openxmlformats.org/drawingml/2006/main" xmlns:r="http://schemas.openxmlformats.org/officeDocument/2006/relationships" xmlns:p="http://schemas.openxmlformats.org/presentationml/2006/main">
  <p:tag name="SHAPENAME" val="5. Source"/>
</p:tagLst>
</file>

<file path=ppt/tags/tag5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39.xml><?xml version="1.0" encoding="utf-8"?>
<p:tagLst xmlns:a="http://schemas.openxmlformats.org/drawingml/2006/main" xmlns:r="http://schemas.openxmlformats.org/officeDocument/2006/relationships" xmlns:p="http://schemas.openxmlformats.org/presentationml/2006/main">
  <p:tag name="SHAPENAME" val="5. Sourc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5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45.xml><?xml version="1.0" encoding="utf-8"?>
<p:tagLst xmlns:a="http://schemas.openxmlformats.org/drawingml/2006/main" xmlns:r="http://schemas.openxmlformats.org/officeDocument/2006/relationships" xmlns:p="http://schemas.openxmlformats.org/presentationml/2006/main">
  <p:tag name="SHAPENAME" val="5. Source"/>
</p:tagLst>
</file>

<file path=ppt/tags/tag5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1.xml><?xml version="1.0" encoding="utf-8"?>
<p:tagLst xmlns:a="http://schemas.openxmlformats.org/drawingml/2006/main" xmlns:r="http://schemas.openxmlformats.org/officeDocument/2006/relationships" xmlns:p="http://schemas.openxmlformats.org/presentationml/2006/main">
  <p:tag name="SHAPENAME" val="5. Source"/>
</p:tagLst>
</file>

<file path=ppt/tags/tag5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57.xml><?xml version="1.0" encoding="utf-8"?>
<p:tagLst xmlns:a="http://schemas.openxmlformats.org/drawingml/2006/main" xmlns:r="http://schemas.openxmlformats.org/officeDocument/2006/relationships" xmlns:p="http://schemas.openxmlformats.org/presentationml/2006/main">
  <p:tag name="SHAPENAME" val="5. Source"/>
</p:tagLst>
</file>

<file path=ppt/tags/tag5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3.xml><?xml version="1.0" encoding="utf-8"?>
<p:tagLst xmlns:a="http://schemas.openxmlformats.org/drawingml/2006/main" xmlns:r="http://schemas.openxmlformats.org/officeDocument/2006/relationships" xmlns:p="http://schemas.openxmlformats.org/presentationml/2006/main">
  <p:tag name="SHAPENAME" val="5. Source"/>
</p:tagLst>
</file>

<file path=ppt/tags/tag5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69.xml><?xml version="1.0" encoding="utf-8"?>
<p:tagLst xmlns:a="http://schemas.openxmlformats.org/drawingml/2006/main" xmlns:r="http://schemas.openxmlformats.org/officeDocument/2006/relationships" xmlns:p="http://schemas.openxmlformats.org/presentationml/2006/main">
  <p:tag name="SHAPENAME" val="5. Source"/>
</p:tagLst>
</file>

<file path=ppt/tags/tag57.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5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74.xml><?xml version="1.0" encoding="utf-8"?>
<p:tagLst xmlns:a="http://schemas.openxmlformats.org/drawingml/2006/main" xmlns:r="http://schemas.openxmlformats.org/officeDocument/2006/relationships" xmlns:p="http://schemas.openxmlformats.org/presentationml/2006/main">
  <p:tag name="SHAPENAME" val="3. Subtitle"/>
</p:tagLst>
</file>

<file path=ppt/tags/tag575.xml><?xml version="1.0" encoding="utf-8"?>
<p:tagLst xmlns:a="http://schemas.openxmlformats.org/drawingml/2006/main" xmlns:r="http://schemas.openxmlformats.org/officeDocument/2006/relationships" xmlns:p="http://schemas.openxmlformats.org/presentationml/2006/main">
  <p:tag name="SHAPENAME" val="5. Source"/>
</p:tagLst>
</file>

<file path=ppt/tags/tag57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xml><?xml version="1.0" encoding="utf-8"?>
<p:tagLst xmlns:a="http://schemas.openxmlformats.org/drawingml/2006/main" xmlns:r="http://schemas.openxmlformats.org/officeDocument/2006/relationships" xmlns:p="http://schemas.openxmlformats.org/presentationml/2006/main">
  <p:tag name="SHAPENAME" val="5. Source"/>
</p:tagLst>
</file>

<file path=ppt/tags/tag5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1.xml><?xml version="1.0" encoding="utf-8"?>
<p:tagLst xmlns:a="http://schemas.openxmlformats.org/drawingml/2006/main" xmlns:r="http://schemas.openxmlformats.org/officeDocument/2006/relationships" xmlns:p="http://schemas.openxmlformats.org/presentationml/2006/main">
  <p:tag name="SHAPENAME" val="5. Source"/>
</p:tagLst>
</file>

<file path=ppt/tags/tag5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587.xml><?xml version="1.0" encoding="utf-8"?>
<p:tagLst xmlns:a="http://schemas.openxmlformats.org/drawingml/2006/main" xmlns:r="http://schemas.openxmlformats.org/officeDocument/2006/relationships" xmlns:p="http://schemas.openxmlformats.org/presentationml/2006/main">
  <p:tag name="SHAPENAME" val="5. Source"/>
</p:tagLst>
</file>

<file path=ppt/tags/tag5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3.xml><?xml version="1.0" encoding="utf-8"?>
<p:tagLst xmlns:a="http://schemas.openxmlformats.org/drawingml/2006/main" xmlns:r="http://schemas.openxmlformats.org/officeDocument/2006/relationships" xmlns:p="http://schemas.openxmlformats.org/presentationml/2006/main">
  <p:tag name="SHAPENAME" val="5. Source"/>
</p:tagLst>
</file>

<file path=ppt/tags/tag5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5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598.xml><?xml version="1.0" encoding="utf-8"?>
<p:tagLst xmlns:a="http://schemas.openxmlformats.org/drawingml/2006/main" xmlns:r="http://schemas.openxmlformats.org/officeDocument/2006/relationships" xmlns:p="http://schemas.openxmlformats.org/presentationml/2006/main">
  <p:tag name="SHAPENAME" val="3. Subtitle"/>
</p:tagLst>
</file>

<file path=ppt/tags/tag599.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SHAPENAME" val="5. Sourc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60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05.xml><?xml version="1.0" encoding="utf-8"?>
<p:tagLst xmlns:a="http://schemas.openxmlformats.org/drawingml/2006/main" xmlns:r="http://schemas.openxmlformats.org/officeDocument/2006/relationships" xmlns:p="http://schemas.openxmlformats.org/presentationml/2006/main">
  <p:tag name="SHAPENAME" val="5. Source"/>
</p:tagLst>
</file>

<file path=ppt/tags/tag6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1.xml><?xml version="1.0" encoding="utf-8"?>
<p:tagLst xmlns:a="http://schemas.openxmlformats.org/drawingml/2006/main" xmlns:r="http://schemas.openxmlformats.org/officeDocument/2006/relationships" xmlns:p="http://schemas.openxmlformats.org/presentationml/2006/main">
  <p:tag name="SHAPENAME" val="5. Source"/>
</p:tagLst>
</file>

<file path=ppt/tags/tag6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17.xml><?xml version="1.0" encoding="utf-8"?>
<p:tagLst xmlns:a="http://schemas.openxmlformats.org/drawingml/2006/main" xmlns:r="http://schemas.openxmlformats.org/officeDocument/2006/relationships" xmlns:p="http://schemas.openxmlformats.org/presentationml/2006/main">
  <p:tag name="SHAPENAME" val="5. Source"/>
</p:tagLst>
</file>

<file path=ppt/tags/tag6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3.xml><?xml version="1.0" encoding="utf-8"?>
<p:tagLst xmlns:a="http://schemas.openxmlformats.org/drawingml/2006/main" xmlns:r="http://schemas.openxmlformats.org/officeDocument/2006/relationships" xmlns:p="http://schemas.openxmlformats.org/presentationml/2006/main">
  <p:tag name="SHAPENAME" val="5. Source"/>
</p:tagLst>
</file>

<file path=ppt/tags/tag6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29.xml><?xml version="1.0" encoding="utf-8"?>
<p:tagLst xmlns:a="http://schemas.openxmlformats.org/drawingml/2006/main" xmlns:r="http://schemas.openxmlformats.org/officeDocument/2006/relationships" xmlns:p="http://schemas.openxmlformats.org/presentationml/2006/main">
  <p:tag name="SHAPENAME" val="5. Source"/>
</p:tagLst>
</file>

<file path=ppt/tags/tag6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6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35.xml><?xml version="1.0" encoding="utf-8"?>
<p:tagLst xmlns:a="http://schemas.openxmlformats.org/drawingml/2006/main" xmlns:r="http://schemas.openxmlformats.org/officeDocument/2006/relationships" xmlns:p="http://schemas.openxmlformats.org/presentationml/2006/main">
  <p:tag name="SHAPENAME" val="5. Source"/>
</p:tagLst>
</file>

<file path=ppt/tags/tag6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xml><?xml version="1.0" encoding="utf-8"?>
<p:tagLst xmlns:a="http://schemas.openxmlformats.org/drawingml/2006/main" xmlns:r="http://schemas.openxmlformats.org/officeDocument/2006/relationships" xmlns:p="http://schemas.openxmlformats.org/presentationml/2006/main">
  <p:tag name="SHAPENAME" val="5. Source"/>
</p:tagLst>
</file>

<file path=ppt/tags/tag6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1.xml><?xml version="1.0" encoding="utf-8"?>
<p:tagLst xmlns:a="http://schemas.openxmlformats.org/drawingml/2006/main" xmlns:r="http://schemas.openxmlformats.org/officeDocument/2006/relationships" xmlns:p="http://schemas.openxmlformats.org/presentationml/2006/main">
  <p:tag name="SHAPENAME" val="5. Source"/>
</p:tagLst>
</file>

<file path=ppt/tags/tag6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47.xml><?xml version="1.0" encoding="utf-8"?>
<p:tagLst xmlns:a="http://schemas.openxmlformats.org/drawingml/2006/main" xmlns:r="http://schemas.openxmlformats.org/officeDocument/2006/relationships" xmlns:p="http://schemas.openxmlformats.org/presentationml/2006/main">
  <p:tag name="SHAPENAME" val="5. Source"/>
</p:tagLst>
</file>

<file path=ppt/tags/tag6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3.xml><?xml version="1.0" encoding="utf-8"?>
<p:tagLst xmlns:a="http://schemas.openxmlformats.org/drawingml/2006/main" xmlns:r="http://schemas.openxmlformats.org/officeDocument/2006/relationships" xmlns:p="http://schemas.openxmlformats.org/presentationml/2006/main">
  <p:tag name="SHAPENAME" val="5. Source"/>
</p:tagLst>
</file>

<file path=ppt/tags/tag65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5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59.xml><?xml version="1.0" encoding="utf-8"?>
<p:tagLst xmlns:a="http://schemas.openxmlformats.org/drawingml/2006/main" xmlns:r="http://schemas.openxmlformats.org/officeDocument/2006/relationships" xmlns:p="http://schemas.openxmlformats.org/presentationml/2006/main">
  <p:tag name="SHAPENAME" val="5. Sourc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6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65.xml><?xml version="1.0" encoding="utf-8"?>
<p:tagLst xmlns:a="http://schemas.openxmlformats.org/drawingml/2006/main" xmlns:r="http://schemas.openxmlformats.org/officeDocument/2006/relationships" xmlns:p="http://schemas.openxmlformats.org/presentationml/2006/main">
  <p:tag name="SHAPENAME" val="5. Source"/>
</p:tagLst>
</file>

<file path=ppt/tags/tag66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6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1.xml><?xml version="1.0" encoding="utf-8"?>
<p:tagLst xmlns:a="http://schemas.openxmlformats.org/drawingml/2006/main" xmlns:r="http://schemas.openxmlformats.org/officeDocument/2006/relationships" xmlns:p="http://schemas.openxmlformats.org/presentationml/2006/main">
  <p:tag name="SHAPENAME" val="5. Source"/>
</p:tagLst>
</file>

<file path=ppt/tags/tag6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677.xml><?xml version="1.0" encoding="utf-8"?>
<p:tagLst xmlns:a="http://schemas.openxmlformats.org/drawingml/2006/main" xmlns:r="http://schemas.openxmlformats.org/officeDocument/2006/relationships" xmlns:p="http://schemas.openxmlformats.org/presentationml/2006/main">
  <p:tag name="SHAPENAME" val="5. Source"/>
</p:tagLst>
</file>

<file path=ppt/tags/tag6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3.xml><?xml version="1.0" encoding="utf-8"?>
<p:tagLst xmlns:a="http://schemas.openxmlformats.org/drawingml/2006/main" xmlns:r="http://schemas.openxmlformats.org/officeDocument/2006/relationships" xmlns:p="http://schemas.openxmlformats.org/presentationml/2006/main">
  <p:tag name="SHAPENAME" val="5. Source"/>
</p:tagLst>
</file>

<file path=ppt/tags/tag6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88.xml><?xml version="1.0" encoding="utf-8"?>
<p:tagLst xmlns:a="http://schemas.openxmlformats.org/drawingml/2006/main" xmlns:r="http://schemas.openxmlformats.org/officeDocument/2006/relationships" xmlns:p="http://schemas.openxmlformats.org/presentationml/2006/main">
  <p:tag name="SHAPENAME" val="3. Subtitle"/>
</p:tagLst>
</file>

<file path=ppt/tags/tag689.xml><?xml version="1.0" encoding="utf-8"?>
<p:tagLst xmlns:a="http://schemas.openxmlformats.org/drawingml/2006/main" xmlns:r="http://schemas.openxmlformats.org/officeDocument/2006/relationships" xmlns:p="http://schemas.openxmlformats.org/presentationml/2006/main">
  <p:tag name="SHAPENAME" val="5. Source"/>
</p:tagLst>
</file>

<file path=ppt/tags/tag69.xml><?xml version="1.0" encoding="utf-8"?>
<p:tagLst xmlns:a="http://schemas.openxmlformats.org/drawingml/2006/main" xmlns:r="http://schemas.openxmlformats.org/officeDocument/2006/relationships" xmlns:p="http://schemas.openxmlformats.org/presentationml/2006/main">
  <p:tag name="SHAPENAME" val="Subtitle"/>
</p:tagLst>
</file>

<file path=ppt/tags/tag69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694.xml><?xml version="1.0" encoding="utf-8"?>
<p:tagLst xmlns:a="http://schemas.openxmlformats.org/drawingml/2006/main" xmlns:r="http://schemas.openxmlformats.org/officeDocument/2006/relationships" xmlns:p="http://schemas.openxmlformats.org/presentationml/2006/main">
  <p:tag name="SHAPENAME" val="3. Subtitle"/>
</p:tagLst>
</file>

<file path=ppt/tags/tag695.xml><?xml version="1.0" encoding="utf-8"?>
<p:tagLst xmlns:a="http://schemas.openxmlformats.org/drawingml/2006/main" xmlns:r="http://schemas.openxmlformats.org/officeDocument/2006/relationships" xmlns:p="http://schemas.openxmlformats.org/presentationml/2006/main">
  <p:tag name="SHAPENAME" val="5. Source"/>
</p:tagLst>
</file>

<file path=ppt/tags/tag69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69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SHAPENAME" val="Title"/>
</p:tagLst>
</file>

<file path=ppt/tags/tag70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1.xml><?xml version="1.0" encoding="utf-8"?>
<p:tagLst xmlns:a="http://schemas.openxmlformats.org/drawingml/2006/main" xmlns:r="http://schemas.openxmlformats.org/officeDocument/2006/relationships" xmlns:p="http://schemas.openxmlformats.org/presentationml/2006/main">
  <p:tag name="SHAPENAME" val="5. Source"/>
</p:tagLst>
</file>

<file path=ppt/tags/tag70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0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0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07.xml><?xml version="1.0" encoding="utf-8"?>
<p:tagLst xmlns:a="http://schemas.openxmlformats.org/drawingml/2006/main" xmlns:r="http://schemas.openxmlformats.org/officeDocument/2006/relationships" xmlns:p="http://schemas.openxmlformats.org/presentationml/2006/main">
  <p:tag name="SHAPENAME" val="5. Source"/>
</p:tagLst>
</file>

<file path=ppt/tags/tag70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1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3.xml><?xml version="1.0" encoding="utf-8"?>
<p:tagLst xmlns:a="http://schemas.openxmlformats.org/drawingml/2006/main" xmlns:r="http://schemas.openxmlformats.org/officeDocument/2006/relationships" xmlns:p="http://schemas.openxmlformats.org/presentationml/2006/main">
  <p:tag name="SHAPENAME" val="5. Source"/>
</p:tagLst>
</file>

<file path=ppt/tags/tag71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1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1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19.xml><?xml version="1.0" encoding="utf-8"?>
<p:tagLst xmlns:a="http://schemas.openxmlformats.org/drawingml/2006/main" xmlns:r="http://schemas.openxmlformats.org/officeDocument/2006/relationships" xmlns:p="http://schemas.openxmlformats.org/presentationml/2006/main">
  <p:tag name="SHAPENAME" val="5. Sourc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z9_f.d6YGbJCbK0.Pg2_A"/>
</p:tagLst>
</file>

<file path=ppt/tags/tag72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2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2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25.xml><?xml version="1.0" encoding="utf-8"?>
<p:tagLst xmlns:a="http://schemas.openxmlformats.org/drawingml/2006/main" xmlns:r="http://schemas.openxmlformats.org/officeDocument/2006/relationships" xmlns:p="http://schemas.openxmlformats.org/presentationml/2006/main">
  <p:tag name="SHAPENAME" val="5. Source"/>
</p:tagLst>
</file>

<file path=ppt/tags/tag72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2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xml><?xml version="1.0" encoding="utf-8"?>
<p:tagLst xmlns:a="http://schemas.openxmlformats.org/drawingml/2006/main" xmlns:r="http://schemas.openxmlformats.org/officeDocument/2006/relationships" xmlns:p="http://schemas.openxmlformats.org/presentationml/2006/main">
  <p:tag name="SHAPENAME" val="Documenttype"/>
</p:tagLst>
</file>

<file path=ppt/tags/tag73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1.xml><?xml version="1.0" encoding="utf-8"?>
<p:tagLst xmlns:a="http://schemas.openxmlformats.org/drawingml/2006/main" xmlns:r="http://schemas.openxmlformats.org/officeDocument/2006/relationships" xmlns:p="http://schemas.openxmlformats.org/presentationml/2006/main">
  <p:tag name="SHAPENAME" val="5. Source"/>
</p:tagLst>
</file>

<file path=ppt/tags/tag73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3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3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37.xml><?xml version="1.0" encoding="utf-8"?>
<p:tagLst xmlns:a="http://schemas.openxmlformats.org/drawingml/2006/main" xmlns:r="http://schemas.openxmlformats.org/officeDocument/2006/relationships" xmlns:p="http://schemas.openxmlformats.org/presentationml/2006/main">
  <p:tag name="SHAPENAME" val="5. Source"/>
</p:tagLst>
</file>

<file path=ppt/tags/tag73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SHAPENAME" val="Subtitle"/>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4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3.xml><?xml version="1.0" encoding="utf-8"?>
<p:tagLst xmlns:a="http://schemas.openxmlformats.org/drawingml/2006/main" xmlns:r="http://schemas.openxmlformats.org/officeDocument/2006/relationships" xmlns:p="http://schemas.openxmlformats.org/presentationml/2006/main">
  <p:tag name="SHAPENAME" val="5. Source"/>
</p:tagLst>
</file>

<file path=ppt/tags/tag74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4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4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49.xml><?xml version="1.0" encoding="utf-8"?>
<p:tagLst xmlns:a="http://schemas.openxmlformats.org/drawingml/2006/main" xmlns:r="http://schemas.openxmlformats.org/officeDocument/2006/relationships" xmlns:p="http://schemas.openxmlformats.org/presentationml/2006/main">
  <p:tag name="SHAPENAME" val="5. Source"/>
</p:tagLst>
</file>

<file path=ppt/tags/tag75.xml><?xml version="1.0" encoding="utf-8"?>
<p:tagLst xmlns:a="http://schemas.openxmlformats.org/drawingml/2006/main" xmlns:r="http://schemas.openxmlformats.org/officeDocument/2006/relationships" xmlns:p="http://schemas.openxmlformats.org/presentationml/2006/main">
  <p:tag name="SHAPENAME" val="Title"/>
</p:tagLst>
</file>

<file path=ppt/tags/tag75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5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5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55.xml><?xml version="1.0" encoding="utf-8"?>
<p:tagLst xmlns:a="http://schemas.openxmlformats.org/drawingml/2006/main" xmlns:r="http://schemas.openxmlformats.org/officeDocument/2006/relationships" xmlns:p="http://schemas.openxmlformats.org/presentationml/2006/main">
  <p:tag name="SHAPENAME" val="5. Source"/>
</p:tagLst>
</file>

<file path=ppt/tags/tag75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5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1.xml><?xml version="1.0" encoding="utf-8"?>
<p:tagLst xmlns:a="http://schemas.openxmlformats.org/drawingml/2006/main" xmlns:r="http://schemas.openxmlformats.org/officeDocument/2006/relationships" xmlns:p="http://schemas.openxmlformats.org/presentationml/2006/main">
  <p:tag name="SHAPENAME" val="5. Source"/>
</p:tagLst>
</file>

<file path=ppt/tags/tag76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6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6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67.xml><?xml version="1.0" encoding="utf-8"?>
<p:tagLst xmlns:a="http://schemas.openxmlformats.org/drawingml/2006/main" xmlns:r="http://schemas.openxmlformats.org/officeDocument/2006/relationships" xmlns:p="http://schemas.openxmlformats.org/presentationml/2006/main">
  <p:tag name="SHAPENAME" val="5. Source"/>
</p:tagLst>
</file>

<file path=ppt/tags/tag76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7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2.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3.xml><?xml version="1.0" encoding="utf-8"?>
<p:tagLst xmlns:a="http://schemas.openxmlformats.org/drawingml/2006/main" xmlns:r="http://schemas.openxmlformats.org/officeDocument/2006/relationships" xmlns:p="http://schemas.openxmlformats.org/presentationml/2006/main">
  <p:tag name="SHAPENAME" val="5. Source"/>
</p:tagLst>
</file>

<file path=ppt/tags/tag7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7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78.xml><?xml version="1.0" encoding="utf-8"?>
<p:tagLst xmlns:a="http://schemas.openxmlformats.org/drawingml/2006/main" xmlns:r="http://schemas.openxmlformats.org/officeDocument/2006/relationships" xmlns:p="http://schemas.openxmlformats.org/presentationml/2006/main">
  <p:tag name="SHAPENAME" val="3. Subtitle"/>
</p:tagLst>
</file>

<file path=ppt/tags/tag779.xml><?xml version="1.0" encoding="utf-8"?>
<p:tagLst xmlns:a="http://schemas.openxmlformats.org/drawingml/2006/main" xmlns:r="http://schemas.openxmlformats.org/officeDocument/2006/relationships" xmlns:p="http://schemas.openxmlformats.org/presentationml/2006/main">
  <p:tag name="SHAPENAME" val="5. Source"/>
</p:tagLst>
</file>

<file path=ppt/tags/tag7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8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84.xml><?xml version="1.0" encoding="utf-8"?>
<p:tagLst xmlns:a="http://schemas.openxmlformats.org/drawingml/2006/main" xmlns:r="http://schemas.openxmlformats.org/officeDocument/2006/relationships" xmlns:p="http://schemas.openxmlformats.org/presentationml/2006/main">
  <p:tag name="SHAPENAME" val="3. Subtitle"/>
</p:tagLst>
</file>

<file path=ppt/tags/tag785.xml><?xml version="1.0" encoding="utf-8"?>
<p:tagLst xmlns:a="http://schemas.openxmlformats.org/drawingml/2006/main" xmlns:r="http://schemas.openxmlformats.org/officeDocument/2006/relationships" xmlns:p="http://schemas.openxmlformats.org/presentationml/2006/main">
  <p:tag name="SHAPENAME" val="5. Source"/>
</p:tagLst>
</file>

<file path=ppt/tags/tag78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8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0.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1.xml><?xml version="1.0" encoding="utf-8"?>
<p:tagLst xmlns:a="http://schemas.openxmlformats.org/drawingml/2006/main" xmlns:r="http://schemas.openxmlformats.org/officeDocument/2006/relationships" xmlns:p="http://schemas.openxmlformats.org/presentationml/2006/main">
  <p:tag name="SHAPENAME" val="5. Source"/>
</p:tagLst>
</file>

<file path=ppt/tags/tag7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79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796.xml><?xml version="1.0" encoding="utf-8"?>
<p:tagLst xmlns:a="http://schemas.openxmlformats.org/drawingml/2006/main" xmlns:r="http://schemas.openxmlformats.org/officeDocument/2006/relationships" xmlns:p="http://schemas.openxmlformats.org/presentationml/2006/main">
  <p:tag name="SHAPENAME" val="3. Subtitle"/>
</p:tagLst>
</file>

<file path=ppt/tags/tag797.xml><?xml version="1.0" encoding="utf-8"?>
<p:tagLst xmlns:a="http://schemas.openxmlformats.org/drawingml/2006/main" xmlns:r="http://schemas.openxmlformats.org/officeDocument/2006/relationships" xmlns:p="http://schemas.openxmlformats.org/presentationml/2006/main">
  <p:tag name="SHAPENAME" val="5. Source"/>
</p:tagLst>
</file>

<file path=ppt/tags/tag7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0.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3.xml><?xml version="1.0" encoding="utf-8"?>
<p:tagLst xmlns:a="http://schemas.openxmlformats.org/drawingml/2006/main" xmlns:r="http://schemas.openxmlformats.org/officeDocument/2006/relationships" xmlns:p="http://schemas.openxmlformats.org/presentationml/2006/main">
  <p:tag name="SHAPENAME" val="5. Source"/>
</p:tagLst>
</file>

<file path=ppt/tags/tag80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0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0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09.xml><?xml version="1.0" encoding="utf-8"?>
<p:tagLst xmlns:a="http://schemas.openxmlformats.org/drawingml/2006/main" xmlns:r="http://schemas.openxmlformats.org/officeDocument/2006/relationships" xmlns:p="http://schemas.openxmlformats.org/presentationml/2006/main">
  <p:tag name="SHAPENAME" val="5. Source"/>
</p:tagLst>
</file>

<file path=ppt/tags/tag81.xml><?xml version="1.0" encoding="utf-8"?>
<p:tagLst xmlns:a="http://schemas.openxmlformats.org/drawingml/2006/main" xmlns:r="http://schemas.openxmlformats.org/officeDocument/2006/relationships" xmlns:p="http://schemas.openxmlformats.org/presentationml/2006/main">
  <p:tag name="SHAPENAME" val="5. Source"/>
</p:tagLst>
</file>

<file path=ppt/tags/tag81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1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1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15.xml><?xml version="1.0" encoding="utf-8"?>
<p:tagLst xmlns:a="http://schemas.openxmlformats.org/drawingml/2006/main" xmlns:r="http://schemas.openxmlformats.org/officeDocument/2006/relationships" xmlns:p="http://schemas.openxmlformats.org/presentationml/2006/main">
  <p:tag name="SHAPENAME" val="5. Source"/>
</p:tagLst>
</file>

<file path=ppt/tags/tag81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1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1.xml><?xml version="1.0" encoding="utf-8"?>
<p:tagLst xmlns:a="http://schemas.openxmlformats.org/drawingml/2006/main" xmlns:r="http://schemas.openxmlformats.org/officeDocument/2006/relationships" xmlns:p="http://schemas.openxmlformats.org/presentationml/2006/main">
  <p:tag name="SHAPENAME" val="5. Source"/>
</p:tagLst>
</file>

<file path=ppt/tags/tag82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2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2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27.xml><?xml version="1.0" encoding="utf-8"?>
<p:tagLst xmlns:a="http://schemas.openxmlformats.org/drawingml/2006/main" xmlns:r="http://schemas.openxmlformats.org/officeDocument/2006/relationships" xmlns:p="http://schemas.openxmlformats.org/presentationml/2006/main">
  <p:tag name="SHAPENAME" val="5. Source"/>
</p:tagLst>
</file>

<file path=ppt/tags/tag82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3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3.xml><?xml version="1.0" encoding="utf-8"?>
<p:tagLst xmlns:a="http://schemas.openxmlformats.org/drawingml/2006/main" xmlns:r="http://schemas.openxmlformats.org/officeDocument/2006/relationships" xmlns:p="http://schemas.openxmlformats.org/presentationml/2006/main">
  <p:tag name="SHAPENAME" val="5. Source"/>
</p:tagLst>
</file>

<file path=ppt/tags/tag83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3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3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39.xml><?xml version="1.0" encoding="utf-8"?>
<p:tagLst xmlns:a="http://schemas.openxmlformats.org/drawingml/2006/main" xmlns:r="http://schemas.openxmlformats.org/officeDocument/2006/relationships" xmlns:p="http://schemas.openxmlformats.org/presentationml/2006/main">
  <p:tag name="SHAPENAME" val="5. Source"/>
</p:tagLst>
</file>

<file path=ppt/tags/tag84.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44.xml><?xml version="1.0" encoding="utf-8"?>
<p:tagLst xmlns:a="http://schemas.openxmlformats.org/drawingml/2006/main" xmlns:r="http://schemas.openxmlformats.org/officeDocument/2006/relationships" xmlns:p="http://schemas.openxmlformats.org/presentationml/2006/main">
  <p:tag name="SHAPENAME" val="3. Subtitle"/>
</p:tagLst>
</file>

<file path=ppt/tags/tag845.xml><?xml version="1.0" encoding="utf-8"?>
<p:tagLst xmlns:a="http://schemas.openxmlformats.org/drawingml/2006/main" xmlns:r="http://schemas.openxmlformats.org/officeDocument/2006/relationships" xmlns:p="http://schemas.openxmlformats.org/presentationml/2006/main">
  <p:tag name="SHAPENAME" val="5. Source"/>
</p:tagLst>
</file>

<file path=ppt/tags/tag84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4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1.xml><?xml version="1.0" encoding="utf-8"?>
<p:tagLst xmlns:a="http://schemas.openxmlformats.org/drawingml/2006/main" xmlns:r="http://schemas.openxmlformats.org/officeDocument/2006/relationships" xmlns:p="http://schemas.openxmlformats.org/presentationml/2006/main">
  <p:tag name="SHAPENAME" val="5. Source"/>
</p:tagLst>
</file>

<file path=ppt/tags/tag8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5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5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57.xml><?xml version="1.0" encoding="utf-8"?>
<p:tagLst xmlns:a="http://schemas.openxmlformats.org/drawingml/2006/main" xmlns:r="http://schemas.openxmlformats.org/officeDocument/2006/relationships" xmlns:p="http://schemas.openxmlformats.org/presentationml/2006/main">
  <p:tag name="SHAPENAME" val="5. Source"/>
</p:tagLst>
</file>

<file path=ppt/tags/tag8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6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2.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3.xml><?xml version="1.0" encoding="utf-8"?>
<p:tagLst xmlns:a="http://schemas.openxmlformats.org/drawingml/2006/main" xmlns:r="http://schemas.openxmlformats.org/officeDocument/2006/relationships" xmlns:p="http://schemas.openxmlformats.org/presentationml/2006/main">
  <p:tag name="SHAPENAME" val="5. Source"/>
</p:tagLst>
</file>

<file path=ppt/tags/tag8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6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68.xml><?xml version="1.0" encoding="utf-8"?>
<p:tagLst xmlns:a="http://schemas.openxmlformats.org/drawingml/2006/main" xmlns:r="http://schemas.openxmlformats.org/officeDocument/2006/relationships" xmlns:p="http://schemas.openxmlformats.org/presentationml/2006/main">
  <p:tag name="SHAPENAME" val="3. Subtitle"/>
</p:tagLst>
</file>

<file path=ppt/tags/tag869.xml><?xml version="1.0" encoding="utf-8"?>
<p:tagLst xmlns:a="http://schemas.openxmlformats.org/drawingml/2006/main" xmlns:r="http://schemas.openxmlformats.org/officeDocument/2006/relationships" xmlns:p="http://schemas.openxmlformats.org/presentationml/2006/main">
  <p:tag name="SHAPENAME" val="5. Source"/>
</p:tagLst>
</file>

<file path=ppt/tags/tag87.xml><?xml version="1.0" encoding="utf-8"?>
<p:tagLst xmlns:a="http://schemas.openxmlformats.org/drawingml/2006/main" xmlns:r="http://schemas.openxmlformats.org/officeDocument/2006/relationships" xmlns:p="http://schemas.openxmlformats.org/presentationml/2006/main">
  <p:tag name="SHAPENAME" val="5. Source"/>
</p:tagLst>
</file>

<file path=ppt/tags/tag87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7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7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7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76.xml><?xml version="1.0" encoding="utf-8"?>
<p:tagLst xmlns:a="http://schemas.openxmlformats.org/drawingml/2006/main" xmlns:r="http://schemas.openxmlformats.org/officeDocument/2006/relationships" xmlns:p="http://schemas.openxmlformats.org/presentationml/2006/main">
  <p:tag name="SHAPENAME" val="5. Source"/>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7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0.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1.xml><?xml version="1.0" encoding="utf-8"?>
<p:tagLst xmlns:a="http://schemas.openxmlformats.org/drawingml/2006/main" xmlns:r="http://schemas.openxmlformats.org/officeDocument/2006/relationships" xmlns:p="http://schemas.openxmlformats.org/presentationml/2006/main">
  <p:tag name="SHAPENAME" val="5. Source"/>
</p:tagLst>
</file>

<file path=ppt/tags/tag88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88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86.xml><?xml version="1.0" encoding="utf-8"?>
<p:tagLst xmlns:a="http://schemas.openxmlformats.org/drawingml/2006/main" xmlns:r="http://schemas.openxmlformats.org/officeDocument/2006/relationships" xmlns:p="http://schemas.openxmlformats.org/presentationml/2006/main">
  <p:tag name="SHAPENAME" val="3. Subtitle"/>
</p:tagLst>
</file>

<file path=ppt/tags/tag887.xml><?xml version="1.0" encoding="utf-8"?>
<p:tagLst xmlns:a="http://schemas.openxmlformats.org/drawingml/2006/main" xmlns:r="http://schemas.openxmlformats.org/officeDocument/2006/relationships" xmlns:p="http://schemas.openxmlformats.org/presentationml/2006/main">
  <p:tag name="SHAPENAME" val="5. Source"/>
</p:tagLst>
</file>

<file path=ppt/tags/tag8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894.xml><?xml version="1.0" encoding="utf-8"?>
<p:tagLst xmlns:a="http://schemas.openxmlformats.org/drawingml/2006/main" xmlns:r="http://schemas.openxmlformats.org/officeDocument/2006/relationships" xmlns:p="http://schemas.openxmlformats.org/presentationml/2006/main">
  <p:tag name="SHAPENAME" val="5. Source"/>
</p:tagLst>
</file>

<file path=ppt/tags/tag8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89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89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89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900.xml><?xml version="1.0" encoding="utf-8"?>
<p:tagLst xmlns:a="http://schemas.openxmlformats.org/drawingml/2006/main" xmlns:r="http://schemas.openxmlformats.org/officeDocument/2006/relationships" xmlns:p="http://schemas.openxmlformats.org/presentationml/2006/main">
  <p:tag name="SHAPENAME" val="5. Source"/>
</p:tagLst>
</file>

<file path=ppt/tags/tag9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0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0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05.xml><?xml version="1.0" encoding="utf-8"?>
<p:tagLst xmlns:a="http://schemas.openxmlformats.org/drawingml/2006/main" xmlns:r="http://schemas.openxmlformats.org/officeDocument/2006/relationships" xmlns:p="http://schemas.openxmlformats.org/presentationml/2006/main">
  <p:tag name="SHAPENAME" val="5. Source"/>
</p:tagLst>
</file>

<file path=ppt/tags/tag90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0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1.xml><?xml version="1.0" encoding="utf-8"?>
<p:tagLst xmlns:a="http://schemas.openxmlformats.org/drawingml/2006/main" xmlns:r="http://schemas.openxmlformats.org/officeDocument/2006/relationships" xmlns:p="http://schemas.openxmlformats.org/presentationml/2006/main">
  <p:tag name="SHAPENAME" val="5. Source"/>
</p:tagLst>
</file>

<file path=ppt/tags/tag91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1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1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17.xml><?xml version="1.0" encoding="utf-8"?>
<p:tagLst xmlns:a="http://schemas.openxmlformats.org/drawingml/2006/main" xmlns:r="http://schemas.openxmlformats.org/officeDocument/2006/relationships" xmlns:p="http://schemas.openxmlformats.org/presentationml/2006/main">
  <p:tag name="SHAPENAME" val="5. Source"/>
</p:tagLst>
</file>

<file path=ppt/tags/tag91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3.xml><?xml version="1.0" encoding="utf-8"?>
<p:tagLst xmlns:a="http://schemas.openxmlformats.org/drawingml/2006/main" xmlns:r="http://schemas.openxmlformats.org/officeDocument/2006/relationships" xmlns:p="http://schemas.openxmlformats.org/presentationml/2006/main">
  <p:tag name="SHAPENAME" val="5. Source"/>
</p:tagLst>
</file>

<file path=ppt/tags/tag92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6.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2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28.xml><?xml version="1.0" encoding="utf-8"?>
<p:tagLst xmlns:a="http://schemas.openxmlformats.org/drawingml/2006/main" xmlns:r="http://schemas.openxmlformats.org/officeDocument/2006/relationships" xmlns:p="http://schemas.openxmlformats.org/presentationml/2006/main">
  <p:tag name="SHAPENAME" val="3. Subtitle"/>
</p:tagLst>
</file>

<file path=ppt/tags/tag929.xml><?xml version="1.0" encoding="utf-8"?>
<p:tagLst xmlns:a="http://schemas.openxmlformats.org/drawingml/2006/main" xmlns:r="http://schemas.openxmlformats.org/officeDocument/2006/relationships" xmlns:p="http://schemas.openxmlformats.org/presentationml/2006/main">
  <p:tag name="SHAPENAME" val="5. Source"/>
</p:tagLst>
</file>

<file path=ppt/tags/tag9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30.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2.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3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34.xml><?xml version="1.0" encoding="utf-8"?>
<p:tagLst xmlns:a="http://schemas.openxmlformats.org/drawingml/2006/main" xmlns:r="http://schemas.openxmlformats.org/officeDocument/2006/relationships" xmlns:p="http://schemas.openxmlformats.org/presentationml/2006/main">
  <p:tag name="SHAPENAME" val="3. Subtitle"/>
</p:tagLst>
</file>

<file path=ppt/tags/tag935.xml><?xml version="1.0" encoding="utf-8"?>
<p:tagLst xmlns:a="http://schemas.openxmlformats.org/drawingml/2006/main" xmlns:r="http://schemas.openxmlformats.org/officeDocument/2006/relationships" xmlns:p="http://schemas.openxmlformats.org/presentationml/2006/main">
  <p:tag name="SHAPENAME" val="5. Source"/>
</p:tagLst>
</file>

<file path=ppt/tags/tag936.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3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xml><?xml version="1.0" encoding="utf-8"?>
<p:tagLst xmlns:a="http://schemas.openxmlformats.org/drawingml/2006/main" xmlns:r="http://schemas.openxmlformats.org/officeDocument/2006/relationships" xmlns:p="http://schemas.openxmlformats.org/presentationml/2006/main">
  <p:tag name="SHAPENAME" val="5. Source"/>
</p:tagLst>
</file>

<file path=ppt/tags/tag94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1.xml><?xml version="1.0" encoding="utf-8"?>
<p:tagLst xmlns:a="http://schemas.openxmlformats.org/drawingml/2006/main" xmlns:r="http://schemas.openxmlformats.org/officeDocument/2006/relationships" xmlns:p="http://schemas.openxmlformats.org/presentationml/2006/main">
  <p:tag name="SHAPENAME" val="5. Source"/>
</p:tagLst>
</file>

<file path=ppt/tags/tag94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4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4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47.xml><?xml version="1.0" encoding="utf-8"?>
<p:tagLst xmlns:a="http://schemas.openxmlformats.org/drawingml/2006/main" xmlns:r="http://schemas.openxmlformats.org/officeDocument/2006/relationships" xmlns:p="http://schemas.openxmlformats.org/presentationml/2006/main">
  <p:tag name="SHAPENAME" val="5. Source"/>
</p:tagLst>
</file>

<file path=ppt/tags/tag94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0.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5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54.xml><?xml version="1.0" encoding="utf-8"?>
<p:tagLst xmlns:a="http://schemas.openxmlformats.org/drawingml/2006/main" xmlns:r="http://schemas.openxmlformats.org/officeDocument/2006/relationships" xmlns:p="http://schemas.openxmlformats.org/presentationml/2006/main">
  <p:tag name="SHAPENAME" val="5. Source"/>
</p:tagLst>
</file>

<file path=ppt/tags/tag9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5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5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5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0.xml><?xml version="1.0" encoding="utf-8"?>
<p:tagLst xmlns:a="http://schemas.openxmlformats.org/drawingml/2006/main" xmlns:r="http://schemas.openxmlformats.org/officeDocument/2006/relationships" xmlns:p="http://schemas.openxmlformats.org/presentationml/2006/main">
  <p:tag name="SHAPENAME" val="5. Source"/>
</p:tagLst>
</file>

<file path=ppt/tags/tag9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6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6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6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66.xml><?xml version="1.0" encoding="utf-8"?>
<p:tagLst xmlns:a="http://schemas.openxmlformats.org/drawingml/2006/main" xmlns:r="http://schemas.openxmlformats.org/officeDocument/2006/relationships" xmlns:p="http://schemas.openxmlformats.org/presentationml/2006/main">
  <p:tag name="SHAPENAME" val="5. Source"/>
</p:tagLst>
</file>

<file path=ppt/tags/tag9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8.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69.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5tNN_OdVRnC_8Tatiiw6bA"/>
</p:tagLst>
</file>

<file path=ppt/tags/tag970.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1.xml><?xml version="1.0" encoding="utf-8"?>
<p:tagLst xmlns:a="http://schemas.openxmlformats.org/drawingml/2006/main" xmlns:r="http://schemas.openxmlformats.org/officeDocument/2006/relationships" xmlns:p="http://schemas.openxmlformats.org/presentationml/2006/main">
  <p:tag name="SHAPENAME" val="5. Source"/>
</p:tagLst>
</file>

<file path=ppt/tags/tag972.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4.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75.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76.xml><?xml version="1.0" encoding="utf-8"?>
<p:tagLst xmlns:a="http://schemas.openxmlformats.org/drawingml/2006/main" xmlns:r="http://schemas.openxmlformats.org/officeDocument/2006/relationships" xmlns:p="http://schemas.openxmlformats.org/presentationml/2006/main">
  <p:tag name="SHAPENAME" val="3. Subtitle"/>
</p:tagLst>
</file>

<file path=ppt/tags/tag977.xml><?xml version="1.0" encoding="utf-8"?>
<p:tagLst xmlns:a="http://schemas.openxmlformats.org/drawingml/2006/main" xmlns:r="http://schemas.openxmlformats.org/officeDocument/2006/relationships" xmlns:p="http://schemas.openxmlformats.org/presentationml/2006/main">
  <p:tag name="SHAPENAME" val="5. Source"/>
</p:tagLst>
</file>

<file path=ppt/tags/tag97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0.xml><?xml version="1.0" encoding="utf-8"?>
<p:tagLst xmlns:a="http://schemas.openxmlformats.org/drawingml/2006/main" xmlns:r="http://schemas.openxmlformats.org/officeDocument/2006/relationships" xmlns:p="http://schemas.openxmlformats.org/presentationml/2006/main">
  <p:tag name="THINKCELLSHAPEDONOTDELETE" val="t4.oZbb0sXNdu8BCibsgsUw"/>
</p:tagLst>
</file>

<file path=ppt/tags/tag981.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2.xml><?xml version="1.0" encoding="utf-8"?>
<p:tagLst xmlns:a="http://schemas.openxmlformats.org/drawingml/2006/main" xmlns:r="http://schemas.openxmlformats.org/officeDocument/2006/relationships" xmlns:p="http://schemas.openxmlformats.org/presentationml/2006/main">
  <p:tag name="SHAPENAME" val="3. Subtitle"/>
</p:tagLst>
</file>

<file path=ppt/tags/tag983.xml><?xml version="1.0" encoding="utf-8"?>
<p:tagLst xmlns:a="http://schemas.openxmlformats.org/drawingml/2006/main" xmlns:r="http://schemas.openxmlformats.org/officeDocument/2006/relationships" xmlns:p="http://schemas.openxmlformats.org/presentationml/2006/main">
  <p:tag name="SHAPENAME" val="5. Source"/>
</p:tagLst>
</file>

<file path=ppt/tags/tag98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6.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87.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88.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89.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xml><?xml version="1.0" encoding="utf-8"?>
<p:tagLst xmlns:a="http://schemas.openxmlformats.org/drawingml/2006/main" xmlns:r="http://schemas.openxmlformats.org/officeDocument/2006/relationships" xmlns:p="http://schemas.openxmlformats.org/presentationml/2006/main">
  <p:tag name="SHAPENAME" val="3. Subtitle"/>
</p:tagLst>
</file>

<file path=ppt/tags/tag990.xml><?xml version="1.0" encoding="utf-8"?>
<p:tagLst xmlns:a="http://schemas.openxmlformats.org/drawingml/2006/main" xmlns:r="http://schemas.openxmlformats.org/officeDocument/2006/relationships" xmlns:p="http://schemas.openxmlformats.org/presentationml/2006/main">
  <p:tag name="SHAPENAME" val="5. Source"/>
</p:tagLst>
</file>

<file path=ppt/tags/tag9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2.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93.xml><?xml version="1.0" encoding="utf-8"?>
<p:tagLst xmlns:a="http://schemas.openxmlformats.org/drawingml/2006/main" xmlns:r="http://schemas.openxmlformats.org/officeDocument/2006/relationships" xmlns:p="http://schemas.openxmlformats.org/presentationml/2006/main">
  <p:tag name="SHAPENAME" val="2. Slide Title"/>
</p:tagLst>
</file>

<file path=ppt/tags/tag99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995.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996.xml><?xml version="1.0" encoding="utf-8"?>
<p:tagLst xmlns:a="http://schemas.openxmlformats.org/drawingml/2006/main" xmlns:r="http://schemas.openxmlformats.org/officeDocument/2006/relationships" xmlns:p="http://schemas.openxmlformats.org/presentationml/2006/main">
  <p:tag name="SHAPENAME" val="5. Source"/>
</p:tagLst>
</file>

<file path=ppt/tags/tag9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8.xml><?xml version="1.0" encoding="utf-8"?>
<p:tagLst xmlns:a="http://schemas.openxmlformats.org/drawingml/2006/main" xmlns:r="http://schemas.openxmlformats.org/officeDocument/2006/relationships" xmlns:p="http://schemas.openxmlformats.org/presentationml/2006/main">
  <p:tag name="THINKCELLSHAPEDONOTDELETE" val="txNguF4Gw2mJIhuiFXm5tKQ"/>
</p:tagLst>
</file>

<file path=ppt/tags/tag999.xml><?xml version="1.0" encoding="utf-8"?>
<p:tagLst xmlns:a="http://schemas.openxmlformats.org/drawingml/2006/main" xmlns:r="http://schemas.openxmlformats.org/officeDocument/2006/relationships" xmlns:p="http://schemas.openxmlformats.org/presentationml/2006/main">
  <p:tag name="SHAPENAME" val="2. Slide Title"/>
</p:tagLst>
</file>

<file path=ppt/theme/theme1.xml><?xml version="1.0" encoding="utf-8"?>
<a:theme xmlns:a="http://schemas.openxmlformats.org/drawingml/2006/main" name="Office Theme">
  <a:themeElements>
    <a:clrScheme name="Custom 2">
      <a:dk1>
        <a:srgbClr val="000000"/>
      </a:dk1>
      <a:lt1>
        <a:srgbClr val="FFFFFF"/>
      </a:lt1>
      <a:dk2>
        <a:srgbClr val="20479E"/>
      </a:dk2>
      <a:lt2>
        <a:srgbClr val="E7E6E6"/>
      </a:lt2>
      <a:accent1>
        <a:srgbClr val="F37D20"/>
      </a:accent1>
      <a:accent2>
        <a:srgbClr val="0087BD"/>
      </a:accent2>
      <a:accent3>
        <a:srgbClr val="FEBC11"/>
      </a:accent3>
      <a:accent4>
        <a:srgbClr val="F26524"/>
      </a:accent4>
      <a:accent5>
        <a:srgbClr val="FFEBA9"/>
      </a:accent5>
      <a:accent6>
        <a:srgbClr val="94DBFF"/>
      </a:accent6>
      <a:hlink>
        <a:srgbClr val="1214ED"/>
      </a:hlink>
      <a:folHlink>
        <a:srgbClr val="D75F18"/>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Vaccinate ALL 58">
      <a:dk1>
        <a:srgbClr val="000000"/>
      </a:dk1>
      <a:lt1>
        <a:srgbClr val="FFFFFF"/>
      </a:lt1>
      <a:dk2>
        <a:srgbClr val="20479E"/>
      </a:dk2>
      <a:lt2>
        <a:srgbClr val="E7E6E6"/>
      </a:lt2>
      <a:accent1>
        <a:srgbClr val="F37D20"/>
      </a:accent1>
      <a:accent2>
        <a:srgbClr val="0087BD"/>
      </a:accent2>
      <a:accent3>
        <a:srgbClr val="FEBC11"/>
      </a:accent3>
      <a:accent4>
        <a:srgbClr val="F26524"/>
      </a:accent4>
      <a:accent5>
        <a:srgbClr val="FFEBA9"/>
      </a:accent5>
      <a:accent6>
        <a:srgbClr val="94DBFF"/>
      </a:accent6>
      <a:hlink>
        <a:srgbClr val="F37D20"/>
      </a:hlink>
      <a:folHlink>
        <a:srgbClr val="D75F1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Office Theme">
  <a:themeElements>
    <a:clrScheme name="Vaccinate ALL 58">
      <a:dk1>
        <a:srgbClr val="000000"/>
      </a:dk1>
      <a:lt1>
        <a:srgbClr val="FFFFFF"/>
      </a:lt1>
      <a:dk2>
        <a:srgbClr val="20479E"/>
      </a:dk2>
      <a:lt2>
        <a:srgbClr val="E7E6E6"/>
      </a:lt2>
      <a:accent1>
        <a:srgbClr val="F37D20"/>
      </a:accent1>
      <a:accent2>
        <a:srgbClr val="0087BD"/>
      </a:accent2>
      <a:accent3>
        <a:srgbClr val="FEBC11"/>
      </a:accent3>
      <a:accent4>
        <a:srgbClr val="F26524"/>
      </a:accent4>
      <a:accent5>
        <a:srgbClr val="FFEBA9"/>
      </a:accent5>
      <a:accent6>
        <a:srgbClr val="94DBFF"/>
      </a:accent6>
      <a:hlink>
        <a:srgbClr val="F37D20"/>
      </a:hlink>
      <a:folHlink>
        <a:srgbClr val="D75F1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B5D29A657ED2F4299AC4B27AEB693AD" ma:contentTypeVersion="16" ma:contentTypeDescription="Create a new document." ma:contentTypeScope="" ma:versionID="674e41d1d99ca18dc959ebcb7ce635af">
  <xsd:schema xmlns:xsd="http://www.w3.org/2001/XMLSchema" xmlns:xs="http://www.w3.org/2001/XMLSchema" xmlns:p="http://schemas.microsoft.com/office/2006/metadata/properties" xmlns:ns1="http://schemas.microsoft.com/sharepoint/v3" xmlns:ns2="159ae6a5-87ac-4fb4-a175-b6749de0604f" xmlns:ns3="27edfe48-fb13-4bbc-bf65-2ba902f5db85" targetNamespace="http://schemas.microsoft.com/office/2006/metadata/properties" ma:root="true" ma:fieldsID="69e4444111eb9bc17a805ded60613092" ns1:_="" ns2:_="" ns3:_="">
    <xsd:import namespace="http://schemas.microsoft.com/sharepoint/v3"/>
    <xsd:import namespace="159ae6a5-87ac-4fb4-a175-b6749de0604f"/>
    <xsd:import namespace="27edfe48-fb13-4bbc-bf65-2ba902f5db85"/>
    <xsd:element name="properties">
      <xsd:complexType>
        <xsd:sequence>
          <xsd:element name="documentManagement">
            <xsd:complexType>
              <xsd:all>
                <xsd:element ref="ns2:Document_x0020_Status" minOccurs="0"/>
                <xsd:element ref="ns2:Current_x0020_Reviewer" minOccurs="0"/>
                <xsd:element ref="ns2:Approved_x0020_By" minOccurs="0"/>
                <xsd:element ref="ns2:User_x0020_Comments" minOccurs="0"/>
                <xsd:element ref="ns3:MediaServiceMetadata" minOccurs="0"/>
                <xsd:element ref="ns3:MediaServiceFastMetadata" minOccurs="0"/>
                <xsd:element ref="ns2:SharedWithUsers" minOccurs="0"/>
                <xsd:element ref="ns2:SharedWithDetails" minOccurs="0"/>
                <xsd:element ref="ns1:_ip_UnifiedCompliancePolicyProperties" minOccurs="0"/>
                <xsd:element ref="ns1:_ip_UnifiedCompliancePolicyUIAction" minOccurs="0"/>
                <xsd:element ref="ns3:MediaServiceDateTaken" minOccurs="0"/>
                <xsd:element ref="ns3:MediaServiceAutoTags" minOccurs="0"/>
                <xsd:element ref="ns3:MediaServiceOCR" minOccurs="0"/>
                <xsd:element ref="ns3:MediaServiceGenerationTime" minOccurs="0"/>
                <xsd:element ref="ns3:MediaServiceEventHashCode" minOccurs="0"/>
                <xsd:element ref="ns3: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6" nillable="true" ma:displayName="Unified Compliance Policy Properties" ma:hidden="true" ma:internalName="_ip_UnifiedCompliancePolicyProperties">
      <xsd:simpleType>
        <xsd:restriction base="dms:Note"/>
      </xsd:simpleType>
    </xsd:element>
    <xsd:element name="_ip_UnifiedCompliancePolicyUIAction" ma:index="17"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59ae6a5-87ac-4fb4-a175-b6749de0604f" elementFormDefault="qualified">
    <xsd:import namespace="http://schemas.microsoft.com/office/2006/documentManagement/types"/>
    <xsd:import namespace="http://schemas.microsoft.com/office/infopath/2007/PartnerControls"/>
    <xsd:element name="Document_x0020_Status" ma:index="8" nillable="true" ma:displayName="Document Status" ma:format="Dropdown" ma:internalName="Document_x0020_Status">
      <xsd:simpleType>
        <xsd:restriction base="dms:Choice">
          <xsd:enumeration value="In Progress"/>
          <xsd:enumeration value="In Review"/>
          <xsd:enumeration value="Edits Needed (see comments)"/>
          <xsd:enumeration value="Pending Approval"/>
          <xsd:enumeration value="Approved"/>
          <xsd:enumeration value="Approved with Edits"/>
        </xsd:restriction>
      </xsd:simpleType>
    </xsd:element>
    <xsd:element name="Current_x0020_Reviewer" ma:index="9" nillable="true" ma:displayName="Current Reviewer" ma:list="UserInfo" ma:SharePointGroup="0" ma:internalName="Current_x0020_Reviewer" ma:showField="Tit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pproved_x0020_By" ma:index="10" nillable="true" ma:displayName="Approved By" ma:list="UserInfo" ma:SharePointGroup="0" ma:internalName="Approved_x0020_By" ma:showField="Titl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User_x0020_Comments" ma:index="11" nillable="true" ma:displayName="User Comments" ma:internalName="User_x0020_Comments">
      <xsd:simpleType>
        <xsd:restriction base="dms:Note">
          <xsd:maxLength value="255"/>
        </xsd:restriction>
      </xsd:simpleType>
    </xsd:element>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7edfe48-fb13-4bbc-bf65-2ba902f5db85" elementFormDefault="qualified">
    <xsd:import namespace="http://schemas.microsoft.com/office/2006/documentManagement/types"/>
    <xsd:import namespace="http://schemas.microsoft.com/office/infopath/2007/PartnerControls"/>
    <xsd:element name="MediaServiceMetadata" ma:index="12" nillable="true" ma:displayName="MediaServiceMetadata" ma:hidden="true" ma:internalName="MediaServiceMetadata" ma:readOnly="true">
      <xsd:simpleType>
        <xsd:restriction base="dms:Note"/>
      </xsd:simpleType>
    </xsd:element>
    <xsd:element name="MediaServiceFastMetadata" ma:index="13" nillable="true" ma:displayName="MediaServiceFastMetadata" ma:hidden="true" ma:internalName="MediaServiceFastMetadata" ma:readOnly="true">
      <xsd:simpleType>
        <xsd:restriction base="dms:Note"/>
      </xsd:simpleType>
    </xsd:element>
    <xsd:element name="MediaServiceDateTaken" ma:index="18" nillable="true" ma:displayName="MediaServiceDateTaken" ma:hidden="true" ma:internalName="MediaServiceDateTaken" ma:readOnly="true">
      <xsd:simpleType>
        <xsd:restriction base="dms:Text"/>
      </xsd:simpleType>
    </xsd:element>
    <xsd:element name="MediaServiceAutoTags" ma:index="19" nillable="true" ma:displayName="Tags" ma:internalName="MediaServiceAutoTags"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element name="MediaServiceGenerationTime" ma:index="21" nillable="true" ma:displayName="MediaServiceGenerationTime" ma:hidden="true" ma:internalName="MediaServiceGenerationTime" ma:readOnly="true">
      <xsd:simpleType>
        <xsd:restriction base="dms:Text"/>
      </xsd:simpleType>
    </xsd:element>
    <xsd:element name="MediaServiceEventHashCode" ma:index="22" nillable="true" ma:displayName="MediaServiceEventHashCode" ma:hidden="true" ma:internalName="MediaServiceEventHashCode" ma:readOnly="true">
      <xsd:simpleType>
        <xsd:restriction base="dms:Text"/>
      </xsd:simpleType>
    </xsd:element>
    <xsd:element name="MediaServiceLocation" ma:index="23"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Current_x0020_Reviewer xmlns="159ae6a5-87ac-4fb4-a175-b6749de0604f">
      <UserInfo>
        <DisplayName/>
        <AccountId xsi:nil="true"/>
        <AccountType/>
      </UserInfo>
    </Current_x0020_Reviewer>
    <Approved_x0020_By xmlns="159ae6a5-87ac-4fb4-a175-b6749de0604f">
      <UserInfo>
        <DisplayName/>
        <AccountId xsi:nil="true"/>
        <AccountType/>
      </UserInfo>
    </Approved_x0020_By>
    <_ip_UnifiedCompliancePolicyProperties xmlns="http://schemas.microsoft.com/sharepoint/v3" xsi:nil="true"/>
    <Document_x0020_Status xmlns="159ae6a5-87ac-4fb4-a175-b6749de0604f" xsi:nil="true"/>
    <User_x0020_Comments xmlns="159ae6a5-87ac-4fb4-a175-b6749de0604f" xsi:nil="true"/>
  </documentManagement>
</p:properties>
</file>

<file path=customXml/itemProps1.xml><?xml version="1.0" encoding="utf-8"?>
<ds:datastoreItem xmlns:ds="http://schemas.openxmlformats.org/officeDocument/2006/customXml" ds:itemID="{6346582C-E476-41A5-B9F3-C64583E4D0AC}">
  <ds:schemaRefs>
    <ds:schemaRef ds:uri="159ae6a5-87ac-4fb4-a175-b6749de0604f"/>
    <ds:schemaRef ds:uri="27edfe48-fb13-4bbc-bf65-2ba902f5db85"/>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7F85341-0363-4AFC-A831-1B9B0C3BE0B0}">
  <ds:schemaRefs>
    <ds:schemaRef ds:uri="http://schemas.microsoft.com/sharepoint/v3/contenttype/forms"/>
  </ds:schemaRefs>
</ds:datastoreItem>
</file>

<file path=customXml/itemProps3.xml><?xml version="1.0" encoding="utf-8"?>
<ds:datastoreItem xmlns:ds="http://schemas.openxmlformats.org/officeDocument/2006/customXml" ds:itemID="{12DD6D47-4DCA-4F58-AB60-DDB55307B027}">
  <ds:schemaRefs>
    <ds:schemaRef ds:uri="159ae6a5-87ac-4fb4-a175-b6749de0604f"/>
    <ds:schemaRef ds:uri="27edfe48-fb13-4bbc-bf65-2ba902f5db85"/>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office theme</Template>
  <Application>Microsoft Office PowerPoint</Application>
  <PresentationFormat>Widescreen</PresentationFormat>
  <Slides>55</Slides>
  <Notes>13</Notes>
  <HiddenSlides>0</HiddenSlides>
  <ScaleCrop>false</ScaleCrop>
  <HeadingPairs>
    <vt:vector size="4" baseType="variant">
      <vt:variant>
        <vt:lpstr>Theme</vt:lpstr>
      </vt:variant>
      <vt:variant>
        <vt:i4>3</vt:i4>
      </vt:variant>
      <vt:variant>
        <vt:lpstr>Slide Titles</vt:lpstr>
      </vt:variant>
      <vt:variant>
        <vt:i4>55</vt:i4>
      </vt:variant>
    </vt:vector>
  </HeadingPairs>
  <TitlesOfParts>
    <vt:vector size="58" baseType="lpstr">
      <vt:lpstr>Office Theme</vt:lpstr>
      <vt:lpstr>Office Theme</vt:lpstr>
      <vt:lpstr>1_Office Theme</vt:lpstr>
      <vt:lpstr>Welcome to California COVID-19 Vaccination Program Friday Provider Office Hours</vt:lpstr>
      <vt:lpstr>PowerPoint Presentation</vt:lpstr>
      <vt:lpstr>Housekeeping</vt:lpstr>
      <vt:lpstr>Agenda: Friday, September 17, 2021</vt:lpstr>
      <vt:lpstr>Announcements </vt:lpstr>
      <vt:lpstr> Stay informed! Provider Resources on eziz.org/covid </vt:lpstr>
      <vt:lpstr>COVID-19 Vaccination Program        Webinars and Training for Providers:  Week of September 20, 2021                Note: Calendar subject to change </vt:lpstr>
      <vt:lpstr>COVID-19 Vaccine Provider FAQs</vt:lpstr>
      <vt:lpstr>Capacity Survey: Your Participation Needed!</vt:lpstr>
      <vt:lpstr>California State Public Health Order</vt:lpstr>
      <vt:lpstr>Rural Communities Webinar: How to Have Conversations about COVID-19 Vaccines</vt:lpstr>
      <vt:lpstr>Recent Webinars You May Have Missed:</vt:lpstr>
      <vt:lpstr>COVID-19 Vaccination Field Guide: 12 Strategies to Help Increase COVID-19 Vaccine Confidence and Demand (CDC)</vt:lpstr>
      <vt:lpstr>Vaccine Administration </vt:lpstr>
      <vt:lpstr>Doses Administered to Date (9/15/21)</vt:lpstr>
      <vt:lpstr>Vaccine Equity Metric</vt:lpstr>
      <vt:lpstr>New Addition to CA Data Dashboard</vt:lpstr>
      <vt:lpstr>Data Improvement, Capacity Needs and Booster Doses</vt:lpstr>
      <vt:lpstr>Data Improvements – Percentage Changes</vt:lpstr>
      <vt:lpstr>Executive Summary</vt:lpstr>
      <vt:lpstr>Scenario: Daily administration requirement for 8-months booster eligibility1,2</vt:lpstr>
      <vt:lpstr>PowerPoint Presentation</vt:lpstr>
      <vt:lpstr>Enrollment and CalVaxGrant Update</vt:lpstr>
      <vt:lpstr>CalVaxGrant Application</vt:lpstr>
      <vt:lpstr>Latest CalVaxGrant Stats</vt:lpstr>
      <vt:lpstr>Clinical Update</vt:lpstr>
      <vt:lpstr>While Waiting for Booster Dose Recommendations:</vt:lpstr>
      <vt:lpstr>PowerPoint Presentation</vt:lpstr>
      <vt:lpstr>Booster Updates</vt:lpstr>
      <vt:lpstr>Storage &amp; Handling</vt:lpstr>
      <vt:lpstr>Inventory Reporting</vt:lpstr>
      <vt:lpstr>Waiting for COMIRNATY</vt:lpstr>
      <vt:lpstr>Waiting for COMIRNATY(Cont’d.)</vt:lpstr>
      <vt:lpstr>Third-party Redistributor (TPR)</vt:lpstr>
      <vt:lpstr>Third-party Redistributor (TPR)</vt:lpstr>
      <vt:lpstr>Third-party Redistributor (The Visuals)</vt:lpstr>
      <vt:lpstr>Receiving Redistributed Small Orders</vt:lpstr>
      <vt:lpstr>Receiving Redistributed Small Orders </vt:lpstr>
      <vt:lpstr>PowerPoint Presentation</vt:lpstr>
      <vt:lpstr>Vaccine Management</vt:lpstr>
      <vt:lpstr>Table of Contents</vt:lpstr>
      <vt:lpstr>What’s New on My Turn: Release 17 (9/15)</vt:lpstr>
      <vt:lpstr>My Turn Flu Mockup</vt:lpstr>
      <vt:lpstr>Upcoming myCAvax Live Trainings </vt:lpstr>
      <vt:lpstr>J&amp;J Vaccine Available for Ordering</vt:lpstr>
      <vt:lpstr>Ordering Reminders</vt:lpstr>
      <vt:lpstr>PowerPoint Presentation</vt:lpstr>
      <vt:lpstr> </vt:lpstr>
      <vt:lpstr>myCAvax – Known Issues</vt:lpstr>
      <vt:lpstr>My Turn and myCAvax Feedback Form</vt:lpstr>
      <vt:lpstr>Wrap-Up &amp; Resources</vt:lpstr>
      <vt:lpstr>Where can I go for additional help?</vt:lpstr>
      <vt:lpstr>PowerPoint Presentation</vt:lpstr>
      <vt:lpstr>PowerPoint Presentation</vt:lpstr>
      <vt:lpstr>Thank you!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oaner Laptop</dc:creator>
  <cp:revision>1</cp:revision>
  <dcterms:created xsi:type="dcterms:W3CDTF">2021-08-31T22:28:38Z</dcterms:created>
  <dcterms:modified xsi:type="dcterms:W3CDTF">2021-09-17T15:44: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B5D29A657ED2F4299AC4B27AEB693AD</vt:lpwstr>
  </property>
</Properties>
</file>